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tags/tag40.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4"/>
    <p:sldMasterId id="2147483667" r:id="rId15"/>
    <p:sldMasterId id="2147483683" r:id="rId16"/>
  </p:sldMasterIdLst>
  <p:notesMasterIdLst>
    <p:notesMasterId r:id="rId42"/>
  </p:notesMasterIdLst>
  <p:sldIdLst>
    <p:sldId id="2147477984" r:id="rId17"/>
    <p:sldId id="2147477994" r:id="rId18"/>
    <p:sldId id="2147478014" r:id="rId19"/>
    <p:sldId id="2147478168" r:id="rId20"/>
    <p:sldId id="301" r:id="rId21"/>
    <p:sldId id="2147482992" r:id="rId22"/>
    <p:sldId id="2147482993" r:id="rId23"/>
    <p:sldId id="2147482994" r:id="rId24"/>
    <p:sldId id="2147483009" r:id="rId25"/>
    <p:sldId id="2147482997" r:id="rId26"/>
    <p:sldId id="2147479186" r:id="rId27"/>
    <p:sldId id="2147478020" r:id="rId28"/>
    <p:sldId id="2147483011" r:id="rId29"/>
    <p:sldId id="2147483012" r:id="rId30"/>
    <p:sldId id="2147478019" r:id="rId31"/>
    <p:sldId id="2147478082" r:id="rId32"/>
    <p:sldId id="2147478070" r:id="rId33"/>
    <p:sldId id="2147478102" r:id="rId34"/>
    <p:sldId id="2147478036" r:id="rId35"/>
    <p:sldId id="2147478099" r:id="rId36"/>
    <p:sldId id="2147478053" r:id="rId37"/>
    <p:sldId id="2147479212" r:id="rId38"/>
    <p:sldId id="2147478084" r:id="rId39"/>
    <p:sldId id="2147483008" r:id="rId40"/>
    <p:sldId id="2147478059" r:id="rId41"/>
  </p:sldIdLst>
  <p:sldSz cx="12192000" cy="6858000"/>
  <p:notesSz cx="6858000" cy="9144000"/>
  <p:embeddedFontLst>
    <p:embeddedFont>
      <p:font typeface="Aptos" panose="020B0004020202020204" pitchFamily="34" charset="0"/>
      <p:regular r:id="rId43"/>
      <p:bold r:id="rId44"/>
      <p:italic r:id="rId45"/>
    </p:embeddedFont>
    <p:embeddedFont>
      <p:font typeface="Aptos Display" panose="020B0004020202020204" pitchFamily="34" charset="0"/>
      <p:regular r:id="rId46"/>
      <p:bold r:id="rId47"/>
      <p:italic r:id="rId48"/>
      <p:boldItalic r:id="rId49"/>
    </p:embeddedFont>
    <p:embeddedFont>
      <p:font typeface="Arial Narrow" panose="020B0606020202030204" pitchFamily="34" charset="0"/>
      <p:regular r:id="rId50"/>
      <p:bold r:id="rId51"/>
      <p:italic r:id="rId52"/>
      <p:boldItalic r:id="rId53"/>
    </p:embeddedFont>
    <p:embeddedFont>
      <p:font typeface="Avenir Next LT Pro" panose="020B0504020202020204" pitchFamily="34" charset="0"/>
      <p:regular r:id="rId54"/>
      <p:bold r:id="rId55"/>
      <p:italic r:id="rId56"/>
      <p:boldItalic r:id="rId57"/>
    </p:embeddedFont>
    <p:embeddedFont>
      <p:font typeface="Bebas Kai" panose="020B0604020202020204" charset="0"/>
      <p:regular r:id="rId58"/>
      <p:bold r:id="rId59"/>
      <p:italic r:id="rId60"/>
      <p:boldItalic r:id="rId61"/>
    </p:embeddedFont>
    <p:embeddedFont>
      <p:font typeface="Calibri" panose="020F0502020204030204" pitchFamily="34" charset="0"/>
      <p:regular r:id="rId62"/>
      <p:bold r:id="rId63"/>
      <p:italic r:id="rId64"/>
      <p:boldItalic r:id="rId65"/>
    </p:embeddedFont>
    <p:embeddedFont>
      <p:font typeface="Century Gothic" panose="020B0502020202020204" pitchFamily="34" charset="0"/>
      <p:regular r:id="rId66"/>
      <p:bold r:id="rId67"/>
      <p:italic r:id="rId68"/>
      <p:boldItalic r:id="rId69"/>
    </p:embeddedFont>
    <p:embeddedFont>
      <p:font typeface="Helvetica" panose="020B0604020202020204" pitchFamily="34" charset="0"/>
      <p:regular r:id="rId70"/>
      <p:bold r:id="rId71"/>
      <p:italic r:id="rId72"/>
      <p:boldItalic r:id="rId73"/>
    </p:embeddedFont>
    <p:embeddedFont>
      <p:font typeface="Museo Sans 100" panose="02000000000000000000" charset="0"/>
      <p:regular r:id="rId74"/>
      <p:bold r:id="rId75"/>
      <p:italic r:id="rId76"/>
      <p:boldItalic r:id="rId77"/>
    </p:embeddedFont>
  </p:embeddedFontLst>
  <p:custDataLst>
    <p:tags r:id="rId7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94CB4BB-D0B9-48C8-8755-0A89A59B6403}">
          <p14:sldIdLst>
            <p14:sldId id="2147477984"/>
            <p14:sldId id="2147477994"/>
            <p14:sldId id="2147478014"/>
            <p14:sldId id="2147478168"/>
            <p14:sldId id="301"/>
            <p14:sldId id="2147482992"/>
            <p14:sldId id="2147482993"/>
            <p14:sldId id="2147482994"/>
            <p14:sldId id="2147483009"/>
            <p14:sldId id="2147482997"/>
            <p14:sldId id="2147479186"/>
            <p14:sldId id="2147478020"/>
            <p14:sldId id="2147483011"/>
            <p14:sldId id="2147483012"/>
            <p14:sldId id="2147478019"/>
            <p14:sldId id="2147478082"/>
            <p14:sldId id="2147478070"/>
            <p14:sldId id="2147478102"/>
            <p14:sldId id="2147478036"/>
            <p14:sldId id="2147478099"/>
            <p14:sldId id="2147478053"/>
            <p14:sldId id="2147479212"/>
            <p14:sldId id="2147478084"/>
            <p14:sldId id="2147483008"/>
            <p14:sldId id="2147478059"/>
          </p14:sldIdLst>
        </p14:section>
      </p14:sectionLst>
    </p:ex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557D79-09F0-18B4-85A9-11EA50EC6114}" name="Paula Wilson" initials="PW" userId="S::paula.wilson@circularbioeconomyalliance.org::1bd84f7f-8bda-49f7-90dd-df20fdedbdb5" providerId="AD"/>
  <p188:author id="{D858A399-2F6D-C7A3-5249-3013BA2BDB32}" name="Antoine Montavon" initials="AM" userId="0b70a1aa9edb9fd6"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3A63"/>
    <a:srgbClr val="D2A000"/>
    <a:srgbClr val="F2F2F2"/>
    <a:srgbClr val="BFBFBF"/>
    <a:srgbClr val="ACACAC"/>
    <a:srgbClr val="227C9D"/>
    <a:srgbClr val="089396"/>
    <a:srgbClr val="112435"/>
    <a:srgbClr val="EAB200"/>
    <a:srgbClr val="031F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AB0884-0A40-4510-B723-4DCA3A228CFF}" v="5" dt="2024-06-06T10:57:24.774"/>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2923" autoAdjust="0"/>
  </p:normalViewPr>
  <p:slideViewPr>
    <p:cSldViewPr snapToGrid="0" showGuides="1">
      <p:cViewPr varScale="1">
        <p:scale>
          <a:sx n="83" d="100"/>
          <a:sy n="83" d="100"/>
        </p:scale>
        <p:origin x="101" y="130"/>
      </p:cViewPr>
      <p:guideLst>
        <p:guide orient="horz" pos="2160"/>
        <p:guide pos="3863"/>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notesMaster" Target="notesMasters/notesMaster1.xml"/><Relationship Id="rId47" Type="http://schemas.openxmlformats.org/officeDocument/2006/relationships/font" Target="fonts/font5.fntdata"/><Relationship Id="rId63" Type="http://schemas.openxmlformats.org/officeDocument/2006/relationships/font" Target="fonts/font21.fntdata"/><Relationship Id="rId68" Type="http://schemas.openxmlformats.org/officeDocument/2006/relationships/font" Target="fonts/font26.fntdata"/><Relationship Id="rId84" Type="http://schemas.microsoft.com/office/2018/10/relationships/authors" Target="authors.xml"/><Relationship Id="rId16" Type="http://schemas.openxmlformats.org/officeDocument/2006/relationships/slideMaster" Target="slideMasters/slideMaster3.xml"/><Relationship Id="rId11" Type="http://schemas.openxmlformats.org/officeDocument/2006/relationships/customXml" Target="../customXml/item11.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font" Target="fonts/font11.fntdata"/><Relationship Id="rId58" Type="http://schemas.openxmlformats.org/officeDocument/2006/relationships/font" Target="fonts/font16.fntdata"/><Relationship Id="rId74" Type="http://schemas.openxmlformats.org/officeDocument/2006/relationships/font" Target="fonts/font32.fntdata"/><Relationship Id="rId79"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font" Target="fonts/font19.fntdata"/><Relationship Id="rId82" Type="http://schemas.openxmlformats.org/officeDocument/2006/relationships/tableStyles" Target="tableStyles.xml"/><Relationship Id="rId19" Type="http://schemas.openxmlformats.org/officeDocument/2006/relationships/slide" Target="slides/slide3.xml"/><Relationship Id="rId14" Type="http://schemas.openxmlformats.org/officeDocument/2006/relationships/slideMaster" Target="slideMasters/slideMaster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64" Type="http://schemas.openxmlformats.org/officeDocument/2006/relationships/font" Target="fonts/font22.fntdata"/><Relationship Id="rId69" Type="http://schemas.openxmlformats.org/officeDocument/2006/relationships/font" Target="fonts/font27.fntdata"/><Relationship Id="rId77" Type="http://schemas.openxmlformats.org/officeDocument/2006/relationships/font" Target="fonts/font35.fntdata"/><Relationship Id="rId8" Type="http://schemas.openxmlformats.org/officeDocument/2006/relationships/customXml" Target="../customXml/item8.xml"/><Relationship Id="rId51" Type="http://schemas.openxmlformats.org/officeDocument/2006/relationships/font" Target="fonts/font9.fntdata"/><Relationship Id="rId72" Type="http://schemas.openxmlformats.org/officeDocument/2006/relationships/font" Target="fonts/font30.fntdata"/><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font" Target="fonts/font4.fntdata"/><Relationship Id="rId59" Type="http://schemas.openxmlformats.org/officeDocument/2006/relationships/font" Target="fonts/font17.fntdata"/><Relationship Id="rId67" Type="http://schemas.openxmlformats.org/officeDocument/2006/relationships/font" Target="fonts/font25.fntdata"/><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font" Target="fonts/font12.fntdata"/><Relationship Id="rId62" Type="http://schemas.openxmlformats.org/officeDocument/2006/relationships/font" Target="fonts/font20.fntdata"/><Relationship Id="rId70" Type="http://schemas.openxmlformats.org/officeDocument/2006/relationships/font" Target="fonts/font28.fntdata"/><Relationship Id="rId75" Type="http://schemas.openxmlformats.org/officeDocument/2006/relationships/font" Target="fonts/font33.fntdata"/><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Master" Target="slideMasters/slideMaster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font" Target="fonts/font7.fntdata"/><Relationship Id="rId57" Type="http://schemas.openxmlformats.org/officeDocument/2006/relationships/font" Target="fonts/font15.fntdata"/><Relationship Id="rId10" Type="http://schemas.openxmlformats.org/officeDocument/2006/relationships/customXml" Target="../customXml/item10.xml"/><Relationship Id="rId31" Type="http://schemas.openxmlformats.org/officeDocument/2006/relationships/slide" Target="slides/slide15.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font" Target="fonts/font23.fntdata"/><Relationship Id="rId73" Type="http://schemas.openxmlformats.org/officeDocument/2006/relationships/font" Target="fonts/font31.fntdata"/><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font" Target="fonts/font8.fntdata"/><Relationship Id="rId55" Type="http://schemas.openxmlformats.org/officeDocument/2006/relationships/font" Target="fonts/font13.fntdata"/><Relationship Id="rId76" Type="http://schemas.openxmlformats.org/officeDocument/2006/relationships/font" Target="fonts/font34.fntdata"/><Relationship Id="rId7" Type="http://schemas.openxmlformats.org/officeDocument/2006/relationships/customXml" Target="../customXml/item7.xml"/><Relationship Id="rId71" Type="http://schemas.openxmlformats.org/officeDocument/2006/relationships/font" Target="fonts/font29.fntdata"/><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font" Target="fonts/font3.fntdata"/><Relationship Id="rId66" Type="http://schemas.openxmlformats.org/officeDocument/2006/relationships/font" Target="fonts/font24.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86988660829626"/>
          <c:y val="2.3145958639355126E-2"/>
          <c:w val="0.89313011339170378"/>
          <c:h val="0.8998615146527564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32</c:f>
              <c:numCache>
                <c:formatCode>General</c:formatCode>
                <c:ptCount val="31"/>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pt idx="23">
                  <c:v>2015</c:v>
                </c:pt>
                <c:pt idx="24">
                  <c:v>2016</c:v>
                </c:pt>
                <c:pt idx="25">
                  <c:v>2017</c:v>
                </c:pt>
                <c:pt idx="26">
                  <c:v>2018</c:v>
                </c:pt>
                <c:pt idx="27">
                  <c:v>2019</c:v>
                </c:pt>
                <c:pt idx="28">
                  <c:v>2020</c:v>
                </c:pt>
                <c:pt idx="29">
                  <c:v>2021</c:v>
                </c:pt>
                <c:pt idx="30">
                  <c:v>2022</c:v>
                </c:pt>
              </c:numCache>
            </c:numRef>
          </c:cat>
          <c:val>
            <c:numRef>
              <c:f>Sheet1!$B$2:$B$32</c:f>
              <c:numCache>
                <c:formatCode>General</c:formatCode>
                <c:ptCount val="31"/>
              </c:numCache>
            </c:numRef>
          </c:val>
          <c:extLst>
            <c:ext xmlns:c16="http://schemas.microsoft.com/office/drawing/2014/chart" uri="{C3380CC4-5D6E-409C-BE32-E72D297353CC}">
              <c16:uniqueId val="{00000000-BB9A-4F01-824D-A50376525259}"/>
            </c:ext>
          </c:extLst>
        </c:ser>
        <c:dLbls>
          <c:showLegendKey val="0"/>
          <c:showVal val="0"/>
          <c:showCatName val="0"/>
          <c:showSerName val="0"/>
          <c:showPercent val="0"/>
          <c:showBubbleSize val="0"/>
        </c:dLbls>
        <c:gapWidth val="150"/>
        <c:axId val="1225662864"/>
        <c:axId val="1225665744"/>
      </c:barChart>
      <c:catAx>
        <c:axId val="1225662864"/>
        <c:scaling>
          <c:orientation val="minMax"/>
        </c:scaling>
        <c:delete val="0"/>
        <c:axPos val="b"/>
        <c:numFmt formatCode="General" sourceLinked="1"/>
        <c:majorTickMark val="out"/>
        <c:minorTickMark val="none"/>
        <c:tickLblPos val="nextTo"/>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225665744"/>
        <c:crosses val="autoZero"/>
        <c:auto val="1"/>
        <c:lblAlgn val="ctr"/>
        <c:lblOffset val="100"/>
        <c:noMultiLvlLbl val="0"/>
      </c:catAx>
      <c:valAx>
        <c:axId val="1225665744"/>
        <c:scaling>
          <c:orientation val="minMax"/>
          <c:max val="180"/>
          <c:min val="0"/>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USD billion</a:t>
                </a:r>
              </a:p>
            </c:rich>
          </c:tx>
          <c:layout>
            <c:manualLayout>
              <c:xMode val="edge"/>
              <c:yMode val="edge"/>
              <c:x val="0"/>
              <c:y val="0.36622805756544802"/>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225662864"/>
        <c:crosses val="autoZero"/>
        <c:crossBetween val="between"/>
        <c:majorUnit val="3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960279780503689E-2"/>
          <c:y val="2.3145958639355126E-2"/>
          <c:w val="0.91503972021949631"/>
          <c:h val="0.8592908141262158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32</c:f>
              <c:numCache>
                <c:formatCode>General</c:formatCode>
                <c:ptCount val="31"/>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pt idx="23">
                  <c:v>2015</c:v>
                </c:pt>
                <c:pt idx="24">
                  <c:v>2016</c:v>
                </c:pt>
                <c:pt idx="25">
                  <c:v>2017</c:v>
                </c:pt>
                <c:pt idx="26">
                  <c:v>2018</c:v>
                </c:pt>
                <c:pt idx="27">
                  <c:v>2019</c:v>
                </c:pt>
                <c:pt idx="28">
                  <c:v>2020</c:v>
                </c:pt>
                <c:pt idx="29">
                  <c:v>2021</c:v>
                </c:pt>
                <c:pt idx="30">
                  <c:v>2022</c:v>
                </c:pt>
              </c:numCache>
            </c:numRef>
          </c:cat>
          <c:val>
            <c:numRef>
              <c:f>Sheet1!$B$2:$B$32</c:f>
              <c:numCache>
                <c:formatCode>General</c:formatCode>
                <c:ptCount val="31"/>
              </c:numCache>
            </c:numRef>
          </c:val>
          <c:extLst>
            <c:ext xmlns:c16="http://schemas.microsoft.com/office/drawing/2014/chart" uri="{C3380CC4-5D6E-409C-BE32-E72D297353CC}">
              <c16:uniqueId val="{00000000-BB9A-4F01-824D-A50376525259}"/>
            </c:ext>
          </c:extLst>
        </c:ser>
        <c:dLbls>
          <c:showLegendKey val="0"/>
          <c:showVal val="0"/>
          <c:showCatName val="0"/>
          <c:showSerName val="0"/>
          <c:showPercent val="0"/>
          <c:showBubbleSize val="0"/>
        </c:dLbls>
        <c:gapWidth val="150"/>
        <c:axId val="1225662864"/>
        <c:axId val="1225665744"/>
      </c:barChart>
      <c:catAx>
        <c:axId val="1225662864"/>
        <c:scaling>
          <c:orientation val="minMax"/>
        </c:scaling>
        <c:delete val="0"/>
        <c:axPos val="b"/>
        <c:numFmt formatCode="General" sourceLinked="1"/>
        <c:majorTickMark val="none"/>
        <c:minorTickMark val="none"/>
        <c:tickLblPos val="none"/>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225665744"/>
        <c:crosses val="autoZero"/>
        <c:auto val="1"/>
        <c:lblAlgn val="ctr"/>
        <c:lblOffset val="100"/>
        <c:noMultiLvlLbl val="0"/>
      </c:catAx>
      <c:valAx>
        <c:axId val="1225665744"/>
        <c:scaling>
          <c:orientation val="minMax"/>
          <c:max val="15"/>
          <c:min val="0"/>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Million</a:t>
                </a:r>
              </a:p>
            </c:rich>
          </c:tx>
          <c:layout>
            <c:manualLayout>
              <c:xMode val="edge"/>
              <c:yMode val="edge"/>
              <c:x val="0"/>
              <c:y val="0.38651332918044318"/>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225662864"/>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067571282183763E-2"/>
          <c:y val="2.3145958639355126E-2"/>
          <c:w val="0.94399087181775132"/>
          <c:h val="0.8998615146527564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32</c:f>
              <c:numCache>
                <c:formatCode>General</c:formatCode>
                <c:ptCount val="31"/>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pt idx="23">
                  <c:v>2015</c:v>
                </c:pt>
                <c:pt idx="24">
                  <c:v>2016</c:v>
                </c:pt>
                <c:pt idx="25">
                  <c:v>2017</c:v>
                </c:pt>
                <c:pt idx="26">
                  <c:v>2018</c:v>
                </c:pt>
                <c:pt idx="27">
                  <c:v>2019</c:v>
                </c:pt>
                <c:pt idx="28">
                  <c:v>2020</c:v>
                </c:pt>
                <c:pt idx="29">
                  <c:v>2021</c:v>
                </c:pt>
                <c:pt idx="30">
                  <c:v>2022</c:v>
                </c:pt>
              </c:numCache>
            </c:numRef>
          </c:cat>
          <c:val>
            <c:numRef>
              <c:f>Sheet1!$B$2:$B$32</c:f>
              <c:numCache>
                <c:formatCode>General</c:formatCode>
                <c:ptCount val="31"/>
              </c:numCache>
            </c:numRef>
          </c:val>
          <c:extLst>
            <c:ext xmlns:c16="http://schemas.microsoft.com/office/drawing/2014/chart" uri="{C3380CC4-5D6E-409C-BE32-E72D297353CC}">
              <c16:uniqueId val="{00000000-BB9A-4F01-824D-A50376525259}"/>
            </c:ext>
          </c:extLst>
        </c:ser>
        <c:dLbls>
          <c:showLegendKey val="0"/>
          <c:showVal val="0"/>
          <c:showCatName val="0"/>
          <c:showSerName val="0"/>
          <c:showPercent val="0"/>
          <c:showBubbleSize val="0"/>
        </c:dLbls>
        <c:gapWidth val="150"/>
        <c:axId val="1225662864"/>
        <c:axId val="1225665744"/>
      </c:barChart>
      <c:catAx>
        <c:axId val="1225662864"/>
        <c:scaling>
          <c:orientation val="minMax"/>
        </c:scaling>
        <c:delete val="0"/>
        <c:axPos val="b"/>
        <c:numFmt formatCode="General" sourceLinked="1"/>
        <c:majorTickMark val="none"/>
        <c:minorTickMark val="none"/>
        <c:tickLblPos val="none"/>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225665744"/>
        <c:crosses val="autoZero"/>
        <c:auto val="1"/>
        <c:lblAlgn val="ctr"/>
        <c:lblOffset val="100"/>
        <c:noMultiLvlLbl val="0"/>
      </c:catAx>
      <c:valAx>
        <c:axId val="1225665744"/>
        <c:scaling>
          <c:orientation val="minMax"/>
          <c:max val="10000"/>
          <c:min val="0"/>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USD</a:t>
                </a:r>
              </a:p>
            </c:rich>
          </c:tx>
          <c:layout>
            <c:manualLayout>
              <c:xMode val="edge"/>
              <c:yMode val="edge"/>
              <c:x val="0"/>
              <c:y val="0.41598980095733212"/>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225662864"/>
        <c:crosses val="autoZero"/>
        <c:crossBetween val="between"/>
        <c:majorUnit val="2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noFill/>
    </a:ln>
    <a:effectLst/>
  </c:spPr>
  <c:txPr>
    <a:bodyPr/>
    <a:lstStyle/>
    <a:p>
      <a:pPr>
        <a:defRPr sz="11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3037510936133"/>
          <c:y val="1.9300464617767146E-2"/>
          <c:w val="0.82566129429133861"/>
          <c:h val="0.85712942789564339"/>
        </c:manualLayout>
      </c:layout>
      <c:scatterChart>
        <c:scatterStyle val="smoothMarker"/>
        <c:varyColors val="0"/>
        <c:ser>
          <c:idx val="0"/>
          <c:order val="0"/>
          <c:tx>
            <c:strRef>
              <c:f>Sheet1!$B$1</c:f>
              <c:strCache>
                <c:ptCount val="1"/>
                <c:pt idx="0">
                  <c:v>Global T, prod. and dep.</c:v>
                </c:pt>
              </c:strCache>
            </c:strRef>
          </c:tx>
          <c:spPr>
            <a:ln w="19050" cap="rnd">
              <a:solidFill>
                <a:schemeClr val="accent2"/>
              </a:solidFill>
              <a:round/>
            </a:ln>
            <a:effectLst/>
          </c:spPr>
          <c:marker>
            <c:symbol val="none"/>
          </c:marker>
          <c:dPt>
            <c:idx val="3"/>
            <c:marker>
              <c:symbol val="circle"/>
              <c:size val="10"/>
              <c:spPr>
                <a:solidFill>
                  <a:schemeClr val="accent2"/>
                </a:solidFill>
                <a:ln w="19050">
                  <a:noFill/>
                </a:ln>
                <a:effectLst/>
              </c:spPr>
            </c:marker>
            <c:bubble3D val="0"/>
            <c:extLst>
              <c:ext xmlns:c16="http://schemas.microsoft.com/office/drawing/2014/chart" uri="{C3380CC4-5D6E-409C-BE32-E72D297353CC}">
                <c16:uniqueId val="{00000003-80BC-420C-825F-4AE686A1C5D9}"/>
              </c:ext>
            </c:extLst>
          </c:dPt>
          <c:xVal>
            <c:numRef>
              <c:f>Sheet1!$A$2:$A$11</c:f>
              <c:numCache>
                <c:formatCode>General</c:formatCode>
                <c:ptCount val="10"/>
                <c:pt idx="0">
                  <c:v>1.5</c:v>
                </c:pt>
                <c:pt idx="1">
                  <c:v>2</c:v>
                </c:pt>
                <c:pt idx="2">
                  <c:v>2.5</c:v>
                </c:pt>
                <c:pt idx="3">
                  <c:v>3</c:v>
                </c:pt>
                <c:pt idx="4">
                  <c:v>3.5</c:v>
                </c:pt>
                <c:pt idx="5">
                  <c:v>4</c:v>
                </c:pt>
                <c:pt idx="6">
                  <c:v>4.5</c:v>
                </c:pt>
                <c:pt idx="7">
                  <c:v>5</c:v>
                </c:pt>
                <c:pt idx="8">
                  <c:v>5.5</c:v>
                </c:pt>
                <c:pt idx="9">
                  <c:v>6</c:v>
                </c:pt>
              </c:numCache>
            </c:numRef>
          </c:xVal>
          <c:yVal>
            <c:numRef>
              <c:f>Sheet1!$B$2:$B$11</c:f>
              <c:numCache>
                <c:formatCode>General</c:formatCode>
                <c:ptCount val="10"/>
                <c:pt idx="0">
                  <c:v>-8.6999999999999993</c:v>
                </c:pt>
                <c:pt idx="1">
                  <c:v>-16.100000000000001</c:v>
                </c:pt>
                <c:pt idx="2">
                  <c:v>-23.3</c:v>
                </c:pt>
                <c:pt idx="3">
                  <c:v>-30.8</c:v>
                </c:pt>
                <c:pt idx="4">
                  <c:v>-37.200000000000003</c:v>
                </c:pt>
                <c:pt idx="5">
                  <c:v>-43.4</c:v>
                </c:pt>
                <c:pt idx="6">
                  <c:v>-49.6</c:v>
                </c:pt>
                <c:pt idx="7">
                  <c:v>-54.8</c:v>
                </c:pt>
                <c:pt idx="8">
                  <c:v>-60</c:v>
                </c:pt>
                <c:pt idx="9">
                  <c:v>-64.5</c:v>
                </c:pt>
              </c:numCache>
            </c:numRef>
          </c:yVal>
          <c:smooth val="1"/>
          <c:extLst>
            <c:ext xmlns:c16="http://schemas.microsoft.com/office/drawing/2014/chart" uri="{C3380CC4-5D6E-409C-BE32-E72D297353CC}">
              <c16:uniqueId val="{00000000-80BC-420C-825F-4AE686A1C5D9}"/>
            </c:ext>
          </c:extLst>
        </c:ser>
        <c:ser>
          <c:idx val="1"/>
          <c:order val="1"/>
          <c:tx>
            <c:strRef>
              <c:f>Sheet1!$C$1</c:f>
              <c:strCache>
                <c:ptCount val="1"/>
                <c:pt idx="0">
                  <c:v>Global T, prod. only</c:v>
                </c:pt>
              </c:strCache>
            </c:strRef>
          </c:tx>
          <c:spPr>
            <a:ln w="19050" cap="rnd">
              <a:solidFill>
                <a:schemeClr val="accent4"/>
              </a:solidFill>
              <a:prstDash val="dash"/>
              <a:round/>
            </a:ln>
            <a:effectLst/>
          </c:spPr>
          <c:marker>
            <c:symbol val="none"/>
          </c:marker>
          <c:xVal>
            <c:numRef>
              <c:f>Sheet1!$A$2:$A$11</c:f>
              <c:numCache>
                <c:formatCode>General</c:formatCode>
                <c:ptCount val="10"/>
                <c:pt idx="0">
                  <c:v>1.5</c:v>
                </c:pt>
                <c:pt idx="1">
                  <c:v>2</c:v>
                </c:pt>
                <c:pt idx="2">
                  <c:v>2.5</c:v>
                </c:pt>
                <c:pt idx="3">
                  <c:v>3</c:v>
                </c:pt>
                <c:pt idx="4">
                  <c:v>3.5</c:v>
                </c:pt>
                <c:pt idx="5">
                  <c:v>4</c:v>
                </c:pt>
                <c:pt idx="6">
                  <c:v>4.5</c:v>
                </c:pt>
                <c:pt idx="7">
                  <c:v>5</c:v>
                </c:pt>
                <c:pt idx="8">
                  <c:v>5.5</c:v>
                </c:pt>
                <c:pt idx="9">
                  <c:v>6</c:v>
                </c:pt>
              </c:numCache>
            </c:numRef>
          </c:xVal>
          <c:yVal>
            <c:numRef>
              <c:f>Sheet1!$C$2:$C$11</c:f>
              <c:numCache>
                <c:formatCode>General</c:formatCode>
                <c:ptCount val="10"/>
                <c:pt idx="0">
                  <c:v>-6.5</c:v>
                </c:pt>
                <c:pt idx="1">
                  <c:v>-12.4</c:v>
                </c:pt>
                <c:pt idx="2">
                  <c:v>-18.100000000000001</c:v>
                </c:pt>
                <c:pt idx="3">
                  <c:v>-23.8</c:v>
                </c:pt>
                <c:pt idx="4">
                  <c:v>-29</c:v>
                </c:pt>
                <c:pt idx="5">
                  <c:v>-33.700000000000003</c:v>
                </c:pt>
                <c:pt idx="6">
                  <c:v>-38.700000000000003</c:v>
                </c:pt>
                <c:pt idx="7">
                  <c:v>-43.4</c:v>
                </c:pt>
                <c:pt idx="8">
                  <c:v>-47.6</c:v>
                </c:pt>
                <c:pt idx="9">
                  <c:v>-51.6</c:v>
                </c:pt>
              </c:numCache>
            </c:numRef>
          </c:yVal>
          <c:smooth val="1"/>
          <c:extLst>
            <c:ext xmlns:c16="http://schemas.microsoft.com/office/drawing/2014/chart" uri="{C3380CC4-5D6E-409C-BE32-E72D297353CC}">
              <c16:uniqueId val="{00000001-80BC-420C-825F-4AE686A1C5D9}"/>
            </c:ext>
          </c:extLst>
        </c:ser>
        <c:ser>
          <c:idx val="2"/>
          <c:order val="2"/>
          <c:tx>
            <c:strRef>
              <c:f>Sheet1!$D$1</c:f>
              <c:strCache>
                <c:ptCount val="1"/>
                <c:pt idx="0">
                  <c:v>Local T, prod. only</c:v>
                </c:pt>
              </c:strCache>
            </c:strRef>
          </c:tx>
          <c:spPr>
            <a:ln w="19050" cap="rnd">
              <a:solidFill>
                <a:schemeClr val="bg2"/>
              </a:solidFill>
              <a:prstDash val="dash"/>
              <a:round/>
            </a:ln>
            <a:effectLst/>
          </c:spPr>
          <c:marker>
            <c:symbol val="none"/>
          </c:marker>
          <c:xVal>
            <c:numRef>
              <c:f>Sheet1!$A$2:$A$11</c:f>
              <c:numCache>
                <c:formatCode>General</c:formatCode>
                <c:ptCount val="10"/>
                <c:pt idx="0">
                  <c:v>1.5</c:v>
                </c:pt>
                <c:pt idx="1">
                  <c:v>2</c:v>
                </c:pt>
                <c:pt idx="2">
                  <c:v>2.5</c:v>
                </c:pt>
                <c:pt idx="3">
                  <c:v>3</c:v>
                </c:pt>
                <c:pt idx="4">
                  <c:v>3.5</c:v>
                </c:pt>
                <c:pt idx="5">
                  <c:v>4</c:v>
                </c:pt>
                <c:pt idx="6">
                  <c:v>4.5</c:v>
                </c:pt>
                <c:pt idx="7">
                  <c:v>5</c:v>
                </c:pt>
                <c:pt idx="8">
                  <c:v>5.5</c:v>
                </c:pt>
                <c:pt idx="9">
                  <c:v>6</c:v>
                </c:pt>
              </c:numCache>
            </c:numRef>
          </c:xVal>
          <c:yVal>
            <c:numRef>
              <c:f>Sheet1!$D$2:$D$11</c:f>
              <c:numCache>
                <c:formatCode>General</c:formatCode>
                <c:ptCount val="10"/>
                <c:pt idx="0">
                  <c:v>-1.2</c:v>
                </c:pt>
                <c:pt idx="1">
                  <c:v>-2.5</c:v>
                </c:pt>
                <c:pt idx="2">
                  <c:v>-3.5</c:v>
                </c:pt>
                <c:pt idx="3">
                  <c:v>-4.7</c:v>
                </c:pt>
                <c:pt idx="4">
                  <c:v>-5.5</c:v>
                </c:pt>
                <c:pt idx="5">
                  <c:v>-6.7</c:v>
                </c:pt>
                <c:pt idx="6">
                  <c:v>-7.7</c:v>
                </c:pt>
                <c:pt idx="7">
                  <c:v>-8.6999999999999993</c:v>
                </c:pt>
                <c:pt idx="8">
                  <c:v>-9.9</c:v>
                </c:pt>
                <c:pt idx="9">
                  <c:v>-10.9</c:v>
                </c:pt>
              </c:numCache>
            </c:numRef>
          </c:yVal>
          <c:smooth val="1"/>
          <c:extLst>
            <c:ext xmlns:c16="http://schemas.microsoft.com/office/drawing/2014/chart" uri="{C3380CC4-5D6E-409C-BE32-E72D297353CC}">
              <c16:uniqueId val="{00000002-80BC-420C-825F-4AE686A1C5D9}"/>
            </c:ext>
          </c:extLst>
        </c:ser>
        <c:dLbls>
          <c:showLegendKey val="0"/>
          <c:showVal val="0"/>
          <c:showCatName val="0"/>
          <c:showSerName val="0"/>
          <c:showPercent val="0"/>
          <c:showBubbleSize val="0"/>
        </c:dLbls>
        <c:axId val="1720718799"/>
        <c:axId val="1720705359"/>
      </c:scatterChart>
      <c:valAx>
        <c:axId val="1720718799"/>
        <c:scaling>
          <c:orientation val="minMax"/>
          <c:max val="6"/>
          <c:min val="1.5"/>
        </c:scaling>
        <c:delete val="0"/>
        <c:axPos val="b"/>
        <c:numFmt formatCode="0.0" sourceLinked="0"/>
        <c:majorTickMark val="none"/>
        <c:minorTickMark val="none"/>
        <c:tickLblPos val="low"/>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05359"/>
        <c:crossesAt val="0"/>
        <c:crossBetween val="midCat"/>
        <c:majorUnit val="0.5"/>
      </c:valAx>
      <c:valAx>
        <c:axId val="1720705359"/>
        <c:scaling>
          <c:orientation val="minMax"/>
          <c:min val="-1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18799"/>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50710848643919"/>
          <c:y val="1.9300464617767146E-2"/>
          <c:w val="0.77468456091426074"/>
          <c:h val="0.69702054369873034"/>
        </c:manualLayout>
      </c:layout>
      <c:areaChart>
        <c:grouping val="stacked"/>
        <c:varyColors val="0"/>
        <c:ser>
          <c:idx val="0"/>
          <c:order val="0"/>
          <c:tx>
            <c:strRef>
              <c:f>Sheet1!$B$1</c:f>
              <c:strCache>
                <c:ptCount val="1"/>
                <c:pt idx="0">
                  <c:v>Column2</c:v>
                </c:pt>
              </c:strCache>
            </c:strRef>
          </c:tx>
          <c:spPr>
            <a:solidFill>
              <a:schemeClr val="accent1"/>
            </a:solidFill>
            <a:ln w="19050">
              <a:noFill/>
            </a:ln>
            <a:effectLst/>
          </c:spPr>
          <c:dPt>
            <c:idx val="3"/>
            <c:bubble3D val="0"/>
            <c:extLst>
              <c:ext xmlns:c16="http://schemas.microsoft.com/office/drawing/2014/chart" uri="{C3380CC4-5D6E-409C-BE32-E72D297353CC}">
                <c16:uniqueId val="{00000003-80BC-420C-825F-4AE686A1C5D9}"/>
              </c:ext>
            </c:extLst>
          </c:dPt>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numCache>
            </c:numRef>
          </c:val>
          <c:extLst>
            <c:ext xmlns:c16="http://schemas.microsoft.com/office/drawing/2014/chart" uri="{C3380CC4-5D6E-409C-BE32-E72D297353CC}">
              <c16:uniqueId val="{00000000-80BC-420C-825F-4AE686A1C5D9}"/>
            </c:ext>
          </c:extLst>
        </c:ser>
        <c:ser>
          <c:idx val="1"/>
          <c:order val="1"/>
          <c:tx>
            <c:strRef>
              <c:f>Sheet1!$C$1</c:f>
              <c:strCache>
                <c:ptCount val="1"/>
                <c:pt idx="0">
                  <c:v>Column3</c:v>
                </c:pt>
              </c:strCache>
            </c:strRef>
          </c:tx>
          <c:spPr>
            <a:solidFill>
              <a:schemeClr val="accent2"/>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C$2:$C$12</c:f>
              <c:numCache>
                <c:formatCode>General</c:formatCode>
                <c:ptCount val="11"/>
              </c:numCache>
            </c:numRef>
          </c:val>
          <c:extLst>
            <c:ext xmlns:c16="http://schemas.microsoft.com/office/drawing/2014/chart" uri="{C3380CC4-5D6E-409C-BE32-E72D297353CC}">
              <c16:uniqueId val="{00000001-80BC-420C-825F-4AE686A1C5D9}"/>
            </c:ext>
          </c:extLst>
        </c:ser>
        <c:ser>
          <c:idx val="2"/>
          <c:order val="2"/>
          <c:tx>
            <c:strRef>
              <c:f>Sheet1!$D$1</c:f>
              <c:strCache>
                <c:ptCount val="1"/>
                <c:pt idx="0">
                  <c:v>Column4</c:v>
                </c:pt>
              </c:strCache>
            </c:strRef>
          </c:tx>
          <c:spPr>
            <a:solidFill>
              <a:schemeClr val="accent3"/>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D$2:$D$12</c:f>
              <c:numCache>
                <c:formatCode>General</c:formatCode>
                <c:ptCount val="11"/>
              </c:numCache>
            </c:numRef>
          </c:val>
          <c:extLst>
            <c:ext xmlns:c16="http://schemas.microsoft.com/office/drawing/2014/chart" uri="{C3380CC4-5D6E-409C-BE32-E72D297353CC}">
              <c16:uniqueId val="{00000002-80BC-420C-825F-4AE686A1C5D9}"/>
            </c:ext>
          </c:extLst>
        </c:ser>
        <c:dLbls>
          <c:showLegendKey val="0"/>
          <c:showVal val="0"/>
          <c:showCatName val="0"/>
          <c:showSerName val="0"/>
          <c:showPercent val="0"/>
          <c:showBubbleSize val="0"/>
        </c:dLbls>
        <c:axId val="1720718799"/>
        <c:axId val="1720705359"/>
      </c:areaChart>
      <c:catAx>
        <c:axId val="1720718799"/>
        <c:scaling>
          <c:orientation val="minMax"/>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Years</a:t>
                </a:r>
              </a:p>
            </c:rich>
          </c:tx>
          <c:layout>
            <c:manualLayout>
              <c:xMode val="edge"/>
              <c:yMode val="edge"/>
              <c:x val="0.49999487368766404"/>
              <c:y val="0.8871296724998378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low"/>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05359"/>
        <c:crossesAt val="0"/>
        <c:auto val="1"/>
        <c:lblAlgn val="ctr"/>
        <c:lblOffset val="100"/>
        <c:tickLblSkip val="2"/>
        <c:tickMarkSkip val="1"/>
        <c:noMultiLvlLbl val="1"/>
      </c:catAx>
      <c:valAx>
        <c:axId val="1720705359"/>
        <c:scaling>
          <c:orientation val="minMax"/>
          <c:max val="5"/>
          <c:min val="-20"/>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Percent</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18799"/>
        <c:crosses val="autoZero"/>
        <c:crossBetween val="midCat"/>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50710848643919"/>
          <c:y val="1.9300464617767146E-2"/>
          <c:w val="0.77468456091426074"/>
          <c:h val="0.69702054369873034"/>
        </c:manualLayout>
      </c:layout>
      <c:areaChart>
        <c:grouping val="stacked"/>
        <c:varyColors val="0"/>
        <c:ser>
          <c:idx val="0"/>
          <c:order val="0"/>
          <c:tx>
            <c:strRef>
              <c:f>Sheet1!$B$1</c:f>
              <c:strCache>
                <c:ptCount val="1"/>
                <c:pt idx="0">
                  <c:v>Column2</c:v>
                </c:pt>
              </c:strCache>
            </c:strRef>
          </c:tx>
          <c:spPr>
            <a:solidFill>
              <a:schemeClr val="accent1"/>
            </a:solidFill>
            <a:ln w="19050">
              <a:noFill/>
            </a:ln>
            <a:effectLst/>
          </c:spPr>
          <c:dPt>
            <c:idx val="3"/>
            <c:bubble3D val="0"/>
            <c:extLst>
              <c:ext xmlns:c16="http://schemas.microsoft.com/office/drawing/2014/chart" uri="{C3380CC4-5D6E-409C-BE32-E72D297353CC}">
                <c16:uniqueId val="{00000003-80BC-420C-825F-4AE686A1C5D9}"/>
              </c:ext>
            </c:extLst>
          </c:dPt>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numCache>
            </c:numRef>
          </c:val>
          <c:extLst>
            <c:ext xmlns:c16="http://schemas.microsoft.com/office/drawing/2014/chart" uri="{C3380CC4-5D6E-409C-BE32-E72D297353CC}">
              <c16:uniqueId val="{00000000-80BC-420C-825F-4AE686A1C5D9}"/>
            </c:ext>
          </c:extLst>
        </c:ser>
        <c:ser>
          <c:idx val="1"/>
          <c:order val="1"/>
          <c:tx>
            <c:strRef>
              <c:f>Sheet1!$C$1</c:f>
              <c:strCache>
                <c:ptCount val="1"/>
                <c:pt idx="0">
                  <c:v>Column3</c:v>
                </c:pt>
              </c:strCache>
            </c:strRef>
          </c:tx>
          <c:spPr>
            <a:solidFill>
              <a:schemeClr val="accent2"/>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C$2:$C$12</c:f>
              <c:numCache>
                <c:formatCode>General</c:formatCode>
                <c:ptCount val="11"/>
              </c:numCache>
            </c:numRef>
          </c:val>
          <c:extLst>
            <c:ext xmlns:c16="http://schemas.microsoft.com/office/drawing/2014/chart" uri="{C3380CC4-5D6E-409C-BE32-E72D297353CC}">
              <c16:uniqueId val="{00000001-80BC-420C-825F-4AE686A1C5D9}"/>
            </c:ext>
          </c:extLst>
        </c:ser>
        <c:ser>
          <c:idx val="2"/>
          <c:order val="2"/>
          <c:tx>
            <c:strRef>
              <c:f>Sheet1!$D$1</c:f>
              <c:strCache>
                <c:ptCount val="1"/>
                <c:pt idx="0">
                  <c:v>Column4</c:v>
                </c:pt>
              </c:strCache>
            </c:strRef>
          </c:tx>
          <c:spPr>
            <a:solidFill>
              <a:schemeClr val="accent3"/>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D$2:$D$12</c:f>
              <c:numCache>
                <c:formatCode>General</c:formatCode>
                <c:ptCount val="11"/>
              </c:numCache>
            </c:numRef>
          </c:val>
          <c:extLst>
            <c:ext xmlns:c16="http://schemas.microsoft.com/office/drawing/2014/chart" uri="{C3380CC4-5D6E-409C-BE32-E72D297353CC}">
              <c16:uniqueId val="{00000002-80BC-420C-825F-4AE686A1C5D9}"/>
            </c:ext>
          </c:extLst>
        </c:ser>
        <c:dLbls>
          <c:showLegendKey val="0"/>
          <c:showVal val="0"/>
          <c:showCatName val="0"/>
          <c:showSerName val="0"/>
          <c:showPercent val="0"/>
          <c:showBubbleSize val="0"/>
        </c:dLbls>
        <c:axId val="1720718799"/>
        <c:axId val="1720705359"/>
      </c:areaChart>
      <c:catAx>
        <c:axId val="1720718799"/>
        <c:scaling>
          <c:orientation val="minMax"/>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Years</a:t>
                </a:r>
              </a:p>
            </c:rich>
          </c:tx>
          <c:layout>
            <c:manualLayout>
              <c:xMode val="edge"/>
              <c:yMode val="edge"/>
              <c:x val="0.49999487368766404"/>
              <c:y val="0.8871296724998378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low"/>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05359"/>
        <c:crossesAt val="0"/>
        <c:auto val="1"/>
        <c:lblAlgn val="ctr"/>
        <c:lblOffset val="100"/>
        <c:tickLblSkip val="2"/>
        <c:noMultiLvlLbl val="1"/>
      </c:catAx>
      <c:valAx>
        <c:axId val="1720705359"/>
        <c:scaling>
          <c:orientation val="minMax"/>
          <c:max val="2.5"/>
          <c:min val="-25"/>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Percent</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18799"/>
        <c:crosses val="autoZero"/>
        <c:crossBetween val="midCat"/>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50710848643919"/>
          <c:y val="1.9300464617767146E-2"/>
          <c:w val="0.77468456091426074"/>
          <c:h val="0.69702054369873034"/>
        </c:manualLayout>
      </c:layout>
      <c:areaChart>
        <c:grouping val="stacked"/>
        <c:varyColors val="0"/>
        <c:ser>
          <c:idx val="0"/>
          <c:order val="0"/>
          <c:tx>
            <c:strRef>
              <c:f>Sheet1!$B$1</c:f>
              <c:strCache>
                <c:ptCount val="1"/>
                <c:pt idx="0">
                  <c:v>Column2</c:v>
                </c:pt>
              </c:strCache>
            </c:strRef>
          </c:tx>
          <c:spPr>
            <a:solidFill>
              <a:schemeClr val="accent1"/>
            </a:solidFill>
            <a:ln w="19050">
              <a:noFill/>
            </a:ln>
            <a:effectLst/>
          </c:spPr>
          <c:dPt>
            <c:idx val="3"/>
            <c:bubble3D val="0"/>
            <c:extLst>
              <c:ext xmlns:c16="http://schemas.microsoft.com/office/drawing/2014/chart" uri="{C3380CC4-5D6E-409C-BE32-E72D297353CC}">
                <c16:uniqueId val="{00000003-80BC-420C-825F-4AE686A1C5D9}"/>
              </c:ext>
            </c:extLst>
          </c:dPt>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numCache>
            </c:numRef>
          </c:val>
          <c:extLst>
            <c:ext xmlns:c16="http://schemas.microsoft.com/office/drawing/2014/chart" uri="{C3380CC4-5D6E-409C-BE32-E72D297353CC}">
              <c16:uniqueId val="{00000000-80BC-420C-825F-4AE686A1C5D9}"/>
            </c:ext>
          </c:extLst>
        </c:ser>
        <c:ser>
          <c:idx val="1"/>
          <c:order val="1"/>
          <c:tx>
            <c:strRef>
              <c:f>Sheet1!$C$1</c:f>
              <c:strCache>
                <c:ptCount val="1"/>
                <c:pt idx="0">
                  <c:v>Column3</c:v>
                </c:pt>
              </c:strCache>
            </c:strRef>
          </c:tx>
          <c:spPr>
            <a:solidFill>
              <a:schemeClr val="accent2"/>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C$2:$C$12</c:f>
              <c:numCache>
                <c:formatCode>General</c:formatCode>
                <c:ptCount val="11"/>
              </c:numCache>
            </c:numRef>
          </c:val>
          <c:extLst>
            <c:ext xmlns:c16="http://schemas.microsoft.com/office/drawing/2014/chart" uri="{C3380CC4-5D6E-409C-BE32-E72D297353CC}">
              <c16:uniqueId val="{00000001-80BC-420C-825F-4AE686A1C5D9}"/>
            </c:ext>
          </c:extLst>
        </c:ser>
        <c:ser>
          <c:idx val="2"/>
          <c:order val="2"/>
          <c:tx>
            <c:strRef>
              <c:f>Sheet1!$D$1</c:f>
              <c:strCache>
                <c:ptCount val="1"/>
                <c:pt idx="0">
                  <c:v>Column4</c:v>
                </c:pt>
              </c:strCache>
            </c:strRef>
          </c:tx>
          <c:spPr>
            <a:solidFill>
              <a:schemeClr val="accent3"/>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D$2:$D$12</c:f>
              <c:numCache>
                <c:formatCode>General</c:formatCode>
                <c:ptCount val="11"/>
              </c:numCache>
            </c:numRef>
          </c:val>
          <c:extLst>
            <c:ext xmlns:c16="http://schemas.microsoft.com/office/drawing/2014/chart" uri="{C3380CC4-5D6E-409C-BE32-E72D297353CC}">
              <c16:uniqueId val="{00000002-80BC-420C-825F-4AE686A1C5D9}"/>
            </c:ext>
          </c:extLst>
        </c:ser>
        <c:dLbls>
          <c:showLegendKey val="0"/>
          <c:showVal val="0"/>
          <c:showCatName val="0"/>
          <c:showSerName val="0"/>
          <c:showPercent val="0"/>
          <c:showBubbleSize val="0"/>
        </c:dLbls>
        <c:axId val="1720718799"/>
        <c:axId val="1720705359"/>
      </c:areaChart>
      <c:catAx>
        <c:axId val="1720718799"/>
        <c:scaling>
          <c:orientation val="minMax"/>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Years</a:t>
                </a:r>
              </a:p>
            </c:rich>
          </c:tx>
          <c:layout>
            <c:manualLayout>
              <c:xMode val="edge"/>
              <c:yMode val="edge"/>
              <c:x val="0.49999487368766404"/>
              <c:y val="0.8871296724998378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low"/>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05359"/>
        <c:crossesAt val="0"/>
        <c:auto val="1"/>
        <c:lblAlgn val="ctr"/>
        <c:lblOffset val="100"/>
        <c:tickLblSkip val="2"/>
        <c:tickMarkSkip val="1"/>
        <c:noMultiLvlLbl val="1"/>
      </c:catAx>
      <c:valAx>
        <c:axId val="1720705359"/>
        <c:scaling>
          <c:orientation val="minMax"/>
          <c:max val="20"/>
          <c:min val="-60"/>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Percent</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18799"/>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50710848643919"/>
          <c:y val="1.9300464617767146E-2"/>
          <c:w val="0.77468456091426074"/>
          <c:h val="0.69702054369873034"/>
        </c:manualLayout>
      </c:layout>
      <c:areaChart>
        <c:grouping val="stacked"/>
        <c:varyColors val="0"/>
        <c:ser>
          <c:idx val="0"/>
          <c:order val="0"/>
          <c:tx>
            <c:strRef>
              <c:f>Sheet1!$B$1</c:f>
              <c:strCache>
                <c:ptCount val="1"/>
                <c:pt idx="0">
                  <c:v>Column2</c:v>
                </c:pt>
              </c:strCache>
            </c:strRef>
          </c:tx>
          <c:spPr>
            <a:solidFill>
              <a:schemeClr val="accent1"/>
            </a:solidFill>
            <a:ln w="19050">
              <a:noFill/>
            </a:ln>
            <a:effectLst/>
          </c:spPr>
          <c:dPt>
            <c:idx val="3"/>
            <c:bubble3D val="0"/>
            <c:extLst>
              <c:ext xmlns:c16="http://schemas.microsoft.com/office/drawing/2014/chart" uri="{C3380CC4-5D6E-409C-BE32-E72D297353CC}">
                <c16:uniqueId val="{00000003-80BC-420C-825F-4AE686A1C5D9}"/>
              </c:ext>
            </c:extLst>
          </c:dPt>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numCache>
            </c:numRef>
          </c:val>
          <c:extLst>
            <c:ext xmlns:c16="http://schemas.microsoft.com/office/drawing/2014/chart" uri="{C3380CC4-5D6E-409C-BE32-E72D297353CC}">
              <c16:uniqueId val="{00000000-80BC-420C-825F-4AE686A1C5D9}"/>
            </c:ext>
          </c:extLst>
        </c:ser>
        <c:ser>
          <c:idx val="1"/>
          <c:order val="1"/>
          <c:tx>
            <c:strRef>
              <c:f>Sheet1!$C$1</c:f>
              <c:strCache>
                <c:ptCount val="1"/>
                <c:pt idx="0">
                  <c:v>Column3</c:v>
                </c:pt>
              </c:strCache>
            </c:strRef>
          </c:tx>
          <c:spPr>
            <a:solidFill>
              <a:schemeClr val="accent2"/>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C$2:$C$12</c:f>
              <c:numCache>
                <c:formatCode>General</c:formatCode>
                <c:ptCount val="11"/>
              </c:numCache>
            </c:numRef>
          </c:val>
          <c:extLst>
            <c:ext xmlns:c16="http://schemas.microsoft.com/office/drawing/2014/chart" uri="{C3380CC4-5D6E-409C-BE32-E72D297353CC}">
              <c16:uniqueId val="{00000001-80BC-420C-825F-4AE686A1C5D9}"/>
            </c:ext>
          </c:extLst>
        </c:ser>
        <c:ser>
          <c:idx val="2"/>
          <c:order val="2"/>
          <c:tx>
            <c:strRef>
              <c:f>Sheet1!$D$1</c:f>
              <c:strCache>
                <c:ptCount val="1"/>
                <c:pt idx="0">
                  <c:v>Column4</c:v>
                </c:pt>
              </c:strCache>
            </c:strRef>
          </c:tx>
          <c:spPr>
            <a:solidFill>
              <a:schemeClr val="accent3"/>
            </a:solidFill>
            <a:ln w="19050">
              <a:noFill/>
              <a:prstDash val="dash"/>
            </a:ln>
            <a:effectLst/>
          </c:spP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D$2:$D$12</c:f>
              <c:numCache>
                <c:formatCode>General</c:formatCode>
                <c:ptCount val="11"/>
              </c:numCache>
            </c:numRef>
          </c:val>
          <c:extLst>
            <c:ext xmlns:c16="http://schemas.microsoft.com/office/drawing/2014/chart" uri="{C3380CC4-5D6E-409C-BE32-E72D297353CC}">
              <c16:uniqueId val="{00000002-80BC-420C-825F-4AE686A1C5D9}"/>
            </c:ext>
          </c:extLst>
        </c:ser>
        <c:dLbls>
          <c:showLegendKey val="0"/>
          <c:showVal val="0"/>
          <c:showCatName val="0"/>
          <c:showSerName val="0"/>
          <c:showPercent val="0"/>
          <c:showBubbleSize val="0"/>
        </c:dLbls>
        <c:axId val="1720718799"/>
        <c:axId val="1720705359"/>
      </c:areaChart>
      <c:catAx>
        <c:axId val="1720718799"/>
        <c:scaling>
          <c:orientation val="minMax"/>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Years</a:t>
                </a:r>
              </a:p>
            </c:rich>
          </c:tx>
          <c:layout>
            <c:manualLayout>
              <c:xMode val="edge"/>
              <c:yMode val="edge"/>
              <c:x val="0.49999487368766404"/>
              <c:y val="0.8871296724998378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low"/>
        <c:spPr>
          <a:noFill/>
          <a:ln w="3175" cap="flat" cmpd="sng" algn="ctr">
            <a:solidFill>
              <a:schemeClr val="accent3">
                <a:lumMod val="20000"/>
                <a:lumOff val="80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05359"/>
        <c:crossesAt val="0"/>
        <c:auto val="1"/>
        <c:lblAlgn val="ctr"/>
        <c:lblOffset val="100"/>
        <c:tickLblSkip val="2"/>
        <c:noMultiLvlLbl val="1"/>
      </c:catAx>
      <c:valAx>
        <c:axId val="1720705359"/>
        <c:scaling>
          <c:orientation val="minMax"/>
          <c:max val="10"/>
          <c:min val="-30"/>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b="1" dirty="0"/>
                  <a:t>Percent</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20718799"/>
        <c:crosses val="autoZero"/>
        <c:crossBetween val="midCat"/>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835A46CD-E53D-41B2-85B1-944BF9C872A5}" type="datetimeFigureOut">
              <a:rPr lang="en-GB" smtClean="0"/>
              <a:t>06/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A528D2FF-12CA-41B7-B7AD-468C4FF40B71}" type="slidenum">
              <a:rPr lang="en-GB" smtClean="0"/>
              <a:t>‹#›</a:t>
            </a:fld>
            <a:endParaRPr lang="en-GB"/>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C75E8F-26F3-6090-F4DD-7270092034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8D5B5B-393E-5A0E-3D85-59177277928E}"/>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668FBFD4-E79B-B3D2-DBC5-D3D11D54A831}"/>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BB0505-09F5-4BE1-8919-906EFBE61DBF}"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342" rtl="0" eaLnBrk="1" fontAlgn="auto" latinLnBrk="0" hangingPunct="1">
              <a:lnSpc>
                <a:spcPct val="100000"/>
              </a:lnSpc>
              <a:spcBef>
                <a:spcPts val="0"/>
              </a:spcBef>
              <a:spcAft>
                <a:spcPts val="0"/>
              </a:spcAft>
              <a:buClrTx/>
              <a:buSzTx/>
              <a:buFont typeface="Arial" panose="020B0604020202020204" pitchFamily="34" charset="0"/>
              <a:buNone/>
              <a:tabLst/>
              <a:defRPr/>
            </a:pPr>
            <a:fld id="{5B1B492F-E6BA-4409-9212-AB9CAE5B4C56}" type="slidenum">
              <a:rPr kumimoji="0" lang="en-GB" sz="13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342" rtl="0" eaLnBrk="1" fontAlgn="auto" latinLnBrk="0" hangingPunct="1">
                <a:lnSpc>
                  <a:spcPct val="100000"/>
                </a:lnSpc>
                <a:spcBef>
                  <a:spcPts val="0"/>
                </a:spcBef>
                <a:spcAft>
                  <a:spcPts val="0"/>
                </a:spcAft>
                <a:buClrTx/>
                <a:buSzTx/>
                <a:buFont typeface="Arial" panose="020B0604020202020204" pitchFamily="34" charset="0"/>
                <a:buNone/>
                <a:tabLst/>
                <a:defRPr/>
              </a:pPr>
              <a:t>11</a:t>
            </a:fld>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9605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650F0-1CA5-7D34-3A0B-7686347892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415EFF-E6F7-63CF-DCB2-EC6B536AF0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1805A6-A240-ADA7-6BBC-F9180774FA4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CCBCE74-5925-8756-EC61-DDD7E1E6CBA1}"/>
              </a:ext>
            </a:extLst>
          </p:cNvPr>
          <p:cNvSpPr>
            <a:spLocks noGrp="1"/>
          </p:cNvSpPr>
          <p:nvPr>
            <p:ph type="sldNum" sz="quarter" idx="5"/>
          </p:nvPr>
        </p:nvSpPr>
        <p:spPr/>
        <p:txBody>
          <a:bodyPr/>
          <a:lstStyle/>
          <a:p>
            <a:fld id="{A528D2FF-12CA-41B7-B7AD-468C4FF40B71}" type="slidenum">
              <a:rPr lang="en-GB" smtClean="0"/>
              <a:pPr/>
              <a:t>12</a:t>
            </a:fld>
            <a:endParaRPr lang="en-GB"/>
          </a:p>
        </p:txBody>
      </p:sp>
    </p:spTree>
    <p:extLst>
      <p:ext uri="{BB962C8B-B14F-4D97-AF65-F5344CB8AC3E}">
        <p14:creationId xmlns:p14="http://schemas.microsoft.com/office/powerpoint/2010/main" val="32362469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BF0FC2-ACF6-0653-2B45-21CA126AF43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CE1013-1FA6-3464-613E-F1BA22000B68}"/>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FE8B177A-5672-6FD8-E20F-03B50C8D0B47}"/>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7604D7-5E7D-4123-8254-01E5D612C4EB}"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362184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7EC1D6-7E2D-9031-F84C-336BFD9BC31B}"/>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7A912A76-1C81-EBD6-2A8D-D6D67F024EA4}"/>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9B504C8B-7801-86FD-AA10-49B4D28E658F}"/>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97916A-C6A5-4BC4-8164-F930024BB876}"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997714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88F4EB-889A-F8C0-266E-BC1BCBF3534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3EC5668F-DE52-83C1-695A-B1FDCC377035}"/>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F009DD5E-C913-9315-BF1C-EC271B4DB04D}"/>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335135-BB7E-4133-BDEC-FEA6BB05B311}"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38BECF-F8D9-2622-6C80-5B9F990C97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B0832C8-7D9F-B5B5-3EEC-C3F237FA50BE}"/>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68B66BC0-7A3B-922E-2D34-D274514C3AB0}"/>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9690B4-56E5-4FB6-8822-0F80A2580E71}"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28C9A5-3FA7-901F-B13F-A7C58E0B11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E5F7E2-DDA7-ED98-9680-D0C943918A3E}"/>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E04C9386-9FDF-6818-1395-8E844B397A76}"/>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51F05E-D22A-4383-A446-3BFB713C9CCE}"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A81E07-D463-1D94-B789-0C1E133DDE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029CB6-8B8F-6A30-1C6D-D5B2416A98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CE2B20-B969-2C5A-67B7-91FD57D8BF6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FF7A84C-1338-EACD-FFEB-5A6EB78CFACF}"/>
              </a:ext>
            </a:extLst>
          </p:cNvPr>
          <p:cNvSpPr>
            <a:spLocks noGrp="1"/>
          </p:cNvSpPr>
          <p:nvPr>
            <p:ph type="sldNum" sz="quarter" idx="5"/>
          </p:nvPr>
        </p:nvSpPr>
        <p:spPr/>
        <p:txBody>
          <a:bodyPr/>
          <a:lstStyle/>
          <a:p>
            <a:fld id="{A528D2FF-12CA-41B7-B7AD-468C4FF40B71}" type="slidenum">
              <a:rPr lang="en-GB" smtClean="0"/>
              <a:pPr/>
              <a:t>19</a:t>
            </a:fld>
            <a:endParaRPr lang="en-GB"/>
          </a:p>
        </p:txBody>
      </p:sp>
    </p:spTree>
    <p:extLst>
      <p:ext uri="{BB962C8B-B14F-4D97-AF65-F5344CB8AC3E}">
        <p14:creationId xmlns:p14="http://schemas.microsoft.com/office/powerpoint/2010/main" val="2765821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558323-BAD4-9573-A594-4D86D3772002}"/>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BC23F41-8155-3CAD-B38A-98B1BBC36BAC}"/>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F31374AC-A528-FD42-F0C3-A0CACC12D346}"/>
              </a:ext>
            </a:extLst>
          </p:cNvPr>
          <p:cNvSpPr txBox="1">
            <a:spLocks noGrp="1"/>
          </p:cNvSpPr>
          <p:nvPr>
            <p:ph type="sldNum" sz="quarter" idx="8"/>
          </p:nvPr>
        </p:nvSpPr>
        <p:spPr/>
        <p:txBody>
          <a:bodyPr/>
          <a:lstStyle/>
          <a:p>
            <a:pPr lvl="0"/>
            <a:fld id="{4B042BA8-35C7-45E5-B94B-67ED2C1F0710}" type="slidenum">
              <a:t>20</a:t>
            </a:fld>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371795-D0D5-EEBB-2291-7F2CEA53F2E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106AF94B-DF5D-DFA4-3BB8-6D58FBA79934}"/>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FBB0B62A-ECCA-F40B-F577-9714D07B5014}"/>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C558A1-163C-462F-9BCC-8391C6B656D8}"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99877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8DC170-400D-76F2-1013-BFC6006085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FE858C-7BD4-0247-4B62-E88D7E36A5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534A58-DC21-E539-F299-B410DDCE71A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176F159-A0D2-492D-1D1F-4878452E99B6}"/>
              </a:ext>
            </a:extLst>
          </p:cNvPr>
          <p:cNvSpPr>
            <a:spLocks noGrp="1"/>
          </p:cNvSpPr>
          <p:nvPr>
            <p:ph type="sldNum" sz="quarter" idx="5"/>
          </p:nvPr>
        </p:nvSpPr>
        <p:spPr/>
        <p:txBody>
          <a:bodyPr/>
          <a:lstStyle/>
          <a:p>
            <a:fld id="{A528D2FF-12CA-41B7-B7AD-468C4FF40B71}" type="slidenum">
              <a:rPr lang="en-GB" smtClean="0"/>
              <a:pPr/>
              <a:t>2</a:t>
            </a:fld>
            <a:endParaRPr lang="en-GB"/>
          </a:p>
        </p:txBody>
      </p:sp>
    </p:spTree>
    <p:extLst>
      <p:ext uri="{BB962C8B-B14F-4D97-AF65-F5344CB8AC3E}">
        <p14:creationId xmlns:p14="http://schemas.microsoft.com/office/powerpoint/2010/main" val="27164714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dirty="0"/>
              <a:t>results imply a SCC of $1,056/tCO2 and a 31% welfare loss from a moderate warming scenario. These effects are comparable to having a major war fought domestically, forever. Not only do our results indicate that climate change represents a major threat to the world economy, they also have salient consequences for decarbonization policy. Many decarbonization interventions cost between $27 and $95 per ton of CO2 abated (</a:t>
            </a:r>
            <a:r>
              <a:rPr lang="en-US" dirty="0" err="1"/>
              <a:t>Bistline</a:t>
            </a:r>
            <a:r>
              <a:rPr lang="en-US" dirty="0"/>
              <a:t> et al., 2023). A conventional SCC value of $151/tCO2 implies that these policies are </a:t>
            </a:r>
            <a:r>
              <a:rPr lang="en-US" dirty="0" err="1"/>
              <a:t>costeffective</a:t>
            </a:r>
            <a:r>
              <a:rPr lang="en-US" dirty="0"/>
              <a:t> only if governments internalize benefits to the entire world, as captured by the SCC. However, a government that only internalizes domestic benefits values mitigation benefits using a Domestic Cost of Carbon (DCC). The DCC is always lower than the SCC because damages to a single country are less than to the entire world. For instance, under conventional estimates based on local shocks, the DCC of the United States is $30/tCO2, making unilateral emissions reduction prohibitively expensive. Under our new estimates however, the DCC of the United States becomes $211/tCO2 and thus largely exceeds policy costs. In that case, unilateral decarbonization policy is cost-effective for the United States</a:t>
            </a:r>
          </a:p>
          <a:p>
            <a:r>
              <a:rPr lang="en-US" dirty="0"/>
              <a:t>Figure 10 displays our results. Global temperature shocks lead to a substantial and significant fall in the capital stock and in investment. The sluggish fall in the capital stock is consistent with the adverse impact of future extreme weather events such as storms that materialize as a sequence of capital depreciation shocks. Consistent with Hsiang and </a:t>
            </a:r>
            <a:r>
              <a:rPr lang="en-US" dirty="0" err="1"/>
              <a:t>Jina</a:t>
            </a:r>
            <a:r>
              <a:rPr lang="en-US" dirty="0"/>
              <a:t> (2014), we find that disasters associated with global warming do not stimulate growth. Instead, national income declines, productive capital dwindles and investment falls. We also find evidence that productivity falls significantly after global temperature shocks. This is true for Total Factor Productivity (TFP) as estimated in the Penn World Tables and for labor productivity. The impact effect, which stands at about -2%, is consistent with experimental studies on the impact of temperature on productivity (</a:t>
            </a:r>
            <a:r>
              <a:rPr lang="en-US" dirty="0" err="1"/>
              <a:t>Seppanen</a:t>
            </a:r>
            <a:r>
              <a:rPr lang="en-US" dirty="0"/>
              <a:t> et al., 2003). However, these effects tend to build up over time, reaching around -10% after about four years. 3.5 Regional </a:t>
            </a:r>
            <a:r>
              <a:rPr lang="en-US"/>
              <a:t>Heterogeneit</a:t>
            </a:r>
            <a:endParaRPr lang="en-US" dirty="0"/>
          </a:p>
          <a:p>
            <a:r>
              <a:rPr lang="en-US" dirty="0"/>
              <a:t>In our framework, we define the Social Cost of Carbon as the one-time dollar amount C that households would pay at time 0 that would make them indifferent between a world with an additional ton of CO2 emitted at time 0, and a world starting in steady-state, without emissions, but having paid C.</a:t>
            </a:r>
          </a:p>
          <a:p>
            <a:endParaRPr lang="en-US" dirty="0"/>
          </a:p>
          <a:p>
            <a:endParaRPr lang="en-GB" dirty="0"/>
          </a:p>
        </p:txBody>
      </p:sp>
      <p:sp>
        <p:nvSpPr>
          <p:cNvPr id="4" name="Slide Number Placeholder 3"/>
          <p:cNvSpPr>
            <a:spLocks noGrp="1"/>
          </p:cNvSpPr>
          <p:nvPr>
            <p:ph type="sldNum" sz="quarter" idx="5"/>
          </p:nvPr>
        </p:nvSpPr>
        <p:spPr/>
        <p:txBody>
          <a:bodyPr/>
          <a:lstStyle/>
          <a:p>
            <a:fld id="{5B1B492F-E6BA-4409-9212-AB9CAE5B4C56}" type="slidenum">
              <a:rPr lang="en-GB" smtClean="0"/>
              <a:pPr/>
              <a:t>24</a:t>
            </a:fld>
            <a:endParaRPr lang="en-GB" dirty="0"/>
          </a:p>
        </p:txBody>
      </p:sp>
    </p:spTree>
    <p:extLst>
      <p:ext uri="{BB962C8B-B14F-4D97-AF65-F5344CB8AC3E}">
        <p14:creationId xmlns:p14="http://schemas.microsoft.com/office/powerpoint/2010/main" val="2262337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A659AD-7938-DD0D-E02D-E25A2E20CA1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88D85DEA-E2EE-6335-85AC-EDDD8791104A}"/>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88AA8544-3F9A-B2B5-3BC2-1E49607B89DC}"/>
              </a:ext>
            </a:extLst>
          </p:cNvPr>
          <p:cNvSpPr txBox="1">
            <a:spLocks noGrp="1"/>
          </p:cNvSpPr>
          <p:nvPr>
            <p:ph type="sldNum" sz="quarter" idx="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22BFC-F4B1-4C19-A51C-652EDC970237}"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528D2FF-12CA-41B7-B7AD-468C4FF40B71}" type="slidenum">
              <a:rPr lang="en-GB" smtClean="0"/>
              <a:pPr/>
              <a:t>4</a:t>
            </a:fld>
            <a:endParaRPr lang="en-GB"/>
          </a:p>
        </p:txBody>
      </p:sp>
    </p:spTree>
    <p:extLst>
      <p:ext uri="{BB962C8B-B14F-4D97-AF65-F5344CB8AC3E}">
        <p14:creationId xmlns:p14="http://schemas.microsoft.com/office/powerpoint/2010/main" val="125062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B1B492F-E6BA-4409-9212-AB9CAE5B4C56}" type="slidenum">
              <a:rPr lang="en-GB" smtClean="0"/>
              <a:pPr/>
              <a:t>5</a:t>
            </a:fld>
            <a:endParaRPr lang="en-GB" dirty="0"/>
          </a:p>
        </p:txBody>
      </p:sp>
    </p:spTree>
    <p:extLst>
      <p:ext uri="{BB962C8B-B14F-4D97-AF65-F5344CB8AC3E}">
        <p14:creationId xmlns:p14="http://schemas.microsoft.com/office/powerpoint/2010/main" val="2537979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B1B492F-E6BA-4409-9212-AB9CAE5B4C56}" type="slidenum">
              <a:rPr lang="en-GB" smtClean="0"/>
              <a:pPr/>
              <a:t>6</a:t>
            </a:fld>
            <a:endParaRPr lang="en-GB" dirty="0"/>
          </a:p>
        </p:txBody>
      </p:sp>
    </p:spTree>
    <p:extLst>
      <p:ext uri="{BB962C8B-B14F-4D97-AF65-F5344CB8AC3E}">
        <p14:creationId xmlns:p14="http://schemas.microsoft.com/office/powerpoint/2010/main" val="1858852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B1B492F-E6BA-4409-9212-AB9CAE5B4C56}" type="slidenum">
              <a:rPr lang="en-GB" smtClean="0"/>
              <a:pPr/>
              <a:t>7</a:t>
            </a:fld>
            <a:endParaRPr lang="en-GB" dirty="0"/>
          </a:p>
        </p:txBody>
      </p:sp>
    </p:spTree>
    <p:extLst>
      <p:ext uri="{BB962C8B-B14F-4D97-AF65-F5344CB8AC3E}">
        <p14:creationId xmlns:p14="http://schemas.microsoft.com/office/powerpoint/2010/main" val="28339046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B1B492F-E6BA-4409-9212-AB9CAE5B4C56}" type="slidenum">
              <a:rPr lang="en-GB" smtClean="0"/>
              <a:pPr/>
              <a:t>8</a:t>
            </a:fld>
            <a:endParaRPr lang="en-GB" dirty="0"/>
          </a:p>
        </p:txBody>
      </p:sp>
    </p:spTree>
    <p:extLst>
      <p:ext uri="{BB962C8B-B14F-4D97-AF65-F5344CB8AC3E}">
        <p14:creationId xmlns:p14="http://schemas.microsoft.com/office/powerpoint/2010/main" val="2746663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B1B492F-E6BA-4409-9212-AB9CAE5B4C56}" type="slidenum">
              <a:rPr lang="en-GB" smtClean="0"/>
              <a:pPr/>
              <a:t>10</a:t>
            </a:fld>
            <a:endParaRPr lang="en-GB" dirty="0"/>
          </a:p>
        </p:txBody>
      </p:sp>
    </p:spTree>
    <p:extLst>
      <p:ext uri="{BB962C8B-B14F-4D97-AF65-F5344CB8AC3E}">
        <p14:creationId xmlns:p14="http://schemas.microsoft.com/office/powerpoint/2010/main" val="2230134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7.bin"/><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18.bin"/><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21.bin"/><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oleObject" Target="../embeddings/oleObject22.bin"/><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p:cNvSpPr>
            <a:spLocks noGrp="1"/>
          </p:cNvSpPr>
          <p:nvPr>
            <p:ph type="title" hasCustomPrompt="1"/>
          </p:nvPr>
        </p:nvSpPr>
        <p:spPr>
          <a:xfrm>
            <a:off x="179387" y="179388"/>
            <a:ext cx="11831639" cy="708715"/>
          </a:xfrm>
        </p:spPr>
        <p:txBody>
          <a:bodyPr vert="horz" lIns="0" tIns="0" rIns="0" bIns="0"/>
          <a:lstStyle>
            <a:lvl1pPr rtl="0">
              <a:defRPr cap="none"/>
            </a:lvl1pPr>
          </a:lstStyle>
          <a:p>
            <a:r>
              <a:rPr lang="en-GB" noProof="0"/>
              <a:t>Click to edit master title style </a:t>
            </a:r>
          </a:p>
        </p:txBody>
      </p:sp>
      <p:sp>
        <p:nvSpPr>
          <p:cNvPr id="3" name="Content Placeholder 2"/>
          <p:cNvSpPr>
            <a:spLocks noGrp="1"/>
          </p:cNvSpPr>
          <p:nvPr>
            <p:ph idx="1"/>
          </p:nvPr>
        </p:nvSpPr>
        <p:spPr>
          <a:xfrm>
            <a:off x="179387" y="1217958"/>
            <a:ext cx="11831639" cy="4687236"/>
          </a:xfrm>
        </p:spPr>
        <p:txBody>
          <a:bodyPr lIns="0" tIns="0" rIns="0" bIns="0"/>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p:cNvSpPr>
            <a:spLocks noGrp="1"/>
          </p:cNvSpPr>
          <p:nvPr>
            <p:ph type="ftr" sz="quarter" idx="11"/>
          </p:nvPr>
        </p:nvSpPr>
        <p:spPr/>
        <p:txBody>
          <a:bodyPr lIns="0" tIns="0" rIns="0" bIns="0"/>
          <a:lstStyle>
            <a:lvl1pPr rtl="0">
              <a:defRPr/>
            </a:lvl1pPr>
          </a:lstStyle>
          <a:p>
            <a:endParaRPr lang="en-GB"/>
          </a:p>
        </p:txBody>
      </p:sp>
      <p:sp>
        <p:nvSpPr>
          <p:cNvPr id="6" name="Slide Number Placeholder 5"/>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
        <p:nvSpPr>
          <p:cNvPr id="11" name="Text Placeholder 10"/>
          <p:cNvSpPr>
            <a:spLocks noGrp="1"/>
          </p:cNvSpPr>
          <p:nvPr>
            <p:ph type="body" sz="quarter" idx="13" hasCustomPrompt="1"/>
          </p:nvPr>
        </p:nvSpPr>
        <p:spPr>
          <a:xfrm>
            <a:off x="642795" y="5938837"/>
            <a:ext cx="9463189" cy="359672"/>
          </a:xfrm>
        </p:spPr>
        <p:txBody>
          <a:bodyPr anchor="ctr" anchorCtr="0">
            <a:normAutofit/>
          </a:bodyPr>
          <a:lstStyle>
            <a:lvl1pPr marL="0" indent="0" rtl="0">
              <a:buNone/>
              <a:defRPr sz="1200">
                <a:solidFill>
                  <a:schemeClr val="tx1">
                    <a:lumMod val="50000"/>
                    <a:lumOff val="50000"/>
                  </a:schemeClr>
                </a:solidFill>
              </a:defRPr>
            </a:lvl1pPr>
          </a:lstStyle>
          <a:p>
            <a:pPr lvl="0"/>
            <a:r>
              <a:rPr lang="en-GB"/>
              <a:t>Source </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3" name="Text Placeholder 2"/>
          <p:cNvSpPr>
            <a:spLocks noGrp="1"/>
          </p:cNvSpPr>
          <p:nvPr>
            <p:ph type="body" idx="1"/>
          </p:nvPr>
        </p:nvSpPr>
        <p:spPr>
          <a:xfrm>
            <a:off x="179388" y="1247776"/>
            <a:ext cx="5824537" cy="587975"/>
          </a:xfrm>
        </p:spPr>
        <p:txBody>
          <a:bodyPr lIns="0" tIns="0" rIns="0" bIns="0" anchor="b"/>
          <a:lstStyle>
            <a:lvl1pPr marL="0" indent="0" rtl="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4" name="Content Placeholder 3"/>
          <p:cNvSpPr>
            <a:spLocks noGrp="1"/>
          </p:cNvSpPr>
          <p:nvPr>
            <p:ph sz="half" idx="2"/>
          </p:nvPr>
        </p:nvSpPr>
        <p:spPr>
          <a:xfrm>
            <a:off x="179388" y="2014538"/>
            <a:ext cx="5824537" cy="3924299"/>
          </a:xfrm>
        </p:spPr>
        <p:txBody>
          <a:bodyPr lIns="0" tIns="0" rIns="0" bIns="0"/>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 Placeholder 4"/>
          <p:cNvSpPr>
            <a:spLocks noGrp="1"/>
          </p:cNvSpPr>
          <p:nvPr>
            <p:ph type="body" sz="quarter" idx="3"/>
          </p:nvPr>
        </p:nvSpPr>
        <p:spPr>
          <a:xfrm>
            <a:off x="6186488" y="1247778"/>
            <a:ext cx="5824538" cy="587974"/>
          </a:xfrm>
        </p:spPr>
        <p:txBody>
          <a:bodyPr lIns="0" tIns="0" rIns="0" bIns="0" anchor="b"/>
          <a:lstStyle>
            <a:lvl1pPr marL="0" indent="0" rtl="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Content Placeholder 5"/>
          <p:cNvSpPr>
            <a:spLocks noGrp="1"/>
          </p:cNvSpPr>
          <p:nvPr>
            <p:ph sz="quarter" idx="4"/>
          </p:nvPr>
        </p:nvSpPr>
        <p:spPr>
          <a:xfrm>
            <a:off x="6186488" y="2014538"/>
            <a:ext cx="5824537" cy="3924299"/>
          </a:xfrm>
        </p:spPr>
        <p:txBody>
          <a:bodyPr lIns="0" tIns="0" rIns="0" bIns="0"/>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Footer Placeholder 7"/>
          <p:cNvSpPr>
            <a:spLocks noGrp="1"/>
          </p:cNvSpPr>
          <p:nvPr>
            <p:ph type="ftr" sz="quarter" idx="11"/>
          </p:nvPr>
        </p:nvSpPr>
        <p:spPr/>
        <p:txBody>
          <a:bodyPr lIns="0" tIns="0" rIns="0" bIns="0"/>
          <a:lstStyle>
            <a:lvl1pPr rtl="0">
              <a:defRPr/>
            </a:lvl1pPr>
          </a:lstStyle>
          <a:p>
            <a:endParaRPr lang="en-GB"/>
          </a:p>
        </p:txBody>
      </p:sp>
      <p:sp>
        <p:nvSpPr>
          <p:cNvPr id="9" name="Slide Number Placeholder 8"/>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
        <p:nvSpPr>
          <p:cNvPr id="12" name="Title 1"/>
          <p:cNvSpPr>
            <a:spLocks noGrp="1"/>
          </p:cNvSpPr>
          <p:nvPr>
            <p:ph type="title" hasCustomPrompt="1"/>
          </p:nvPr>
        </p:nvSpPr>
        <p:spPr>
          <a:xfrm>
            <a:off x="179388" y="179388"/>
            <a:ext cx="11831637" cy="709612"/>
          </a:xfrm>
        </p:spPr>
        <p:txBody>
          <a:bodyPr vert="horz" lIns="0" tIns="0" rIns="0" bIns="0"/>
          <a:lstStyle>
            <a:lvl1pPr rtl="0">
              <a:defRPr cap="none"/>
            </a:lvl1pPr>
          </a:lstStyle>
          <a:p>
            <a:r>
              <a:rPr lang="en-GB" noProof="0"/>
              <a:t>Click to edit master 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p:cNvSpPr>
            <a:spLocks noGrp="1"/>
          </p:cNvSpPr>
          <p:nvPr>
            <p:ph type="title" hasCustomPrompt="1"/>
          </p:nvPr>
        </p:nvSpPr>
        <p:spPr/>
        <p:txBody>
          <a:bodyPr vert="horz" lIns="0" tIns="0" rIns="0" bIns="0"/>
          <a:lstStyle>
            <a:lvl1pPr rtl="0">
              <a:defRPr cap="none"/>
            </a:lvl1pPr>
          </a:lstStyle>
          <a:p>
            <a:r>
              <a:rPr lang="en-GB" noProof="0"/>
              <a:t>Click to edit master title style</a:t>
            </a:r>
          </a:p>
        </p:txBody>
      </p:sp>
      <p:sp>
        <p:nvSpPr>
          <p:cNvPr id="4" name="Footer Placeholder 3"/>
          <p:cNvSpPr>
            <a:spLocks noGrp="1"/>
          </p:cNvSpPr>
          <p:nvPr>
            <p:ph type="ftr" sz="quarter" idx="11"/>
          </p:nvPr>
        </p:nvSpPr>
        <p:spPr/>
        <p:txBody>
          <a:bodyPr lIns="0" tIns="0" rIns="0" bIns="0"/>
          <a:lstStyle>
            <a:lvl1pPr rtl="0">
              <a:defRPr/>
            </a:lvl1pPr>
          </a:lstStyle>
          <a:p>
            <a:endParaRPr lang="en-GB"/>
          </a:p>
        </p:txBody>
      </p:sp>
      <p:sp>
        <p:nvSpPr>
          <p:cNvPr id="5" name="Slide Number Placeholder 4"/>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Museo Sans 100" panose="02000000000000000000"/>
              <a:ea typeface="+mj-ea"/>
              <a:cs typeface="+mj-cs"/>
              <a:sym typeface="Museo Sans 100" panose="02000000000000000000"/>
            </a:endParaRPr>
          </a:p>
        </p:txBody>
      </p:sp>
      <p:sp>
        <p:nvSpPr>
          <p:cNvPr id="4" name="Footer Placeholder 3"/>
          <p:cNvSpPr>
            <a:spLocks noGrp="1"/>
          </p:cNvSpPr>
          <p:nvPr>
            <p:ph type="ftr" sz="quarter" idx="11"/>
          </p:nvPr>
        </p:nvSpPr>
        <p:spPr/>
        <p:txBody>
          <a:bodyPr lIns="0" tIns="0" rIns="0" bIns="0"/>
          <a:lstStyle>
            <a:lvl1pPr rtl="0">
              <a:defRPr/>
            </a:lvl1pPr>
          </a:lstStyle>
          <a:p>
            <a:endParaRPr lang="en-GB"/>
          </a:p>
        </p:txBody>
      </p:sp>
      <p:sp>
        <p:nvSpPr>
          <p:cNvPr id="5" name="Slide Number Placeholder 4"/>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p:cNvSpPr>
            <a:spLocks noGrp="1"/>
          </p:cNvSpPr>
          <p:nvPr>
            <p:ph type="title" hasCustomPrompt="1"/>
          </p:nvPr>
        </p:nvSpPr>
        <p:spPr>
          <a:xfrm>
            <a:off x="179388" y="179387"/>
            <a:ext cx="5824536" cy="1654175"/>
          </a:xfrm>
        </p:spPr>
        <p:txBody>
          <a:bodyPr vert="horz" lIns="0" tIns="0" rIns="0" bIns="0" anchor="t">
            <a:noAutofit/>
          </a:bodyPr>
          <a:lstStyle>
            <a:lvl1pPr rtl="0">
              <a:defRPr sz="4400" cap="none"/>
            </a:lvl1pPr>
          </a:lstStyle>
          <a:p>
            <a:r>
              <a:rPr lang="en-GB" noProof="0"/>
              <a:t>Click to edit master title style</a:t>
            </a:r>
          </a:p>
        </p:txBody>
      </p:sp>
      <p:sp>
        <p:nvSpPr>
          <p:cNvPr id="3" name="Content Placeholder 2"/>
          <p:cNvSpPr>
            <a:spLocks noGrp="1"/>
          </p:cNvSpPr>
          <p:nvPr>
            <p:ph idx="1"/>
          </p:nvPr>
        </p:nvSpPr>
        <p:spPr>
          <a:xfrm>
            <a:off x="6186489" y="188014"/>
            <a:ext cx="5824536" cy="5759451"/>
          </a:xfrm>
        </p:spPr>
        <p:txBody>
          <a:bodyPr lIns="0" tIns="0" rIns="0" bIns="0">
            <a:normAutofit/>
          </a:bodyPr>
          <a:lstStyle>
            <a:lvl1pPr rtl="0">
              <a:defRPr sz="1400"/>
            </a:lvl1pPr>
            <a:lvl2pPr rtl="0">
              <a:defRPr sz="1400"/>
            </a:lvl2pPr>
            <a:lvl3pPr rtl="0">
              <a:defRPr sz="1400"/>
            </a:lvl3pPr>
            <a:lvl4pPr rtl="0">
              <a:defRPr sz="1400"/>
            </a:lvl4pPr>
            <a:lvl5pPr rtl="0">
              <a:defRPr sz="1400"/>
            </a:lvl5pPr>
            <a:lvl6pPr>
              <a:defRPr sz="2000"/>
            </a:lvl6pPr>
            <a:lvl7pPr>
              <a:defRPr sz="2000"/>
            </a:lvl7pPr>
            <a:lvl8pPr>
              <a:defRPr sz="2000"/>
            </a:lvl8pPr>
            <a:lvl9pPr>
              <a:defRPr sz="20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ext Placeholder 3"/>
          <p:cNvSpPr>
            <a:spLocks noGrp="1"/>
          </p:cNvSpPr>
          <p:nvPr>
            <p:ph type="body" sz="half" idx="2"/>
          </p:nvPr>
        </p:nvSpPr>
        <p:spPr>
          <a:xfrm>
            <a:off x="179387" y="2014538"/>
            <a:ext cx="5824536" cy="3924301"/>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Click to edit Master text styles</a:t>
            </a:r>
          </a:p>
        </p:txBody>
      </p:sp>
      <p:sp>
        <p:nvSpPr>
          <p:cNvPr id="6" name="Footer Placeholder 5"/>
          <p:cNvSpPr>
            <a:spLocks noGrp="1"/>
          </p:cNvSpPr>
          <p:nvPr>
            <p:ph type="ftr" sz="quarter" idx="11"/>
          </p:nvPr>
        </p:nvSpPr>
        <p:spPr/>
        <p:txBody>
          <a:bodyPr lIns="0" tIns="0" rIns="0" bIns="0"/>
          <a:lstStyle>
            <a:lvl1pPr rtl="0">
              <a:defRPr/>
            </a:lvl1pPr>
          </a:lstStyle>
          <a:p>
            <a:endParaRPr lang="en-GB"/>
          </a:p>
        </p:txBody>
      </p:sp>
      <p:sp>
        <p:nvSpPr>
          <p:cNvPr id="7" name="Slide Number Placeholder 6"/>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p:cNvSpPr>
            <a:spLocks noGrp="1"/>
          </p:cNvSpPr>
          <p:nvPr>
            <p:ph type="title" hasCustomPrompt="1"/>
          </p:nvPr>
        </p:nvSpPr>
        <p:spPr>
          <a:xfrm>
            <a:off x="179388" y="180974"/>
            <a:ext cx="5824536" cy="1652589"/>
          </a:xfrm>
        </p:spPr>
        <p:txBody>
          <a:bodyPr vert="horz" lIns="0" tIns="0" rIns="0" bIns="0" anchor="t">
            <a:normAutofit/>
          </a:bodyPr>
          <a:lstStyle>
            <a:lvl1pPr rtl="0">
              <a:defRPr sz="4400" cap="none"/>
            </a:lvl1pPr>
          </a:lstStyle>
          <a:p>
            <a:r>
              <a:rPr lang="en-GB" noProof="0"/>
              <a:t>Click to edit master title style</a:t>
            </a:r>
          </a:p>
        </p:txBody>
      </p:sp>
      <p:sp>
        <p:nvSpPr>
          <p:cNvPr id="4" name="Text Placeholder 3"/>
          <p:cNvSpPr>
            <a:spLocks noGrp="1"/>
          </p:cNvSpPr>
          <p:nvPr>
            <p:ph type="body" sz="half" idx="2"/>
          </p:nvPr>
        </p:nvSpPr>
        <p:spPr>
          <a:xfrm>
            <a:off x="179389" y="2014538"/>
            <a:ext cx="5824536" cy="3924300"/>
          </a:xfrm>
        </p:spPr>
        <p:txBody>
          <a:bodyPr lIns="0" tIns="0" rIns="0" bIns="0"/>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Click to edit Master text styles</a:t>
            </a:r>
          </a:p>
        </p:txBody>
      </p:sp>
      <p:sp>
        <p:nvSpPr>
          <p:cNvPr id="6" name="Footer Placeholder 5"/>
          <p:cNvSpPr>
            <a:spLocks noGrp="1"/>
          </p:cNvSpPr>
          <p:nvPr>
            <p:ph type="ftr" sz="quarter" idx="11"/>
          </p:nvPr>
        </p:nvSpPr>
        <p:spPr/>
        <p:txBody>
          <a:bodyPr lIns="0" tIns="0" rIns="0" bIns="0"/>
          <a:lstStyle>
            <a:lvl1pPr rtl="0">
              <a:defRPr/>
            </a:lvl1pPr>
          </a:lstStyle>
          <a:p>
            <a:endParaRPr lang="en-GB"/>
          </a:p>
        </p:txBody>
      </p:sp>
      <p:sp>
        <p:nvSpPr>
          <p:cNvPr id="7" name="Slide Number Placeholder 6"/>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
        <p:nvSpPr>
          <p:cNvPr id="11" name="Picture Placeholder 4"/>
          <p:cNvSpPr>
            <a:spLocks noGrp="1"/>
          </p:cNvSpPr>
          <p:nvPr>
            <p:ph type="pic" sz="quarter" idx="10" hasCustomPrompt="1"/>
          </p:nvPr>
        </p:nvSpPr>
        <p:spPr>
          <a:xfrm>
            <a:off x="6186489" y="178594"/>
            <a:ext cx="5824536" cy="5757863"/>
          </a:xfrm>
        </p:spPr>
        <p:txBody>
          <a:bodyPr lIns="0" tIns="0" rIns="0" bIns="0"/>
          <a:lstStyle>
            <a:lvl1pPr rtl="0">
              <a:defRPr/>
            </a:lvl1pPr>
          </a:lstStyle>
          <a:p>
            <a:r>
              <a:rPr lang="en-GB" noProof="0"/>
              <a:t>Click to select placeholder - insert picture from the </a:t>
            </a:r>
            <a:r>
              <a:rPr lang="en-GB" noProof="0" err="1"/>
              <a:t>Templafy</a:t>
            </a:r>
            <a:r>
              <a:rPr lang="en-GB" noProof="0"/>
              <a:t> library</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Legal Disclaimer">
    <p:spTree>
      <p:nvGrpSpPr>
        <p:cNvPr id="1" name=""/>
        <p:cNvGrpSpPr/>
        <p:nvPr/>
      </p:nvGrpSpPr>
      <p:grpSpPr>
        <a:xfrm>
          <a:off x="0" y="0"/>
          <a:ext cx="0" cy="0"/>
          <a:chOff x="0" y="0"/>
          <a:chExt cx="0" cy="0"/>
        </a:xfrm>
      </p:grpSpPr>
      <p:pic>
        <p:nvPicPr>
          <p:cNvPr id="5" name="Picture 4" descr="A black background with a black square&#10;&#10;Description automatically generated with medium confidenc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04347" y="2062881"/>
            <a:ext cx="3583307" cy="306052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bullet points">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err="1"/>
              <a:t>Click</a:t>
            </a:r>
            <a:r>
              <a:rPr lang="fi-FI"/>
              <a:t> to </a:t>
            </a:r>
            <a:r>
              <a:rPr lang="fi-FI" err="1"/>
              <a:t>edit</a:t>
            </a:r>
            <a:r>
              <a:rPr lang="fi-FI"/>
              <a:t> </a:t>
            </a:r>
            <a:r>
              <a:rPr lang="fi-FI" err="1"/>
              <a:t>the</a:t>
            </a:r>
            <a:r>
              <a:rPr lang="fi-FI"/>
              <a:t> </a:t>
            </a:r>
            <a:r>
              <a:rPr lang="fi-FI" err="1"/>
              <a:t>basic</a:t>
            </a:r>
            <a:r>
              <a:rPr lang="fi-FI"/>
              <a:t> </a:t>
            </a:r>
            <a:r>
              <a:rPr lang="fi-FI" err="1"/>
              <a:t>title</a:t>
            </a:r>
            <a:r>
              <a:rPr lang="fi-FI"/>
              <a:t> </a:t>
            </a:r>
            <a:r>
              <a:rPr lang="fi-FI" err="1"/>
              <a:t>style</a:t>
            </a:r>
            <a:endParaRPr lang="fi-FI"/>
          </a:p>
        </p:txBody>
      </p:sp>
      <p:sp>
        <p:nvSpPr>
          <p:cNvPr id="3" name="Sisällön paikkamerkki 2"/>
          <p:cNvSpPr>
            <a:spLocks noGrp="1"/>
          </p:cNvSpPr>
          <p:nvPr>
            <p:ph idx="1" hasCustomPrompt="1"/>
          </p:nvPr>
        </p:nvSpPr>
        <p:spPr/>
        <p:txBody>
          <a:bodyPr/>
          <a:lstStyle>
            <a:lvl1pPr>
              <a:defRPr/>
            </a:lvl1pPr>
          </a:lstStyle>
          <a:p>
            <a:r>
              <a:rPr lang="fi-FI" err="1"/>
              <a:t>Edit</a:t>
            </a:r>
            <a:r>
              <a:rPr lang="fi-FI"/>
              <a:t> </a:t>
            </a:r>
            <a:r>
              <a:rPr lang="fi-FI" err="1"/>
              <a:t>basic</a:t>
            </a:r>
            <a:r>
              <a:rPr lang="fi-FI"/>
              <a:t> </a:t>
            </a:r>
            <a:r>
              <a:rPr lang="fi-FI" err="1"/>
              <a:t>text</a:t>
            </a:r>
            <a:r>
              <a:rPr lang="fi-FI"/>
              <a:t> </a:t>
            </a:r>
            <a:r>
              <a:rPr lang="fi-FI" err="1"/>
              <a:t>styles</a:t>
            </a:r>
            <a:r>
              <a:rPr lang="fi-FI"/>
              <a:t> 
</a:t>
            </a:r>
            <a:r>
              <a:rPr lang="fi-FI" err="1"/>
              <a:t>second</a:t>
            </a:r>
            <a:r>
              <a:rPr lang="fi-FI"/>
              <a:t> </a:t>
            </a:r>
            <a:r>
              <a:rPr lang="fi-FI" err="1"/>
              <a:t>level</a:t>
            </a:r>
            <a:r>
              <a:rPr lang="fi-FI"/>
              <a:t> 
</a:t>
            </a:r>
            <a:r>
              <a:rPr lang="fi-FI" err="1"/>
              <a:t>third</a:t>
            </a:r>
            <a:r>
              <a:rPr lang="fi-FI"/>
              <a:t> </a:t>
            </a:r>
            <a:r>
              <a:rPr lang="fi-FI" err="1"/>
              <a:t>level</a:t>
            </a:r>
            <a:r>
              <a:rPr lang="fi-FI"/>
              <a:t> 
</a:t>
            </a:r>
            <a:r>
              <a:rPr lang="fi-FI" err="1"/>
              <a:t>fourth</a:t>
            </a:r>
            <a:r>
              <a:rPr lang="fi-FI"/>
              <a:t> </a:t>
            </a:r>
            <a:r>
              <a:rPr lang="fi-FI" err="1"/>
              <a:t>level</a:t>
            </a:r>
            <a:r>
              <a:rPr lang="fi-FI"/>
              <a:t> 
</a:t>
            </a:r>
            <a:r>
              <a:rPr lang="fi-FI" err="1"/>
              <a:t>fifth</a:t>
            </a:r>
            <a:r>
              <a:rPr lang="fi-FI"/>
              <a:t> </a:t>
            </a:r>
            <a:r>
              <a:rPr lang="fi-FI" err="1"/>
              <a:t>level</a:t>
            </a:r>
            <a:endParaRPr lang="fi-FI"/>
          </a:p>
        </p:txBody>
      </p:sp>
      <p:sp>
        <p:nvSpPr>
          <p:cNvPr id="4" name="Päivämäärän paikkamerkki 3"/>
          <p:cNvSpPr>
            <a:spLocks noGrp="1"/>
          </p:cNvSpPr>
          <p:nvPr>
            <p:ph type="dt" sz="half" idx="10"/>
          </p:nvPr>
        </p:nvSpPr>
        <p:spPr>
          <a:xfrm>
            <a:off x="838200" y="6149318"/>
            <a:ext cx="2743200" cy="365125"/>
          </a:xfrm>
        </p:spPr>
        <p:txBody>
          <a:bodyPr/>
          <a:lstStyle/>
          <a:p>
            <a:fld id="{9F86B2F8-024F-4B4C-BD80-6AFB5DBA652B}" type="datetime1">
              <a:rPr lang="fi-FI" smtClean="0"/>
              <a:t>6.6.2024</a:t>
            </a:fld>
            <a:endParaRPr lang="fi-FI"/>
          </a:p>
        </p:txBody>
      </p:sp>
      <p:sp>
        <p:nvSpPr>
          <p:cNvPr id="6" name="Dian numeron paikkamerkki 5"/>
          <p:cNvSpPr>
            <a:spLocks noGrp="1"/>
          </p:cNvSpPr>
          <p:nvPr>
            <p:ph type="sldNum" sz="quarter" idx="12"/>
          </p:nvPr>
        </p:nvSpPr>
        <p:spPr/>
        <p:txBody>
          <a:bodyPr/>
          <a:lstStyle/>
          <a:p>
            <a:fld id="{F5AAB98B-01E4-9D4C-989E-54555E2E2D35}" type="slidenum">
              <a:rPr lang="fi-FI" smtClean="0"/>
              <a:t>‹#›</a:t>
            </a:fld>
            <a:endParaRPr lang="fi-FI"/>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143CC460-514D-E209-CE53-3AD3A164CC3B}"/>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7FFD3370-9570-B714-754D-4C53BF95D0D1}"/>
              </a:ext>
            </a:extLst>
          </p:cNvPr>
          <p:cNvSpPr txBox="1">
            <a:spLocks noGrp="1"/>
          </p:cNvSpPr>
          <p:nvPr>
            <p:ph type="sldNum" sz="quarter" idx="8"/>
          </p:nvPr>
        </p:nvSpPr>
        <p:spPr/>
        <p:txBody>
          <a:bodyPr/>
          <a:lstStyle>
            <a:lvl1pPr>
              <a:defRPr/>
            </a:lvl1pPr>
          </a:lstStyle>
          <a:p>
            <a:pPr lvl="0"/>
            <a:fld id="{876A5EEF-05E4-4862-BE32-ED982D4E078C}" type="slidenum">
              <a:t>‹#›</a:t>
            </a:fld>
            <a:endParaRPr lang="en-GB"/>
          </a:p>
        </p:txBody>
      </p:sp>
      <p:sp>
        <p:nvSpPr>
          <p:cNvPr id="4" name="Text Placeholder 10">
            <a:extLst>
              <a:ext uri="{FF2B5EF4-FFF2-40B4-BE49-F238E27FC236}">
                <a16:creationId xmlns:a16="http://schemas.microsoft.com/office/drawing/2014/main" id="{01BA2BBE-D79D-CB27-AF54-4D8A7CD8BA64}"/>
              </a:ext>
            </a:extLst>
          </p:cNvPr>
          <p:cNvSpPr txBox="1">
            <a:spLocks noGrp="1"/>
          </p:cNvSpPr>
          <p:nvPr>
            <p:ph type="body" idx="4294967295"/>
          </p:nvPr>
        </p:nvSpPr>
        <p:spPr>
          <a:xfrm>
            <a:off x="642795" y="5938835"/>
            <a:ext cx="9463189" cy="359670"/>
          </a:xfrm>
        </p:spPr>
        <p:txBody>
          <a:bodyPr anchor="ctr"/>
          <a:lstStyle>
            <a:lvl1pPr marL="0" indent="0">
              <a:buNone/>
              <a:defRPr>
                <a:solidFill>
                  <a:srgbClr val="7F7F7F"/>
                </a:solidFill>
              </a:defRPr>
            </a:lvl1pPr>
          </a:lstStyle>
          <a:p>
            <a:pPr lvl="0"/>
            <a:r>
              <a:rPr lang="en-GB"/>
              <a:t>Source </a:t>
            </a:r>
          </a:p>
        </p:txBody>
      </p:sp>
    </p:spTree>
    <p:extLst>
      <p:ext uri="{BB962C8B-B14F-4D97-AF65-F5344CB8AC3E}">
        <p14:creationId xmlns:p14="http://schemas.microsoft.com/office/powerpoint/2010/main" val="3850228899"/>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D6D5043C-A330-F6B9-B295-E7B894E28472}"/>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 imgW="9832" imgH="9832" progId="">
                  <p:embed/>
                </p:oleObj>
              </mc:Choice>
              <mc:Fallback>
                <p:oleObj r:id="rId2" imgW="9832" imgH="9832" progId="">
                  <p:embed/>
                  <p:pic>
                    <p:nvPicPr>
                      <p:cNvPr id="2" name="Object 7" hidden="1">
                        <a:extLst>
                          <a:ext uri="{FF2B5EF4-FFF2-40B4-BE49-F238E27FC236}">
                            <a16:creationId xmlns:a16="http://schemas.microsoft.com/office/drawing/2014/main" id="{D6D5043C-A330-F6B9-B295-E7B894E28472}"/>
                          </a:ext>
                        </a:extLst>
                      </p:cNvPr>
                      <p:cNvPicPr/>
                      <p:nvPr/>
                    </p:nvPicPr>
                    <p:blipFill>
                      <a:blip r:embed="rId3"/>
                      <a:stretch>
                        <a:fillRect/>
                      </a:stretch>
                    </p:blipFill>
                    <p:spPr>
                      <a:xfrm>
                        <a:off x="1591" y="1591"/>
                        <a:ext cx="1591" cy="1591"/>
                      </a:xfrm>
                      <a:prstGeom prst="rect">
                        <a:avLst/>
                      </a:prstGeom>
                    </p:spPr>
                  </p:pic>
                </p:oleObj>
              </mc:Fallback>
            </mc:AlternateContent>
          </a:graphicData>
        </a:graphic>
      </p:graphicFrame>
      <p:sp>
        <p:nvSpPr>
          <p:cNvPr id="3" name="Rectangle 6" hidden="1">
            <a:extLst>
              <a:ext uri="{FF2B5EF4-FFF2-40B4-BE49-F238E27FC236}">
                <a16:creationId xmlns:a16="http://schemas.microsoft.com/office/drawing/2014/main" id="{0A3F9422-3BBF-FF28-4C1C-41E2B4B6EA14}"/>
              </a:ext>
            </a:extLst>
          </p:cNvPr>
          <p:cNvSpPr/>
          <p:nvPr/>
        </p:nvSpPr>
        <p:spPr>
          <a:xfrm>
            <a:off x="0" y="0"/>
            <a:ext cx="158748" cy="158748"/>
          </a:xfrm>
          <a:prstGeom prst="rect">
            <a:avLst/>
          </a:prstGeom>
          <a:solidFill>
            <a:srgbClr val="00B0F0"/>
          </a:solidFill>
          <a:ln w="12701" cap="flat">
            <a:solidFill>
              <a:srgbClr val="0080B0"/>
            </a:solidFill>
            <a:prstDash val="solid"/>
            <a:miter/>
          </a:ln>
        </p:spPr>
        <p:txBody>
          <a:bodyPr vert="horz" wrap="none" lIns="0" tIns="0" rIns="0" bIns="0"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GB" sz="6000" b="0" i="0" u="none" strike="noStrike" kern="1200" cap="none" spc="0" baseline="0">
              <a:solidFill>
                <a:srgbClr val="FFFFFF"/>
              </a:solidFill>
              <a:uFillTx/>
              <a:latin typeface="Museo Sans 100"/>
            </a:endParaRPr>
          </a:p>
        </p:txBody>
      </p:sp>
      <p:sp>
        <p:nvSpPr>
          <p:cNvPr id="4" name="Subtitle 2">
            <a:extLst>
              <a:ext uri="{FF2B5EF4-FFF2-40B4-BE49-F238E27FC236}">
                <a16:creationId xmlns:a16="http://schemas.microsoft.com/office/drawing/2014/main" id="{1E17F0BC-7324-208F-75C9-F4A869282FD6}"/>
              </a:ext>
            </a:extLst>
          </p:cNvPr>
          <p:cNvSpPr txBox="1">
            <a:spLocks noGrp="1"/>
          </p:cNvSpPr>
          <p:nvPr>
            <p:ph type="subTitle" idx="4294967295"/>
          </p:nvPr>
        </p:nvSpPr>
        <p:spPr>
          <a:xfrm>
            <a:off x="454749" y="1069976"/>
            <a:ext cx="6741075" cy="349245"/>
          </a:xfrm>
        </p:spPr>
        <p:txBody>
          <a:bodyPr>
            <a:noAutofit/>
          </a:bodyPr>
          <a:lstStyle>
            <a:lvl1pPr marL="0" indent="0">
              <a:buNone/>
              <a:defRPr sz="2000"/>
            </a:lvl1pPr>
          </a:lstStyle>
          <a:p>
            <a:pPr lvl="0"/>
            <a:endParaRPr lang="en-GB"/>
          </a:p>
        </p:txBody>
      </p:sp>
      <p:sp>
        <p:nvSpPr>
          <p:cNvPr id="5" name="Title 1">
            <a:extLst>
              <a:ext uri="{FF2B5EF4-FFF2-40B4-BE49-F238E27FC236}">
                <a16:creationId xmlns:a16="http://schemas.microsoft.com/office/drawing/2014/main" id="{DE121810-ECC4-C187-7086-C00FA9BBCE37}"/>
              </a:ext>
            </a:extLst>
          </p:cNvPr>
          <p:cNvSpPr txBox="1">
            <a:spLocks noGrp="1"/>
          </p:cNvSpPr>
          <p:nvPr>
            <p:ph type="title"/>
          </p:nvPr>
        </p:nvSpPr>
        <p:spPr>
          <a:xfrm>
            <a:off x="454749" y="1691466"/>
            <a:ext cx="6741075" cy="2387598"/>
          </a:xfrm>
        </p:spPr>
        <p:txBody>
          <a:bodyPr/>
          <a:lstStyle>
            <a:lvl1pPr>
              <a:defRPr/>
            </a:lvl1pPr>
          </a:lstStyle>
          <a:p>
            <a:pPr lvl="0"/>
            <a:endParaRPr lang="en-GB"/>
          </a:p>
        </p:txBody>
      </p:sp>
      <p:pic>
        <p:nvPicPr>
          <p:cNvPr id="6" name="Picture 2" descr="Home - The Circular Bioeconomy Alliance">
            <a:extLst>
              <a:ext uri="{FF2B5EF4-FFF2-40B4-BE49-F238E27FC236}">
                <a16:creationId xmlns:a16="http://schemas.microsoft.com/office/drawing/2014/main" id="{CDF7B4B7-A0D4-5082-4DA1-2371724D2009}"/>
              </a:ext>
            </a:extLst>
          </p:cNvPr>
          <p:cNvPicPr>
            <a:picLocks noChangeAspect="1"/>
          </p:cNvPicPr>
          <p:nvPr/>
        </p:nvPicPr>
        <p:blipFill>
          <a:blip r:embed="rId4"/>
          <a:srcRect/>
          <a:stretch>
            <a:fillRect/>
          </a:stretch>
        </p:blipFill>
        <p:spPr>
          <a:xfrm>
            <a:off x="454749" y="6010214"/>
            <a:ext cx="1209678" cy="635078"/>
          </a:xfrm>
          <a:prstGeom prst="rect">
            <a:avLst/>
          </a:prstGeom>
          <a:noFill/>
          <a:ln>
            <a:noFill/>
          </a:ln>
        </p:spPr>
      </p:pic>
    </p:spTree>
    <p:extLst>
      <p:ext uri="{BB962C8B-B14F-4D97-AF65-F5344CB8AC3E}">
        <p14:creationId xmlns:p14="http://schemas.microsoft.com/office/powerpoint/2010/main" val="334129953"/>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Pictur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6E5185F6-2E7C-44DF-8116-D9108A94D16A}"/>
              </a:ext>
            </a:extLst>
          </p:cNvPr>
          <p:cNvSpPr txBox="1">
            <a:spLocks noGrp="1"/>
          </p:cNvSpPr>
          <p:nvPr>
            <p:ph type="pic" idx="4294967295"/>
          </p:nvPr>
        </p:nvSpPr>
        <p:spPr>
          <a:xfrm>
            <a:off x="0" y="0"/>
            <a:ext cx="12191996" cy="6858000"/>
          </a:xfrm>
        </p:spPr>
        <p:txBody>
          <a:bodyPr tIns="1799996" anchor="ctr" anchorCtr="1"/>
          <a:lstStyle>
            <a:lvl1pPr marL="0" indent="0" algn="ctr">
              <a:buNone/>
              <a:defRPr/>
            </a:lvl1pPr>
          </a:lstStyle>
          <a:p>
            <a:pPr lvl="0"/>
            <a:r>
              <a:rPr lang="en-GB"/>
              <a:t>CLICK TO SELECT PLACEHOLDER - INSERT PICTURE FROM THE TEMPLAFY LIBRARY</a:t>
            </a:r>
          </a:p>
        </p:txBody>
      </p:sp>
      <p:graphicFrame>
        <p:nvGraphicFramePr>
          <p:cNvPr id="3" name="Object 7" hidden="1">
            <a:extLst>
              <a:ext uri="{FF2B5EF4-FFF2-40B4-BE49-F238E27FC236}">
                <a16:creationId xmlns:a16="http://schemas.microsoft.com/office/drawing/2014/main" id="{7DA4442D-CE5F-66F3-99F3-DE93C5CA814C}"/>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 imgW="9832" imgH="9832" progId="">
                  <p:embed/>
                </p:oleObj>
              </mc:Choice>
              <mc:Fallback>
                <p:oleObj r:id="rId2" imgW="9832" imgH="9832" progId="">
                  <p:embed/>
                  <p:pic>
                    <p:nvPicPr>
                      <p:cNvPr id="3" name="Object 7" hidden="1">
                        <a:extLst>
                          <a:ext uri="{FF2B5EF4-FFF2-40B4-BE49-F238E27FC236}">
                            <a16:creationId xmlns:a16="http://schemas.microsoft.com/office/drawing/2014/main" id="{7DA4442D-CE5F-66F3-99F3-DE93C5CA814C}"/>
                          </a:ext>
                        </a:extLst>
                      </p:cNvPr>
                      <p:cNvPicPr/>
                      <p:nvPr/>
                    </p:nvPicPr>
                    <p:blipFill>
                      <a:blip r:embed="rId3"/>
                      <a:stretch>
                        <a:fillRect/>
                      </a:stretch>
                    </p:blipFill>
                    <p:spPr>
                      <a:xfrm>
                        <a:off x="1591" y="1591"/>
                        <a:ext cx="1591" cy="1591"/>
                      </a:xfrm>
                      <a:prstGeom prst="rect">
                        <a:avLst/>
                      </a:prstGeom>
                    </p:spPr>
                  </p:pic>
                </p:oleObj>
              </mc:Fallback>
            </mc:AlternateContent>
          </a:graphicData>
        </a:graphic>
      </p:graphicFrame>
      <p:sp>
        <p:nvSpPr>
          <p:cNvPr id="4" name="Rectangle 6" hidden="1">
            <a:extLst>
              <a:ext uri="{FF2B5EF4-FFF2-40B4-BE49-F238E27FC236}">
                <a16:creationId xmlns:a16="http://schemas.microsoft.com/office/drawing/2014/main" id="{4AE15D37-FABD-1747-B9FF-9AB917341208}"/>
              </a:ext>
            </a:extLst>
          </p:cNvPr>
          <p:cNvSpPr/>
          <p:nvPr/>
        </p:nvSpPr>
        <p:spPr>
          <a:xfrm>
            <a:off x="0" y="0"/>
            <a:ext cx="158748" cy="158748"/>
          </a:xfrm>
          <a:prstGeom prst="rect">
            <a:avLst/>
          </a:prstGeom>
          <a:solidFill>
            <a:srgbClr val="00B0F0"/>
          </a:solidFill>
          <a:ln w="12701" cap="flat">
            <a:solidFill>
              <a:srgbClr val="0080B0"/>
            </a:solidFill>
            <a:prstDash val="solid"/>
            <a:miter/>
          </a:ln>
        </p:spPr>
        <p:txBody>
          <a:bodyPr vert="horz" wrap="none" lIns="0" tIns="0" rIns="0" bIns="0"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GB" sz="6000" b="0" i="0" u="none" strike="noStrike" kern="1200" cap="none" spc="0" baseline="0">
              <a:solidFill>
                <a:srgbClr val="FFFFFF"/>
              </a:solidFill>
              <a:uFillTx/>
              <a:latin typeface="Bebas Kai" pitchFamily="82"/>
            </a:endParaRPr>
          </a:p>
        </p:txBody>
      </p:sp>
      <p:sp>
        <p:nvSpPr>
          <p:cNvPr id="5" name="Title 1">
            <a:extLst>
              <a:ext uri="{FF2B5EF4-FFF2-40B4-BE49-F238E27FC236}">
                <a16:creationId xmlns:a16="http://schemas.microsoft.com/office/drawing/2014/main" id="{3C28AF5A-A16A-B845-1BCE-592D46E58C4E}"/>
              </a:ext>
            </a:extLst>
          </p:cNvPr>
          <p:cNvSpPr txBox="1">
            <a:spLocks noGrp="1"/>
          </p:cNvSpPr>
          <p:nvPr>
            <p:ph type="title"/>
          </p:nvPr>
        </p:nvSpPr>
        <p:spPr>
          <a:xfrm>
            <a:off x="885669" y="1689097"/>
            <a:ext cx="6741075" cy="2390771"/>
          </a:xfrm>
        </p:spPr>
        <p:txBody>
          <a:bodyPr anchor="t"/>
          <a:lstStyle>
            <a:lvl1pPr>
              <a:defRPr sz="6000">
                <a:solidFill>
                  <a:srgbClr val="FFFFFF"/>
                </a:solidFill>
              </a:defRPr>
            </a:lvl1pPr>
          </a:lstStyle>
          <a:p>
            <a:pPr lvl="0"/>
            <a:r>
              <a:rPr lang="en-GB"/>
              <a:t>CLICK TO EDIT MASTER TITLE STYLE</a:t>
            </a:r>
          </a:p>
        </p:txBody>
      </p:sp>
      <p:sp>
        <p:nvSpPr>
          <p:cNvPr id="6" name="Subtitle 2">
            <a:extLst>
              <a:ext uri="{FF2B5EF4-FFF2-40B4-BE49-F238E27FC236}">
                <a16:creationId xmlns:a16="http://schemas.microsoft.com/office/drawing/2014/main" id="{A8456E7A-CE9B-2D89-A70B-6E2C0EF7A1C3}"/>
              </a:ext>
            </a:extLst>
          </p:cNvPr>
          <p:cNvSpPr txBox="1">
            <a:spLocks noGrp="1"/>
          </p:cNvSpPr>
          <p:nvPr>
            <p:ph type="subTitle" idx="4294967295"/>
          </p:nvPr>
        </p:nvSpPr>
        <p:spPr>
          <a:xfrm>
            <a:off x="885669" y="1069976"/>
            <a:ext cx="6741075" cy="349245"/>
          </a:xfrm>
        </p:spPr>
        <p:txBody>
          <a:bodyPr>
            <a:noAutofit/>
          </a:bodyPr>
          <a:lstStyle>
            <a:lvl1pPr marL="0" indent="0">
              <a:buNone/>
              <a:defRPr sz="2000">
                <a:solidFill>
                  <a:srgbClr val="FFFFFF"/>
                </a:solidFill>
              </a:defRPr>
            </a:lvl1pPr>
          </a:lstStyle>
          <a:p>
            <a:pPr lvl="0"/>
            <a:r>
              <a:rPr lang="en-GB"/>
              <a:t>CLICK TO EDIT MASTER SUBTITLE STYLE</a:t>
            </a:r>
          </a:p>
        </p:txBody>
      </p:sp>
    </p:spTree>
    <p:extLst>
      <p:ext uri="{BB962C8B-B14F-4D97-AF65-F5344CB8AC3E}">
        <p14:creationId xmlns:p14="http://schemas.microsoft.com/office/powerpoint/2010/main" val="10910874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6000" b="0" i="0" baseline="0">
              <a:latin typeface="Museo Sans 100" panose="02000000000000000000"/>
              <a:ea typeface="+mj-ea"/>
              <a:cs typeface="+mj-cs"/>
              <a:sym typeface="Museo Sans 100" panose="02000000000000000000"/>
            </a:endParaRPr>
          </a:p>
        </p:txBody>
      </p:sp>
      <p:sp>
        <p:nvSpPr>
          <p:cNvPr id="3" name="Subtitle 2"/>
          <p:cNvSpPr>
            <a:spLocks noGrp="1"/>
          </p:cNvSpPr>
          <p:nvPr>
            <p:ph type="subTitle" idx="1"/>
          </p:nvPr>
        </p:nvSpPr>
        <p:spPr>
          <a:xfrm>
            <a:off x="454747" y="1069975"/>
            <a:ext cx="6741080" cy="349250"/>
          </a:xfrm>
        </p:spPr>
        <p:txBody>
          <a:bodyPr lIns="0" tIns="0" rIns="0" bIns="0">
            <a:no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Title 1"/>
          <p:cNvSpPr>
            <a:spLocks noGrp="1"/>
          </p:cNvSpPr>
          <p:nvPr>
            <p:ph type="ctrTitle" idx="4294967295"/>
          </p:nvPr>
        </p:nvSpPr>
        <p:spPr>
          <a:xfrm>
            <a:off x="454746" y="1691464"/>
            <a:ext cx="6741079" cy="2387600"/>
          </a:xfrm>
        </p:spPr>
        <p:txBody>
          <a:bodyPr/>
          <a:lstStyle>
            <a:lvl1pPr rtl="0">
              <a:defRPr>
                <a:solidFill>
                  <a:schemeClr val="bg1"/>
                </a:solidFill>
              </a:defRPr>
            </a:lvl1pPr>
          </a:lstStyle>
          <a:p>
            <a:endParaRPr lang="en-GB"/>
          </a:p>
        </p:txBody>
      </p:sp>
      <p:pic>
        <p:nvPicPr>
          <p:cNvPr id="4" name="Picture 2" descr="Home - The Circular Bioeconomy Alliance"/>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4746" y="6010216"/>
            <a:ext cx="1209675" cy="635079"/>
          </a:xfrm>
          <a:prstGeom prst="rect">
            <a:avLst/>
          </a:prstGeom>
          <a:noFill/>
          <a:extLst>
            <a:ext uri="{909E8E84-426E-40DD-AFC4-6F175D3DCCD1}">
              <a14:hiddenFill xmlns:a14="http://schemas.microsoft.com/office/drawing/2010/main">
                <a:solidFill>
                  <a:srgbClr val="FFFFFF"/>
                </a:solidFill>
              </a14:hiddenFill>
            </a:ext>
          </a:extLst>
        </p:spPr>
      </p:pic>
    </p:spTree>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700514D2-3891-C437-0052-2B279A421415}"/>
              </a:ext>
            </a:extLst>
          </p:cNvPr>
          <p:cNvSpPr txBox="1">
            <a:spLocks noGrp="1"/>
          </p:cNvSpPr>
          <p:nvPr>
            <p:ph type="subTitle" idx="1"/>
          </p:nvPr>
        </p:nvSpPr>
        <p:spPr>
          <a:xfrm>
            <a:off x="885669" y="1069976"/>
            <a:ext cx="6741075" cy="349245"/>
          </a:xfrm>
        </p:spPr>
        <p:txBody>
          <a:bodyPr>
            <a:noAutofit/>
          </a:bodyPr>
          <a:lstStyle>
            <a:lvl1pPr marL="0" indent="0">
              <a:buNone/>
              <a:defRPr sz="2000">
                <a:solidFill>
                  <a:srgbClr val="585854"/>
                </a:solidFill>
              </a:defRPr>
            </a:lvl1pPr>
          </a:lstStyle>
          <a:p>
            <a:pPr lvl="0"/>
            <a:r>
              <a:rPr lang="en-GB"/>
              <a:t>CLICK TO EDIT MASTER SUBTITLE STYLE</a:t>
            </a:r>
          </a:p>
        </p:txBody>
      </p:sp>
      <p:sp>
        <p:nvSpPr>
          <p:cNvPr id="3" name="Footer Placeholder 4">
            <a:extLst>
              <a:ext uri="{FF2B5EF4-FFF2-40B4-BE49-F238E27FC236}">
                <a16:creationId xmlns:a16="http://schemas.microsoft.com/office/drawing/2014/main" id="{0BBC8B0F-3488-6BE3-0482-A372383B3E05}"/>
              </a:ext>
            </a:extLst>
          </p:cNvPr>
          <p:cNvSpPr txBox="1">
            <a:spLocks noGrp="1"/>
          </p:cNvSpPr>
          <p:nvPr>
            <p:ph type="ftr" sz="quarter" idx="9"/>
          </p:nvPr>
        </p:nvSpPr>
        <p:spPr/>
        <p:txBody>
          <a:bodyPr/>
          <a:lstStyle>
            <a:lvl1pPr>
              <a:defRPr/>
            </a:lvl1pPr>
          </a:lstStyle>
          <a:p>
            <a:pPr lvl="0"/>
            <a:endParaRPr lang="en-GB"/>
          </a:p>
        </p:txBody>
      </p:sp>
      <p:sp>
        <p:nvSpPr>
          <p:cNvPr id="4" name="Slide Number Placeholder 5">
            <a:extLst>
              <a:ext uri="{FF2B5EF4-FFF2-40B4-BE49-F238E27FC236}">
                <a16:creationId xmlns:a16="http://schemas.microsoft.com/office/drawing/2014/main" id="{5FB1C694-08BA-E2C6-9ECE-0E0074FA0607}"/>
              </a:ext>
            </a:extLst>
          </p:cNvPr>
          <p:cNvSpPr txBox="1">
            <a:spLocks noGrp="1"/>
          </p:cNvSpPr>
          <p:nvPr>
            <p:ph type="sldNum" sz="quarter" idx="8"/>
          </p:nvPr>
        </p:nvSpPr>
        <p:spPr/>
        <p:txBody>
          <a:bodyPr/>
          <a:lstStyle>
            <a:lvl1pPr>
              <a:defRPr/>
            </a:lvl1pPr>
          </a:lstStyle>
          <a:p>
            <a:pPr lvl="0"/>
            <a:fld id="{0A17EDA6-00AC-4D95-B56B-0A2320F0B5A1}" type="slidenum">
              <a:t>‹#›</a:t>
            </a:fld>
            <a:endParaRPr lang="en-GB"/>
          </a:p>
        </p:txBody>
      </p:sp>
    </p:spTree>
    <p:extLst>
      <p:ext uri="{BB962C8B-B14F-4D97-AF65-F5344CB8AC3E}">
        <p14:creationId xmlns:p14="http://schemas.microsoft.com/office/powerpoint/2010/main" val="3426305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022D88C8-FF56-9AEB-2EC6-15DC84FF3298}"/>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43371A67-77DD-76BF-31E4-C50C218D0840}"/>
              </a:ext>
            </a:extLst>
          </p:cNvPr>
          <p:cNvSpPr txBox="1">
            <a:spLocks noGrp="1"/>
          </p:cNvSpPr>
          <p:nvPr>
            <p:ph type="sldNum" sz="quarter" idx="8"/>
          </p:nvPr>
        </p:nvSpPr>
        <p:spPr/>
        <p:txBody>
          <a:bodyPr/>
          <a:lstStyle>
            <a:lvl1pPr>
              <a:defRPr/>
            </a:lvl1pPr>
          </a:lstStyle>
          <a:p>
            <a:pPr lvl="0"/>
            <a:fld id="{625F8F29-1D46-42C7-A81D-A9DB806EA45F}" type="slidenum">
              <a:t>‹#›</a:t>
            </a:fld>
            <a:endParaRPr lang="en-GB"/>
          </a:p>
        </p:txBody>
      </p:sp>
      <p:sp>
        <p:nvSpPr>
          <p:cNvPr id="4" name="Title 1">
            <a:extLst>
              <a:ext uri="{FF2B5EF4-FFF2-40B4-BE49-F238E27FC236}">
                <a16:creationId xmlns:a16="http://schemas.microsoft.com/office/drawing/2014/main" id="{9E670A73-6C80-F524-BDAE-6D78208194CE}"/>
              </a:ext>
            </a:extLst>
          </p:cNvPr>
          <p:cNvSpPr txBox="1">
            <a:spLocks noGrp="1"/>
          </p:cNvSpPr>
          <p:nvPr>
            <p:ph type="title"/>
          </p:nvPr>
        </p:nvSpPr>
        <p:spPr>
          <a:xfrm>
            <a:off x="885669" y="1689097"/>
            <a:ext cx="6741075" cy="2389967"/>
          </a:xfrm>
        </p:spPr>
        <p:txBody>
          <a:bodyPr anchor="t"/>
          <a:lstStyle>
            <a:lvl1pPr>
              <a:defRPr sz="6000">
                <a:solidFill>
                  <a:srgbClr val="FFFFFF"/>
                </a:solidFill>
              </a:defRPr>
            </a:lvl1pPr>
          </a:lstStyle>
          <a:p>
            <a:pPr lvl="0"/>
            <a:r>
              <a:rPr lang="en-GB"/>
              <a:t>CLICK TO EDIT MASTER TITLE STYLE</a:t>
            </a:r>
          </a:p>
        </p:txBody>
      </p:sp>
    </p:spTree>
    <p:extLst>
      <p:ext uri="{BB962C8B-B14F-4D97-AF65-F5344CB8AC3E}">
        <p14:creationId xmlns:p14="http://schemas.microsoft.com/office/powerpoint/2010/main" val="435768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09116B2D-8180-FB6B-937D-380D6CE151C9}"/>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B01DEEE1-6357-F419-C15E-BA6676FA117E}"/>
              </a:ext>
            </a:extLst>
          </p:cNvPr>
          <p:cNvSpPr txBox="1">
            <a:spLocks noGrp="1"/>
          </p:cNvSpPr>
          <p:nvPr>
            <p:ph type="sldNum" sz="quarter" idx="8"/>
          </p:nvPr>
        </p:nvSpPr>
        <p:spPr/>
        <p:txBody>
          <a:bodyPr/>
          <a:lstStyle>
            <a:lvl1pPr>
              <a:defRPr/>
            </a:lvl1pPr>
          </a:lstStyle>
          <a:p>
            <a:pPr lvl="0"/>
            <a:fld id="{6C421211-3ACD-4461-8AA3-67274E4DEFC6}" type="slidenum">
              <a:t>‹#›</a:t>
            </a:fld>
            <a:endParaRPr lang="en-GB"/>
          </a:p>
        </p:txBody>
      </p:sp>
      <p:sp>
        <p:nvSpPr>
          <p:cNvPr id="4" name="Title 1">
            <a:extLst>
              <a:ext uri="{FF2B5EF4-FFF2-40B4-BE49-F238E27FC236}">
                <a16:creationId xmlns:a16="http://schemas.microsoft.com/office/drawing/2014/main" id="{29064918-C96D-9AD1-E8C6-CC04F0052D93}"/>
              </a:ext>
            </a:extLst>
          </p:cNvPr>
          <p:cNvSpPr txBox="1">
            <a:spLocks noGrp="1"/>
          </p:cNvSpPr>
          <p:nvPr>
            <p:ph type="title"/>
          </p:nvPr>
        </p:nvSpPr>
        <p:spPr>
          <a:xfrm>
            <a:off x="885669" y="1687516"/>
            <a:ext cx="6741075" cy="2391549"/>
          </a:xfrm>
        </p:spPr>
        <p:txBody>
          <a:bodyPr anchor="t"/>
          <a:lstStyle>
            <a:lvl1pPr>
              <a:defRPr sz="6000">
                <a:solidFill>
                  <a:srgbClr val="FFFFFF"/>
                </a:solidFill>
              </a:defRPr>
            </a:lvl1pPr>
          </a:lstStyle>
          <a:p>
            <a:pPr lvl="0"/>
            <a:r>
              <a:rPr lang="en-GB"/>
              <a:t>CLICK TO EDIT MASTER TITLE STYLE</a:t>
            </a:r>
          </a:p>
        </p:txBody>
      </p:sp>
    </p:spTree>
    <p:extLst>
      <p:ext uri="{BB962C8B-B14F-4D97-AF65-F5344CB8AC3E}">
        <p14:creationId xmlns:p14="http://schemas.microsoft.com/office/powerpoint/2010/main" val="23271645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DBFBFE3C-2847-3B9A-3AE0-247D07D865FF}"/>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D6C8E294-A87A-BC3E-00EB-0ECA37BB4C31}"/>
              </a:ext>
            </a:extLst>
          </p:cNvPr>
          <p:cNvSpPr txBox="1">
            <a:spLocks noGrp="1"/>
          </p:cNvSpPr>
          <p:nvPr>
            <p:ph type="sldNum" sz="quarter" idx="8"/>
          </p:nvPr>
        </p:nvSpPr>
        <p:spPr/>
        <p:txBody>
          <a:bodyPr/>
          <a:lstStyle>
            <a:lvl1pPr>
              <a:defRPr/>
            </a:lvl1pPr>
          </a:lstStyle>
          <a:p>
            <a:pPr lvl="0"/>
            <a:fld id="{718772DF-7997-4B76-9A2C-E66923C91155}" type="slidenum">
              <a:t>‹#›</a:t>
            </a:fld>
            <a:endParaRPr lang="en-GB"/>
          </a:p>
        </p:txBody>
      </p:sp>
      <p:sp>
        <p:nvSpPr>
          <p:cNvPr id="4" name="Title 1">
            <a:extLst>
              <a:ext uri="{FF2B5EF4-FFF2-40B4-BE49-F238E27FC236}">
                <a16:creationId xmlns:a16="http://schemas.microsoft.com/office/drawing/2014/main" id="{FF5F15E2-8DE9-EA63-A010-A5B8BF985EBC}"/>
              </a:ext>
            </a:extLst>
          </p:cNvPr>
          <p:cNvSpPr txBox="1">
            <a:spLocks noGrp="1"/>
          </p:cNvSpPr>
          <p:nvPr>
            <p:ph type="title"/>
          </p:nvPr>
        </p:nvSpPr>
        <p:spPr>
          <a:xfrm>
            <a:off x="885669" y="1689097"/>
            <a:ext cx="6741075" cy="2389967"/>
          </a:xfrm>
        </p:spPr>
        <p:txBody>
          <a:bodyPr anchor="t"/>
          <a:lstStyle>
            <a:lvl1pPr>
              <a:defRPr sz="6000">
                <a:solidFill>
                  <a:srgbClr val="FFFFFF"/>
                </a:solidFill>
              </a:defRPr>
            </a:lvl1pPr>
          </a:lstStyle>
          <a:p>
            <a:pPr lvl="0"/>
            <a:r>
              <a:rPr lang="en-GB"/>
              <a:t>CLICK TO EDIT MASTER TITLE STYLE</a:t>
            </a:r>
          </a:p>
        </p:txBody>
      </p:sp>
    </p:spTree>
    <p:extLst>
      <p:ext uri="{BB962C8B-B14F-4D97-AF65-F5344CB8AC3E}">
        <p14:creationId xmlns:p14="http://schemas.microsoft.com/office/powerpoint/2010/main" val="26556289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Section Header (Green)">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18011423-3BDA-69CD-249E-DD10A3E4C8DB}"/>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D3111F05-5DC2-2652-958D-CFFDA1EDE126}"/>
              </a:ext>
            </a:extLst>
          </p:cNvPr>
          <p:cNvSpPr txBox="1">
            <a:spLocks noGrp="1"/>
          </p:cNvSpPr>
          <p:nvPr>
            <p:ph type="sldNum" sz="quarter" idx="8"/>
          </p:nvPr>
        </p:nvSpPr>
        <p:spPr/>
        <p:txBody>
          <a:bodyPr/>
          <a:lstStyle>
            <a:lvl1pPr>
              <a:defRPr/>
            </a:lvl1pPr>
          </a:lstStyle>
          <a:p>
            <a:pPr lvl="0"/>
            <a:fld id="{5FB85AF6-4151-4506-8240-F2F2FEBE60E2}" type="slidenum">
              <a:t>‹#›</a:t>
            </a:fld>
            <a:endParaRPr lang="en-GB"/>
          </a:p>
        </p:txBody>
      </p:sp>
      <p:sp>
        <p:nvSpPr>
          <p:cNvPr id="4" name="Title 1">
            <a:extLst>
              <a:ext uri="{FF2B5EF4-FFF2-40B4-BE49-F238E27FC236}">
                <a16:creationId xmlns:a16="http://schemas.microsoft.com/office/drawing/2014/main" id="{403734BA-C30A-7398-623A-B87810EB9216}"/>
              </a:ext>
            </a:extLst>
          </p:cNvPr>
          <p:cNvSpPr txBox="1">
            <a:spLocks noGrp="1"/>
          </p:cNvSpPr>
          <p:nvPr>
            <p:ph type="title"/>
          </p:nvPr>
        </p:nvSpPr>
        <p:spPr>
          <a:xfrm>
            <a:off x="885669" y="1689097"/>
            <a:ext cx="6741075" cy="2389967"/>
          </a:xfrm>
        </p:spPr>
        <p:txBody>
          <a:bodyPr anchor="t"/>
          <a:lstStyle>
            <a:lvl1pPr>
              <a:defRPr sz="6000">
                <a:solidFill>
                  <a:srgbClr val="00146D"/>
                </a:solidFill>
              </a:defRPr>
            </a:lvl1pPr>
          </a:lstStyle>
          <a:p>
            <a:pPr lvl="0"/>
            <a:r>
              <a:rPr lang="en-GB"/>
              <a:t>CLICK TO EDIT MASTER TITLE STYLE</a:t>
            </a:r>
          </a:p>
        </p:txBody>
      </p:sp>
    </p:spTree>
    <p:extLst>
      <p:ext uri="{BB962C8B-B14F-4D97-AF65-F5344CB8AC3E}">
        <p14:creationId xmlns:p14="http://schemas.microsoft.com/office/powerpoint/2010/main" val="9770884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D03852A6-D1AF-49BC-C9CF-651E3D52B281}"/>
              </a:ext>
            </a:extLst>
          </p:cNvPr>
          <p:cNvSpPr txBox="1">
            <a:spLocks noGrp="1"/>
          </p:cNvSpPr>
          <p:nvPr>
            <p:ph idx="1"/>
          </p:nvPr>
        </p:nvSpPr>
        <p:spPr>
          <a:xfrm>
            <a:off x="6185998" y="1247771"/>
            <a:ext cx="5825029" cy="4691064"/>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5">
            <a:extLst>
              <a:ext uri="{FF2B5EF4-FFF2-40B4-BE49-F238E27FC236}">
                <a16:creationId xmlns:a16="http://schemas.microsoft.com/office/drawing/2014/main" id="{00747579-E8EE-0B09-BAFB-388D03FA05C0}"/>
              </a:ext>
            </a:extLst>
          </p:cNvPr>
          <p:cNvSpPr txBox="1">
            <a:spLocks noGrp="1"/>
          </p:cNvSpPr>
          <p:nvPr>
            <p:ph type="ftr" sz="quarter" idx="9"/>
          </p:nvPr>
        </p:nvSpPr>
        <p:spPr/>
        <p:txBody>
          <a:bodyPr/>
          <a:lstStyle>
            <a:lvl1pPr>
              <a:defRPr/>
            </a:lvl1pPr>
          </a:lstStyle>
          <a:p>
            <a:pPr lvl="0"/>
            <a:endParaRPr lang="en-GB"/>
          </a:p>
        </p:txBody>
      </p:sp>
      <p:sp>
        <p:nvSpPr>
          <p:cNvPr id="4" name="Slide Number Placeholder 6">
            <a:extLst>
              <a:ext uri="{FF2B5EF4-FFF2-40B4-BE49-F238E27FC236}">
                <a16:creationId xmlns:a16="http://schemas.microsoft.com/office/drawing/2014/main" id="{32F0D2AB-A107-E022-D6F0-D9877D9D651C}"/>
              </a:ext>
            </a:extLst>
          </p:cNvPr>
          <p:cNvSpPr txBox="1">
            <a:spLocks noGrp="1"/>
          </p:cNvSpPr>
          <p:nvPr>
            <p:ph type="sldNum" sz="quarter" idx="8"/>
          </p:nvPr>
        </p:nvSpPr>
        <p:spPr/>
        <p:txBody>
          <a:bodyPr/>
          <a:lstStyle>
            <a:lvl1pPr>
              <a:defRPr/>
            </a:lvl1pPr>
          </a:lstStyle>
          <a:p>
            <a:pPr lvl="0"/>
            <a:fld id="{0BF62ECD-62D2-48EF-8147-16BC87D71F09}" type="slidenum">
              <a:t>‹#›</a:t>
            </a:fld>
            <a:endParaRPr lang="en-GB"/>
          </a:p>
        </p:txBody>
      </p:sp>
    </p:spTree>
    <p:extLst>
      <p:ext uri="{BB962C8B-B14F-4D97-AF65-F5344CB8AC3E}">
        <p14:creationId xmlns:p14="http://schemas.microsoft.com/office/powerpoint/2010/main" val="4190975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0309029A-5DC7-1FF9-BBA9-C9E82C4056AD}"/>
              </a:ext>
            </a:extLst>
          </p:cNvPr>
          <p:cNvSpPr txBox="1">
            <a:spLocks noGrp="1"/>
          </p:cNvSpPr>
          <p:nvPr>
            <p:ph type="body" idx="4294967295"/>
          </p:nvPr>
        </p:nvSpPr>
        <p:spPr>
          <a:xfrm>
            <a:off x="6186492" y="1247781"/>
            <a:ext cx="5824535" cy="587977"/>
          </a:xfrm>
        </p:spPr>
        <p:txBody>
          <a:bodyPr anchor="b"/>
          <a:lstStyle>
            <a:lvl1pPr marL="0" indent="0">
              <a:buNone/>
              <a:defRPr sz="2400"/>
            </a:lvl1pPr>
          </a:lstStyle>
          <a:p>
            <a:pPr lvl="0"/>
            <a:r>
              <a:rPr lang="en-GB"/>
              <a:t>Click to edit Master text styles</a:t>
            </a:r>
          </a:p>
        </p:txBody>
      </p:sp>
      <p:sp>
        <p:nvSpPr>
          <p:cNvPr id="3" name="Content Placeholder 5">
            <a:extLst>
              <a:ext uri="{FF2B5EF4-FFF2-40B4-BE49-F238E27FC236}">
                <a16:creationId xmlns:a16="http://schemas.microsoft.com/office/drawing/2014/main" id="{181873BF-6026-28E2-EA7F-777B9D3D434C}"/>
              </a:ext>
            </a:extLst>
          </p:cNvPr>
          <p:cNvSpPr txBox="1">
            <a:spLocks noGrp="1"/>
          </p:cNvSpPr>
          <p:nvPr>
            <p:ph idx="4294967295"/>
          </p:nvPr>
        </p:nvSpPr>
        <p:spPr>
          <a:xfrm>
            <a:off x="6186492" y="2014542"/>
            <a:ext cx="5824535" cy="3924303"/>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Footer Placeholder 7">
            <a:extLst>
              <a:ext uri="{FF2B5EF4-FFF2-40B4-BE49-F238E27FC236}">
                <a16:creationId xmlns:a16="http://schemas.microsoft.com/office/drawing/2014/main" id="{FED4A7F1-2C5A-4059-05A4-909B58D6C0AB}"/>
              </a:ext>
            </a:extLst>
          </p:cNvPr>
          <p:cNvSpPr txBox="1">
            <a:spLocks noGrp="1"/>
          </p:cNvSpPr>
          <p:nvPr>
            <p:ph type="ftr" sz="quarter" idx="9"/>
          </p:nvPr>
        </p:nvSpPr>
        <p:spPr/>
        <p:txBody>
          <a:bodyPr/>
          <a:lstStyle>
            <a:lvl1pPr>
              <a:defRPr/>
            </a:lvl1pPr>
          </a:lstStyle>
          <a:p>
            <a:pPr lvl="0"/>
            <a:endParaRPr lang="en-GB"/>
          </a:p>
        </p:txBody>
      </p:sp>
      <p:sp>
        <p:nvSpPr>
          <p:cNvPr id="5" name="Slide Number Placeholder 8">
            <a:extLst>
              <a:ext uri="{FF2B5EF4-FFF2-40B4-BE49-F238E27FC236}">
                <a16:creationId xmlns:a16="http://schemas.microsoft.com/office/drawing/2014/main" id="{31F7C286-5F12-92B5-1C48-F2A7E177F5E9}"/>
              </a:ext>
            </a:extLst>
          </p:cNvPr>
          <p:cNvSpPr txBox="1">
            <a:spLocks noGrp="1"/>
          </p:cNvSpPr>
          <p:nvPr>
            <p:ph type="sldNum" sz="quarter" idx="8"/>
          </p:nvPr>
        </p:nvSpPr>
        <p:spPr/>
        <p:txBody>
          <a:bodyPr/>
          <a:lstStyle>
            <a:lvl1pPr>
              <a:defRPr/>
            </a:lvl1pPr>
          </a:lstStyle>
          <a:p>
            <a:pPr lvl="0"/>
            <a:fld id="{64E99A3B-4577-4BA1-8CF6-599F77034AC5}" type="slidenum">
              <a:t>‹#›</a:t>
            </a:fld>
            <a:endParaRPr lang="en-GB"/>
          </a:p>
        </p:txBody>
      </p:sp>
      <p:sp>
        <p:nvSpPr>
          <p:cNvPr id="6" name="Title 1">
            <a:extLst>
              <a:ext uri="{FF2B5EF4-FFF2-40B4-BE49-F238E27FC236}">
                <a16:creationId xmlns:a16="http://schemas.microsoft.com/office/drawing/2014/main" id="{6754DF46-371C-E62D-FFAE-B51DCE96FF52}"/>
              </a:ext>
            </a:extLst>
          </p:cNvPr>
          <p:cNvSpPr txBox="1">
            <a:spLocks noGrp="1"/>
          </p:cNvSpPr>
          <p:nvPr>
            <p:ph type="title"/>
          </p:nvPr>
        </p:nvSpPr>
        <p:spPr>
          <a:xfrm>
            <a:off x="179386" y="179386"/>
            <a:ext cx="11831641" cy="709610"/>
          </a:xfrm>
        </p:spPr>
        <p:txBody>
          <a:bodyPr/>
          <a:lstStyle>
            <a:lvl1pPr>
              <a:defRPr cap="none"/>
            </a:lvl1pPr>
          </a:lstStyle>
          <a:p>
            <a:pPr lvl="0"/>
            <a:r>
              <a:rPr lang="en-GB"/>
              <a:t>Click to edit master title style</a:t>
            </a:r>
          </a:p>
        </p:txBody>
      </p:sp>
    </p:spTree>
    <p:extLst>
      <p:ext uri="{BB962C8B-B14F-4D97-AF65-F5344CB8AC3E}">
        <p14:creationId xmlns:p14="http://schemas.microsoft.com/office/powerpoint/2010/main" val="3925384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84D7FF64-5147-CCA5-E509-4CD4C13EE4C6}"/>
              </a:ext>
            </a:extLst>
          </p:cNvPr>
          <p:cNvSpPr txBox="1">
            <a:spLocks noGrp="1"/>
          </p:cNvSpPr>
          <p:nvPr>
            <p:ph type="sldNum" sz="quarter" idx="8"/>
          </p:nvPr>
        </p:nvSpPr>
        <p:spPr/>
        <p:txBody>
          <a:bodyPr/>
          <a:lstStyle>
            <a:lvl1pPr>
              <a:defRPr/>
            </a:lvl1pPr>
          </a:lstStyle>
          <a:p>
            <a:pPr lvl="0"/>
            <a:fld id="{52EB6241-8972-4364-A53B-FAC275135985}" type="slidenum">
              <a:t>‹#›</a:t>
            </a:fld>
            <a:endParaRPr lang="en-GB"/>
          </a:p>
        </p:txBody>
      </p:sp>
    </p:spTree>
    <p:extLst>
      <p:ext uri="{BB962C8B-B14F-4D97-AF65-F5344CB8AC3E}">
        <p14:creationId xmlns:p14="http://schemas.microsoft.com/office/powerpoint/2010/main" val="3939102010"/>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640066"/>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74357AFD-7CE7-4EC9-0A95-3FAE47C1DF5C}"/>
              </a:ext>
            </a:extLst>
          </p:cNvPr>
          <p:cNvSpPr txBox="1">
            <a:spLocks noGrp="1"/>
          </p:cNvSpPr>
          <p:nvPr>
            <p:ph type="body" idx="2"/>
          </p:nvPr>
        </p:nvSpPr>
        <p:spPr>
          <a:xfrm>
            <a:off x="179386" y="2014542"/>
            <a:ext cx="5824535" cy="3924303"/>
          </a:xfrm>
        </p:spPr>
        <p:txBody>
          <a:bodyPr/>
          <a:lstStyle>
            <a:lvl1pPr marL="0" indent="0">
              <a:buNone/>
              <a:defRPr sz="1600"/>
            </a:lvl1pPr>
          </a:lstStyle>
          <a:p>
            <a:pPr lvl="0"/>
            <a:r>
              <a:rPr lang="en-GB"/>
              <a:t>Click to edit Master text styles</a:t>
            </a:r>
          </a:p>
        </p:txBody>
      </p:sp>
      <p:sp>
        <p:nvSpPr>
          <p:cNvPr id="3" name="Footer Placeholder 5">
            <a:extLst>
              <a:ext uri="{FF2B5EF4-FFF2-40B4-BE49-F238E27FC236}">
                <a16:creationId xmlns:a16="http://schemas.microsoft.com/office/drawing/2014/main" id="{ED03CE06-6D60-E2F5-28FF-80E23B58265F}"/>
              </a:ext>
            </a:extLst>
          </p:cNvPr>
          <p:cNvSpPr txBox="1">
            <a:spLocks noGrp="1"/>
          </p:cNvSpPr>
          <p:nvPr>
            <p:ph type="ftr" sz="quarter" idx="9"/>
          </p:nvPr>
        </p:nvSpPr>
        <p:spPr/>
        <p:txBody>
          <a:bodyPr/>
          <a:lstStyle>
            <a:lvl1pPr>
              <a:defRPr/>
            </a:lvl1pPr>
          </a:lstStyle>
          <a:p>
            <a:pPr lvl="0"/>
            <a:endParaRPr lang="en-GB"/>
          </a:p>
        </p:txBody>
      </p:sp>
      <p:sp>
        <p:nvSpPr>
          <p:cNvPr id="4" name="Slide Number Placeholder 6">
            <a:extLst>
              <a:ext uri="{FF2B5EF4-FFF2-40B4-BE49-F238E27FC236}">
                <a16:creationId xmlns:a16="http://schemas.microsoft.com/office/drawing/2014/main" id="{B49D1760-2145-1870-069C-716E5E759CB1}"/>
              </a:ext>
            </a:extLst>
          </p:cNvPr>
          <p:cNvSpPr txBox="1">
            <a:spLocks noGrp="1"/>
          </p:cNvSpPr>
          <p:nvPr>
            <p:ph type="sldNum" sz="quarter" idx="8"/>
          </p:nvPr>
        </p:nvSpPr>
        <p:spPr/>
        <p:txBody>
          <a:bodyPr/>
          <a:lstStyle>
            <a:lvl1pPr>
              <a:defRPr/>
            </a:lvl1pPr>
          </a:lstStyle>
          <a:p>
            <a:pPr lvl="0"/>
            <a:fld id="{F2DE75B5-F928-42C4-9B75-E8BEE3F80225}" type="slidenum">
              <a:t>‹#›</a:t>
            </a:fld>
            <a:endParaRPr lang="en-GB"/>
          </a:p>
        </p:txBody>
      </p:sp>
    </p:spTree>
    <p:extLst>
      <p:ext uri="{BB962C8B-B14F-4D97-AF65-F5344CB8AC3E}">
        <p14:creationId xmlns:p14="http://schemas.microsoft.com/office/powerpoint/2010/main" val="15765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ictur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p:spPr>
        <p:txBody>
          <a:bodyPr lIns="0" tIns="1800000" rIns="0" bIns="0" anchor="ctr" anchorCtr="1"/>
          <a:lstStyle>
            <a:lvl1pPr marL="0" indent="0" algn="ctr" rtl="0">
              <a:buNone/>
              <a:defRPr/>
            </a:lvl1pPr>
          </a:lstStyle>
          <a:p>
            <a:r>
              <a:rPr lang="en-GB" noProof="0"/>
              <a:t>CLICK TO SELECT PLACEHOLDER - INSERT PICTURE FROM THE TEMPLAFY LIBRARY</a:t>
            </a:r>
          </a:p>
        </p:txBody>
      </p:sp>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p:cNvSpPr>
            <a:spLocks noGrp="1"/>
          </p:cNvSpPr>
          <p:nvPr>
            <p:ph type="ctrTitle" hasCustomPrompt="1"/>
          </p:nvPr>
        </p:nvSpPr>
        <p:spPr>
          <a:xfrm>
            <a:off x="885668" y="1689099"/>
            <a:ext cx="6741079" cy="2390775"/>
          </a:xfrm>
        </p:spPr>
        <p:txBody>
          <a:bodyPr vert="horz" anchor="t"/>
          <a:lstStyle>
            <a:lvl1pPr algn="l" rtl="0">
              <a:defRPr sz="6000">
                <a:solidFill>
                  <a:schemeClr val="bg2"/>
                </a:solidFill>
              </a:defRPr>
            </a:lvl1pPr>
          </a:lstStyle>
          <a:p>
            <a:r>
              <a:rPr lang="en-GB" noProof="0"/>
              <a:t>CLICK TO EDIT MASTER TITLE STYLE</a:t>
            </a:r>
          </a:p>
        </p:txBody>
      </p:sp>
      <p:sp>
        <p:nvSpPr>
          <p:cNvPr id="3" name="Subtitle 2"/>
          <p:cNvSpPr>
            <a:spLocks noGrp="1"/>
          </p:cNvSpPr>
          <p:nvPr>
            <p:ph type="subTitle" idx="1" hasCustomPrompt="1"/>
          </p:nvPr>
        </p:nvSpPr>
        <p:spPr>
          <a:xfrm>
            <a:off x="885669" y="1069975"/>
            <a:ext cx="6741079" cy="349250"/>
          </a:xfrm>
        </p:spPr>
        <p:txBody>
          <a:bodyPr lIns="0" tIns="0" rIns="0" bIns="0">
            <a:noAutofit/>
          </a:bodyPr>
          <a:lstStyle>
            <a:lvl1pPr marL="0" indent="0" algn="l" rtl="0">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Footer Placeholder 5">
            <a:extLst>
              <a:ext uri="{FF2B5EF4-FFF2-40B4-BE49-F238E27FC236}">
                <a16:creationId xmlns:a16="http://schemas.microsoft.com/office/drawing/2014/main" id="{F5C95526-EA63-0A56-232B-24C3CEF52E7D}"/>
              </a:ext>
            </a:extLst>
          </p:cNvPr>
          <p:cNvSpPr txBox="1">
            <a:spLocks noGrp="1"/>
          </p:cNvSpPr>
          <p:nvPr>
            <p:ph type="ftr" sz="quarter" idx="9"/>
          </p:nvPr>
        </p:nvSpPr>
        <p:spPr/>
        <p:txBody>
          <a:bodyPr/>
          <a:lstStyle>
            <a:lvl1pPr>
              <a:defRPr/>
            </a:lvl1pPr>
          </a:lstStyle>
          <a:p>
            <a:pPr lvl="0"/>
            <a:endParaRPr lang="en-GB"/>
          </a:p>
        </p:txBody>
      </p:sp>
      <p:sp>
        <p:nvSpPr>
          <p:cNvPr id="3" name="Slide Number Placeholder 6">
            <a:extLst>
              <a:ext uri="{FF2B5EF4-FFF2-40B4-BE49-F238E27FC236}">
                <a16:creationId xmlns:a16="http://schemas.microsoft.com/office/drawing/2014/main" id="{C508D452-13A5-8EB5-628E-B3E345973A91}"/>
              </a:ext>
            </a:extLst>
          </p:cNvPr>
          <p:cNvSpPr txBox="1">
            <a:spLocks noGrp="1"/>
          </p:cNvSpPr>
          <p:nvPr>
            <p:ph type="sldNum" sz="quarter" idx="8"/>
          </p:nvPr>
        </p:nvSpPr>
        <p:spPr/>
        <p:txBody>
          <a:bodyPr/>
          <a:lstStyle>
            <a:lvl1pPr>
              <a:defRPr/>
            </a:lvl1pPr>
          </a:lstStyle>
          <a:p>
            <a:pPr lvl="0"/>
            <a:fld id="{FD3E225A-5038-4661-A87B-F809D9774C4A}" type="slidenum">
              <a:t>‹#›</a:t>
            </a:fld>
            <a:endParaRPr lang="en-GB"/>
          </a:p>
        </p:txBody>
      </p:sp>
      <p:sp>
        <p:nvSpPr>
          <p:cNvPr id="4" name="Picture Placeholder 4">
            <a:extLst>
              <a:ext uri="{FF2B5EF4-FFF2-40B4-BE49-F238E27FC236}">
                <a16:creationId xmlns:a16="http://schemas.microsoft.com/office/drawing/2014/main" id="{A6CF4760-2443-BF6B-62DD-F53004B57E17}"/>
              </a:ext>
            </a:extLst>
          </p:cNvPr>
          <p:cNvSpPr txBox="1">
            <a:spLocks noGrp="1"/>
          </p:cNvSpPr>
          <p:nvPr>
            <p:ph type="pic" idx="4294967295"/>
          </p:nvPr>
        </p:nvSpPr>
        <p:spPr>
          <a:xfrm>
            <a:off x="6186492" y="178591"/>
            <a:ext cx="5824535" cy="5757867"/>
          </a:xfrm>
        </p:spPr>
        <p:txBody>
          <a:bodyPr/>
          <a:lstStyle>
            <a:lvl1pPr>
              <a:defRPr/>
            </a:lvl1pPr>
          </a:lstStyle>
          <a:p>
            <a:pPr lvl="0"/>
            <a:r>
              <a:rPr lang="en-GB"/>
              <a:t>Click to select placeholder - insert picture from the Templafy library</a:t>
            </a:r>
          </a:p>
        </p:txBody>
      </p:sp>
    </p:spTree>
    <p:extLst>
      <p:ext uri="{BB962C8B-B14F-4D97-AF65-F5344CB8AC3E}">
        <p14:creationId xmlns:p14="http://schemas.microsoft.com/office/powerpoint/2010/main" val="2004116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Legal Disclaimer">
    <p:spTree>
      <p:nvGrpSpPr>
        <p:cNvPr id="1" name=""/>
        <p:cNvGrpSpPr/>
        <p:nvPr/>
      </p:nvGrpSpPr>
      <p:grpSpPr>
        <a:xfrm>
          <a:off x="0" y="0"/>
          <a:ext cx="0" cy="0"/>
          <a:chOff x="0" y="0"/>
          <a:chExt cx="0" cy="0"/>
        </a:xfrm>
      </p:grpSpPr>
      <p:pic>
        <p:nvPicPr>
          <p:cNvPr id="2" name="Picture 4" descr="A black background with a black square&#10;&#10;Description automatically generated with medium confidence">
            <a:extLst>
              <a:ext uri="{FF2B5EF4-FFF2-40B4-BE49-F238E27FC236}">
                <a16:creationId xmlns:a16="http://schemas.microsoft.com/office/drawing/2014/main" id="{C90AC886-7DB4-68F2-47E0-2F4DFB4119E8}"/>
              </a:ext>
            </a:extLst>
          </p:cNvPr>
          <p:cNvPicPr>
            <a:picLocks noChangeAspect="1"/>
          </p:cNvPicPr>
          <p:nvPr/>
        </p:nvPicPr>
        <p:blipFill>
          <a:blip r:embed="rId2"/>
          <a:stretch>
            <a:fillRect/>
          </a:stretch>
        </p:blipFill>
        <p:spPr>
          <a:xfrm>
            <a:off x="4304345" y="2062877"/>
            <a:ext cx="3583304" cy="3060524"/>
          </a:xfrm>
          <a:prstGeom prst="rect">
            <a:avLst/>
          </a:prstGeom>
          <a:noFill/>
          <a:ln>
            <a:noFill/>
          </a:ln>
        </p:spPr>
      </p:pic>
    </p:spTree>
    <p:extLst>
      <p:ext uri="{BB962C8B-B14F-4D97-AF65-F5344CB8AC3E}">
        <p14:creationId xmlns:p14="http://schemas.microsoft.com/office/powerpoint/2010/main" val="19670312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11230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vert="horz" lIns="0" tIns="0" rIns="0" bIns="0"/>
          <a:lstStyle>
            <a:lvl1pPr rtl="0">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17958"/>
            <a:ext cx="11831639" cy="4687236"/>
          </a:xfrm>
        </p:spPr>
        <p:txBody>
          <a:bodyPr lIns="0" tIns="0" rIns="0" bIns="0"/>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lvl1pPr rtl="0">
              <a:defRPr/>
            </a:lvl1pPr>
          </a:lstStyle>
          <a:p>
            <a:endParaRPr lang="en-GB"/>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lvl1pPr rtl="0">
              <a:defRPr/>
            </a:lvl1pPr>
          </a:lstStyle>
          <a:p>
            <a:fld id="{ABB6D191-819E-455F-BC39-F2381519C0C1}" type="slidenum">
              <a:rPr lang="en-GB" smtClean="0"/>
              <a:pPr/>
              <a:t>‹#›</a:t>
            </a:fld>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rtl="0">
              <a:buNone/>
              <a:defRPr sz="12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661844751"/>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695FB62A-456D-CB15-47CF-7853204D4247}"/>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027E5687-7AE5-BA1D-8050-A9DC8EF77C21}"/>
              </a:ext>
            </a:extLst>
          </p:cNvPr>
          <p:cNvSpPr txBox="1">
            <a:spLocks noGrp="1"/>
          </p:cNvSpPr>
          <p:nvPr>
            <p:ph type="sldNum" sz="quarter" idx="8"/>
          </p:nvPr>
        </p:nvSpPr>
        <p:spPr/>
        <p:txBody>
          <a:bodyPr/>
          <a:lstStyle>
            <a:lvl1pPr>
              <a:defRPr/>
            </a:lvl1pPr>
          </a:lstStyle>
          <a:p>
            <a:pPr lvl="0"/>
            <a:fld id="{71EE7F61-4C3A-4998-A332-71A357FA2655}" type="slidenum">
              <a:t>‹#›</a:t>
            </a:fld>
            <a:endParaRPr lang="en-GB"/>
          </a:p>
        </p:txBody>
      </p:sp>
      <p:sp>
        <p:nvSpPr>
          <p:cNvPr id="4" name="Text Placeholder 10">
            <a:extLst>
              <a:ext uri="{FF2B5EF4-FFF2-40B4-BE49-F238E27FC236}">
                <a16:creationId xmlns:a16="http://schemas.microsoft.com/office/drawing/2014/main" id="{B5C3B34E-450D-B3F4-175C-5455224A1FE6}"/>
              </a:ext>
            </a:extLst>
          </p:cNvPr>
          <p:cNvSpPr txBox="1">
            <a:spLocks noGrp="1"/>
          </p:cNvSpPr>
          <p:nvPr>
            <p:ph type="body" idx="4294967295"/>
          </p:nvPr>
        </p:nvSpPr>
        <p:spPr>
          <a:xfrm>
            <a:off x="642795" y="5938835"/>
            <a:ext cx="9463189" cy="359670"/>
          </a:xfrm>
        </p:spPr>
        <p:txBody>
          <a:bodyPr anchor="ctr"/>
          <a:lstStyle>
            <a:lvl1pPr marL="0" indent="0">
              <a:buNone/>
              <a:defRPr>
                <a:solidFill>
                  <a:srgbClr val="7F7F7F"/>
                </a:solidFill>
              </a:defRPr>
            </a:lvl1pPr>
          </a:lstStyle>
          <a:p>
            <a:pPr lvl="0"/>
            <a:r>
              <a:rPr lang="en-GB"/>
              <a:t>Source </a:t>
            </a:r>
          </a:p>
        </p:txBody>
      </p:sp>
    </p:spTree>
    <p:extLst>
      <p:ext uri="{BB962C8B-B14F-4D97-AF65-F5344CB8AC3E}">
        <p14:creationId xmlns:p14="http://schemas.microsoft.com/office/powerpoint/2010/main" val="1840765622"/>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8F6F0578-7E4E-940B-1596-80D4D60BA159}"/>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 imgW="9832" imgH="9832" progId="">
                  <p:embed/>
                </p:oleObj>
              </mc:Choice>
              <mc:Fallback>
                <p:oleObj r:id="rId2" imgW="9832" imgH="9832" progId="">
                  <p:embed/>
                  <p:pic>
                    <p:nvPicPr>
                      <p:cNvPr id="2" name="Object 7" hidden="1">
                        <a:extLst>
                          <a:ext uri="{FF2B5EF4-FFF2-40B4-BE49-F238E27FC236}">
                            <a16:creationId xmlns:a16="http://schemas.microsoft.com/office/drawing/2014/main" id="{8F6F0578-7E4E-940B-1596-80D4D60BA159}"/>
                          </a:ext>
                        </a:extLst>
                      </p:cNvPr>
                      <p:cNvPicPr/>
                      <p:nvPr/>
                    </p:nvPicPr>
                    <p:blipFill>
                      <a:blip r:embed="rId3"/>
                      <a:stretch>
                        <a:fillRect/>
                      </a:stretch>
                    </p:blipFill>
                    <p:spPr>
                      <a:xfrm>
                        <a:off x="1591" y="1591"/>
                        <a:ext cx="1591" cy="1591"/>
                      </a:xfrm>
                      <a:prstGeom prst="rect">
                        <a:avLst/>
                      </a:prstGeom>
                    </p:spPr>
                  </p:pic>
                </p:oleObj>
              </mc:Fallback>
            </mc:AlternateContent>
          </a:graphicData>
        </a:graphic>
      </p:graphicFrame>
      <p:sp>
        <p:nvSpPr>
          <p:cNvPr id="3" name="Rectangle 6" hidden="1">
            <a:extLst>
              <a:ext uri="{FF2B5EF4-FFF2-40B4-BE49-F238E27FC236}">
                <a16:creationId xmlns:a16="http://schemas.microsoft.com/office/drawing/2014/main" id="{2882214E-9061-F217-D20D-3802156420F6}"/>
              </a:ext>
            </a:extLst>
          </p:cNvPr>
          <p:cNvSpPr/>
          <p:nvPr/>
        </p:nvSpPr>
        <p:spPr>
          <a:xfrm>
            <a:off x="0" y="0"/>
            <a:ext cx="158748" cy="158748"/>
          </a:xfrm>
          <a:prstGeom prst="rect">
            <a:avLst/>
          </a:prstGeom>
          <a:solidFill>
            <a:srgbClr val="00B0F0"/>
          </a:solidFill>
          <a:ln w="12701" cap="flat">
            <a:solidFill>
              <a:srgbClr val="0080B0"/>
            </a:solidFill>
            <a:prstDash val="solid"/>
            <a:miter/>
          </a:ln>
        </p:spPr>
        <p:txBody>
          <a:bodyPr vert="horz" wrap="none" lIns="0" tIns="0" rIns="0" bIns="0"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GB" sz="6000" b="0" i="0" u="none" strike="noStrike" kern="1200" cap="none" spc="0" baseline="0">
              <a:solidFill>
                <a:srgbClr val="FFFFFF"/>
              </a:solidFill>
              <a:uFillTx/>
              <a:latin typeface="Museo Sans 100"/>
            </a:endParaRPr>
          </a:p>
        </p:txBody>
      </p:sp>
      <p:sp>
        <p:nvSpPr>
          <p:cNvPr id="4" name="Subtitle 2">
            <a:extLst>
              <a:ext uri="{FF2B5EF4-FFF2-40B4-BE49-F238E27FC236}">
                <a16:creationId xmlns:a16="http://schemas.microsoft.com/office/drawing/2014/main" id="{B69D536A-13CD-2EEA-666D-F13BAE841DCA}"/>
              </a:ext>
            </a:extLst>
          </p:cNvPr>
          <p:cNvSpPr txBox="1">
            <a:spLocks noGrp="1"/>
          </p:cNvSpPr>
          <p:nvPr>
            <p:ph type="subTitle" idx="4294967295"/>
          </p:nvPr>
        </p:nvSpPr>
        <p:spPr>
          <a:xfrm>
            <a:off x="454749" y="1069976"/>
            <a:ext cx="6741075" cy="349245"/>
          </a:xfrm>
        </p:spPr>
        <p:txBody>
          <a:bodyPr>
            <a:noAutofit/>
          </a:bodyPr>
          <a:lstStyle>
            <a:lvl1pPr marL="0" indent="0">
              <a:buNone/>
              <a:defRPr sz="2000"/>
            </a:lvl1pPr>
          </a:lstStyle>
          <a:p>
            <a:pPr lvl="0"/>
            <a:endParaRPr lang="en-GB"/>
          </a:p>
        </p:txBody>
      </p:sp>
      <p:sp>
        <p:nvSpPr>
          <p:cNvPr id="5" name="Title 1">
            <a:extLst>
              <a:ext uri="{FF2B5EF4-FFF2-40B4-BE49-F238E27FC236}">
                <a16:creationId xmlns:a16="http://schemas.microsoft.com/office/drawing/2014/main" id="{856A7E4A-ED26-086C-1011-CB94FD2FC7D1}"/>
              </a:ext>
            </a:extLst>
          </p:cNvPr>
          <p:cNvSpPr txBox="1">
            <a:spLocks noGrp="1"/>
          </p:cNvSpPr>
          <p:nvPr>
            <p:ph type="title"/>
          </p:nvPr>
        </p:nvSpPr>
        <p:spPr>
          <a:xfrm>
            <a:off x="454749" y="1691466"/>
            <a:ext cx="6741075" cy="2387598"/>
          </a:xfrm>
        </p:spPr>
        <p:txBody>
          <a:bodyPr/>
          <a:lstStyle>
            <a:lvl1pPr>
              <a:defRPr/>
            </a:lvl1pPr>
          </a:lstStyle>
          <a:p>
            <a:pPr lvl="0"/>
            <a:endParaRPr lang="en-GB"/>
          </a:p>
        </p:txBody>
      </p:sp>
      <p:pic>
        <p:nvPicPr>
          <p:cNvPr id="6" name="Picture 2" descr="Home - The Circular Bioeconomy Alliance">
            <a:extLst>
              <a:ext uri="{FF2B5EF4-FFF2-40B4-BE49-F238E27FC236}">
                <a16:creationId xmlns:a16="http://schemas.microsoft.com/office/drawing/2014/main" id="{A128B0DD-525D-3BE1-EC6B-AEAA0654B56E}"/>
              </a:ext>
            </a:extLst>
          </p:cNvPr>
          <p:cNvPicPr>
            <a:picLocks noChangeAspect="1"/>
          </p:cNvPicPr>
          <p:nvPr/>
        </p:nvPicPr>
        <p:blipFill>
          <a:blip r:embed="rId4"/>
          <a:srcRect/>
          <a:stretch>
            <a:fillRect/>
          </a:stretch>
        </p:blipFill>
        <p:spPr>
          <a:xfrm>
            <a:off x="454749" y="6010214"/>
            <a:ext cx="1209678" cy="635078"/>
          </a:xfrm>
          <a:prstGeom prst="rect">
            <a:avLst/>
          </a:prstGeom>
          <a:noFill/>
          <a:ln>
            <a:noFill/>
          </a:ln>
        </p:spPr>
      </p:pic>
    </p:spTree>
    <p:extLst>
      <p:ext uri="{BB962C8B-B14F-4D97-AF65-F5344CB8AC3E}">
        <p14:creationId xmlns:p14="http://schemas.microsoft.com/office/powerpoint/2010/main" val="3632553781"/>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Picture)">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01B459DD-F459-3D16-87C2-9B9726FEAD0D}"/>
              </a:ext>
            </a:extLst>
          </p:cNvPr>
          <p:cNvSpPr txBox="1">
            <a:spLocks noGrp="1"/>
          </p:cNvSpPr>
          <p:nvPr>
            <p:ph type="pic" idx="4294967295"/>
          </p:nvPr>
        </p:nvSpPr>
        <p:spPr>
          <a:xfrm>
            <a:off x="0" y="0"/>
            <a:ext cx="12191996" cy="6858000"/>
          </a:xfrm>
        </p:spPr>
        <p:txBody>
          <a:bodyPr tIns="1799996" anchor="ctr" anchorCtr="1"/>
          <a:lstStyle>
            <a:lvl1pPr marL="0" indent="0" algn="ctr">
              <a:buNone/>
              <a:defRPr/>
            </a:lvl1pPr>
          </a:lstStyle>
          <a:p>
            <a:pPr lvl="0"/>
            <a:r>
              <a:rPr lang="en-GB"/>
              <a:t>CLICK TO SELECT PLACEHOLDER - INSERT PICTURE FROM THE TEMPLAFY LIBRARY</a:t>
            </a:r>
          </a:p>
        </p:txBody>
      </p:sp>
      <p:graphicFrame>
        <p:nvGraphicFramePr>
          <p:cNvPr id="3" name="Object 7" hidden="1">
            <a:extLst>
              <a:ext uri="{FF2B5EF4-FFF2-40B4-BE49-F238E27FC236}">
                <a16:creationId xmlns:a16="http://schemas.microsoft.com/office/drawing/2014/main" id="{F2E54FAD-F7B9-22AC-87BC-3C3FC814BDDA}"/>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 imgW="9832" imgH="9832" progId="">
                  <p:embed/>
                </p:oleObj>
              </mc:Choice>
              <mc:Fallback>
                <p:oleObj r:id="rId2" imgW="9832" imgH="9832" progId="">
                  <p:embed/>
                  <p:pic>
                    <p:nvPicPr>
                      <p:cNvPr id="3" name="Object 7" hidden="1">
                        <a:extLst>
                          <a:ext uri="{FF2B5EF4-FFF2-40B4-BE49-F238E27FC236}">
                            <a16:creationId xmlns:a16="http://schemas.microsoft.com/office/drawing/2014/main" id="{F2E54FAD-F7B9-22AC-87BC-3C3FC814BDDA}"/>
                          </a:ext>
                        </a:extLst>
                      </p:cNvPr>
                      <p:cNvPicPr/>
                      <p:nvPr/>
                    </p:nvPicPr>
                    <p:blipFill>
                      <a:blip r:embed="rId3"/>
                      <a:stretch>
                        <a:fillRect/>
                      </a:stretch>
                    </p:blipFill>
                    <p:spPr>
                      <a:xfrm>
                        <a:off x="1591" y="1591"/>
                        <a:ext cx="1591" cy="1591"/>
                      </a:xfrm>
                      <a:prstGeom prst="rect">
                        <a:avLst/>
                      </a:prstGeom>
                    </p:spPr>
                  </p:pic>
                </p:oleObj>
              </mc:Fallback>
            </mc:AlternateContent>
          </a:graphicData>
        </a:graphic>
      </p:graphicFrame>
      <p:sp>
        <p:nvSpPr>
          <p:cNvPr id="4" name="Rectangle 6" hidden="1">
            <a:extLst>
              <a:ext uri="{FF2B5EF4-FFF2-40B4-BE49-F238E27FC236}">
                <a16:creationId xmlns:a16="http://schemas.microsoft.com/office/drawing/2014/main" id="{736B8569-7028-DE0C-2852-94BFD5B23F0B}"/>
              </a:ext>
            </a:extLst>
          </p:cNvPr>
          <p:cNvSpPr/>
          <p:nvPr/>
        </p:nvSpPr>
        <p:spPr>
          <a:xfrm>
            <a:off x="0" y="0"/>
            <a:ext cx="158748" cy="158748"/>
          </a:xfrm>
          <a:prstGeom prst="rect">
            <a:avLst/>
          </a:prstGeom>
          <a:solidFill>
            <a:srgbClr val="00B0F0"/>
          </a:solidFill>
          <a:ln w="12701" cap="flat">
            <a:solidFill>
              <a:srgbClr val="0080B0"/>
            </a:solidFill>
            <a:prstDash val="solid"/>
            <a:miter/>
          </a:ln>
        </p:spPr>
        <p:txBody>
          <a:bodyPr vert="horz" wrap="none" lIns="0" tIns="0" rIns="0" bIns="0"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GB" sz="6000" b="0" i="0" u="none" strike="noStrike" kern="1200" cap="none" spc="0" baseline="0">
              <a:solidFill>
                <a:srgbClr val="FFFFFF"/>
              </a:solidFill>
              <a:uFillTx/>
              <a:latin typeface="Bebas Kai" pitchFamily="82"/>
            </a:endParaRPr>
          </a:p>
        </p:txBody>
      </p:sp>
      <p:sp>
        <p:nvSpPr>
          <p:cNvPr id="5" name="Title 1">
            <a:extLst>
              <a:ext uri="{FF2B5EF4-FFF2-40B4-BE49-F238E27FC236}">
                <a16:creationId xmlns:a16="http://schemas.microsoft.com/office/drawing/2014/main" id="{1B0E07C1-7A60-F5A9-BCA1-D3CBB99DBCD2}"/>
              </a:ext>
            </a:extLst>
          </p:cNvPr>
          <p:cNvSpPr txBox="1">
            <a:spLocks noGrp="1"/>
          </p:cNvSpPr>
          <p:nvPr>
            <p:ph type="title"/>
          </p:nvPr>
        </p:nvSpPr>
        <p:spPr>
          <a:xfrm>
            <a:off x="885669" y="1689097"/>
            <a:ext cx="6741075" cy="2390771"/>
          </a:xfrm>
        </p:spPr>
        <p:txBody>
          <a:bodyPr anchor="t"/>
          <a:lstStyle>
            <a:lvl1pPr>
              <a:defRPr sz="6000">
                <a:solidFill>
                  <a:srgbClr val="FFFFFF"/>
                </a:solidFill>
              </a:defRPr>
            </a:lvl1pPr>
          </a:lstStyle>
          <a:p>
            <a:pPr lvl="0"/>
            <a:r>
              <a:rPr lang="en-GB"/>
              <a:t>CLICK TO EDIT MASTER TITLE STYLE</a:t>
            </a:r>
          </a:p>
        </p:txBody>
      </p:sp>
      <p:sp>
        <p:nvSpPr>
          <p:cNvPr id="6" name="Subtitle 2">
            <a:extLst>
              <a:ext uri="{FF2B5EF4-FFF2-40B4-BE49-F238E27FC236}">
                <a16:creationId xmlns:a16="http://schemas.microsoft.com/office/drawing/2014/main" id="{4C376995-07A4-5A7B-FAAE-6EDA41C0BEC6}"/>
              </a:ext>
            </a:extLst>
          </p:cNvPr>
          <p:cNvSpPr txBox="1">
            <a:spLocks noGrp="1"/>
          </p:cNvSpPr>
          <p:nvPr>
            <p:ph type="subTitle" idx="4294967295"/>
          </p:nvPr>
        </p:nvSpPr>
        <p:spPr>
          <a:xfrm>
            <a:off x="885669" y="1069976"/>
            <a:ext cx="6741075" cy="349245"/>
          </a:xfrm>
        </p:spPr>
        <p:txBody>
          <a:bodyPr>
            <a:noAutofit/>
          </a:bodyPr>
          <a:lstStyle>
            <a:lvl1pPr marL="0" indent="0">
              <a:buNone/>
              <a:defRPr sz="2000">
                <a:solidFill>
                  <a:srgbClr val="FFFFFF"/>
                </a:solidFill>
              </a:defRPr>
            </a:lvl1pPr>
          </a:lstStyle>
          <a:p>
            <a:pPr lvl="0"/>
            <a:r>
              <a:rPr lang="en-GB"/>
              <a:t>CLICK TO EDIT MASTER SUBTITLE STYLE</a:t>
            </a:r>
          </a:p>
        </p:txBody>
      </p:sp>
    </p:spTree>
    <p:extLst>
      <p:ext uri="{BB962C8B-B14F-4D97-AF65-F5344CB8AC3E}">
        <p14:creationId xmlns:p14="http://schemas.microsoft.com/office/powerpoint/2010/main" val="9024577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D5F59507-205E-ACAB-46E5-67D931247E57}"/>
              </a:ext>
            </a:extLst>
          </p:cNvPr>
          <p:cNvSpPr txBox="1">
            <a:spLocks noGrp="1"/>
          </p:cNvSpPr>
          <p:nvPr>
            <p:ph type="subTitle" idx="1"/>
          </p:nvPr>
        </p:nvSpPr>
        <p:spPr>
          <a:xfrm>
            <a:off x="885669" y="1069976"/>
            <a:ext cx="6741075" cy="349245"/>
          </a:xfrm>
        </p:spPr>
        <p:txBody>
          <a:bodyPr>
            <a:noAutofit/>
          </a:bodyPr>
          <a:lstStyle>
            <a:lvl1pPr marL="0" indent="0">
              <a:buNone/>
              <a:defRPr sz="2000">
                <a:solidFill>
                  <a:srgbClr val="585854"/>
                </a:solidFill>
              </a:defRPr>
            </a:lvl1pPr>
          </a:lstStyle>
          <a:p>
            <a:pPr lvl="0"/>
            <a:r>
              <a:rPr lang="en-GB"/>
              <a:t>CLICK TO EDIT MASTER SUBTITLE STYLE</a:t>
            </a:r>
          </a:p>
        </p:txBody>
      </p:sp>
      <p:sp>
        <p:nvSpPr>
          <p:cNvPr id="3" name="Footer Placeholder 4">
            <a:extLst>
              <a:ext uri="{FF2B5EF4-FFF2-40B4-BE49-F238E27FC236}">
                <a16:creationId xmlns:a16="http://schemas.microsoft.com/office/drawing/2014/main" id="{855C1CB2-1234-7D94-D048-506674E86EB7}"/>
              </a:ext>
            </a:extLst>
          </p:cNvPr>
          <p:cNvSpPr txBox="1">
            <a:spLocks noGrp="1"/>
          </p:cNvSpPr>
          <p:nvPr>
            <p:ph type="ftr" sz="quarter" idx="9"/>
          </p:nvPr>
        </p:nvSpPr>
        <p:spPr/>
        <p:txBody>
          <a:bodyPr/>
          <a:lstStyle>
            <a:lvl1pPr>
              <a:defRPr/>
            </a:lvl1pPr>
          </a:lstStyle>
          <a:p>
            <a:pPr lvl="0"/>
            <a:endParaRPr lang="en-GB"/>
          </a:p>
        </p:txBody>
      </p:sp>
      <p:sp>
        <p:nvSpPr>
          <p:cNvPr id="4" name="Slide Number Placeholder 5">
            <a:extLst>
              <a:ext uri="{FF2B5EF4-FFF2-40B4-BE49-F238E27FC236}">
                <a16:creationId xmlns:a16="http://schemas.microsoft.com/office/drawing/2014/main" id="{DE203B0B-7472-37BB-A127-0339688272B3}"/>
              </a:ext>
            </a:extLst>
          </p:cNvPr>
          <p:cNvSpPr txBox="1">
            <a:spLocks noGrp="1"/>
          </p:cNvSpPr>
          <p:nvPr>
            <p:ph type="sldNum" sz="quarter" idx="8"/>
          </p:nvPr>
        </p:nvSpPr>
        <p:spPr/>
        <p:txBody>
          <a:bodyPr/>
          <a:lstStyle>
            <a:lvl1pPr>
              <a:defRPr/>
            </a:lvl1pPr>
          </a:lstStyle>
          <a:p>
            <a:pPr lvl="0"/>
            <a:fld id="{160C7AD2-0502-4E8B-AC8D-2118C101AD76}" type="slidenum">
              <a:t>‹#›</a:t>
            </a:fld>
            <a:endParaRPr lang="en-GB"/>
          </a:p>
        </p:txBody>
      </p:sp>
    </p:spTree>
    <p:extLst>
      <p:ext uri="{BB962C8B-B14F-4D97-AF65-F5344CB8AC3E}">
        <p14:creationId xmlns:p14="http://schemas.microsoft.com/office/powerpoint/2010/main" val="23056935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B82F0872-9323-73C7-1394-CF138233CCE7}"/>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728E2D23-9017-DF47-799A-F6C5CC4BD213}"/>
              </a:ext>
            </a:extLst>
          </p:cNvPr>
          <p:cNvSpPr txBox="1">
            <a:spLocks noGrp="1"/>
          </p:cNvSpPr>
          <p:nvPr>
            <p:ph type="sldNum" sz="quarter" idx="8"/>
          </p:nvPr>
        </p:nvSpPr>
        <p:spPr/>
        <p:txBody>
          <a:bodyPr/>
          <a:lstStyle>
            <a:lvl1pPr>
              <a:defRPr/>
            </a:lvl1pPr>
          </a:lstStyle>
          <a:p>
            <a:pPr lvl="0"/>
            <a:fld id="{0A6CB017-DCFC-46AB-8EBE-29B7F3A29EBA}" type="slidenum">
              <a:t>‹#›</a:t>
            </a:fld>
            <a:endParaRPr lang="en-GB"/>
          </a:p>
        </p:txBody>
      </p:sp>
      <p:sp>
        <p:nvSpPr>
          <p:cNvPr id="4" name="Title 1">
            <a:extLst>
              <a:ext uri="{FF2B5EF4-FFF2-40B4-BE49-F238E27FC236}">
                <a16:creationId xmlns:a16="http://schemas.microsoft.com/office/drawing/2014/main" id="{72257705-AD15-C90B-F522-014343CB76DC}"/>
              </a:ext>
            </a:extLst>
          </p:cNvPr>
          <p:cNvSpPr txBox="1">
            <a:spLocks noGrp="1"/>
          </p:cNvSpPr>
          <p:nvPr>
            <p:ph type="title"/>
          </p:nvPr>
        </p:nvSpPr>
        <p:spPr>
          <a:xfrm>
            <a:off x="885669" y="1689097"/>
            <a:ext cx="6741075" cy="2389967"/>
          </a:xfrm>
        </p:spPr>
        <p:txBody>
          <a:bodyPr anchor="t"/>
          <a:lstStyle>
            <a:lvl1pPr>
              <a:defRPr sz="6000">
                <a:solidFill>
                  <a:srgbClr val="FFFFFF"/>
                </a:solidFill>
              </a:defRPr>
            </a:lvl1pPr>
          </a:lstStyle>
          <a:p>
            <a:pPr lvl="0"/>
            <a:r>
              <a:rPr lang="en-GB"/>
              <a:t>CLICK TO EDIT MASTER TITLE STYLE</a:t>
            </a:r>
          </a:p>
        </p:txBody>
      </p:sp>
    </p:spTree>
    <p:extLst>
      <p:ext uri="{BB962C8B-B14F-4D97-AF65-F5344CB8AC3E}">
        <p14:creationId xmlns:p14="http://schemas.microsoft.com/office/powerpoint/2010/main" val="22727656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E2365B1B-D462-6024-CA88-31559A4241BE}"/>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33D849FD-8E1C-0DD8-9BCD-408A39141CA7}"/>
              </a:ext>
            </a:extLst>
          </p:cNvPr>
          <p:cNvSpPr txBox="1">
            <a:spLocks noGrp="1"/>
          </p:cNvSpPr>
          <p:nvPr>
            <p:ph type="sldNum" sz="quarter" idx="8"/>
          </p:nvPr>
        </p:nvSpPr>
        <p:spPr/>
        <p:txBody>
          <a:bodyPr/>
          <a:lstStyle>
            <a:lvl1pPr>
              <a:defRPr/>
            </a:lvl1pPr>
          </a:lstStyle>
          <a:p>
            <a:pPr lvl="0"/>
            <a:fld id="{F40EDE58-92B0-4C88-9761-ADD9AC747594}" type="slidenum">
              <a:t>‹#›</a:t>
            </a:fld>
            <a:endParaRPr lang="en-GB"/>
          </a:p>
        </p:txBody>
      </p:sp>
      <p:sp>
        <p:nvSpPr>
          <p:cNvPr id="4" name="Title 1">
            <a:extLst>
              <a:ext uri="{FF2B5EF4-FFF2-40B4-BE49-F238E27FC236}">
                <a16:creationId xmlns:a16="http://schemas.microsoft.com/office/drawing/2014/main" id="{59AF6C5C-49C1-9F28-095D-A17A989E2CF0}"/>
              </a:ext>
            </a:extLst>
          </p:cNvPr>
          <p:cNvSpPr txBox="1">
            <a:spLocks noGrp="1"/>
          </p:cNvSpPr>
          <p:nvPr>
            <p:ph type="title"/>
          </p:nvPr>
        </p:nvSpPr>
        <p:spPr>
          <a:xfrm>
            <a:off x="885669" y="1687516"/>
            <a:ext cx="6741075" cy="2391549"/>
          </a:xfrm>
        </p:spPr>
        <p:txBody>
          <a:bodyPr anchor="t"/>
          <a:lstStyle>
            <a:lvl1pPr>
              <a:defRPr sz="6000">
                <a:solidFill>
                  <a:srgbClr val="FFFFFF"/>
                </a:solidFill>
              </a:defRPr>
            </a:lvl1pPr>
          </a:lstStyle>
          <a:p>
            <a:pPr lvl="0"/>
            <a:r>
              <a:rPr lang="en-GB"/>
              <a:t>CLICK TO EDIT MASTER TITLE STYLE</a:t>
            </a:r>
          </a:p>
        </p:txBody>
      </p:sp>
    </p:spTree>
    <p:extLst>
      <p:ext uri="{BB962C8B-B14F-4D97-AF65-F5344CB8AC3E}">
        <p14:creationId xmlns:p14="http://schemas.microsoft.com/office/powerpoint/2010/main" val="26720569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D8E1420E-1838-9B16-FD18-7F85D86C87BF}"/>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96303BC7-4BEE-5E3A-9743-90C4FDE8A7D1}"/>
              </a:ext>
            </a:extLst>
          </p:cNvPr>
          <p:cNvSpPr txBox="1">
            <a:spLocks noGrp="1"/>
          </p:cNvSpPr>
          <p:nvPr>
            <p:ph type="sldNum" sz="quarter" idx="8"/>
          </p:nvPr>
        </p:nvSpPr>
        <p:spPr/>
        <p:txBody>
          <a:bodyPr/>
          <a:lstStyle>
            <a:lvl1pPr>
              <a:defRPr/>
            </a:lvl1pPr>
          </a:lstStyle>
          <a:p>
            <a:pPr lvl="0"/>
            <a:fld id="{BD8B0785-7B79-4B96-B1FA-8537BE0CEA1B}" type="slidenum">
              <a:t>‹#›</a:t>
            </a:fld>
            <a:endParaRPr lang="en-GB"/>
          </a:p>
        </p:txBody>
      </p:sp>
      <p:sp>
        <p:nvSpPr>
          <p:cNvPr id="4" name="Title 1">
            <a:extLst>
              <a:ext uri="{FF2B5EF4-FFF2-40B4-BE49-F238E27FC236}">
                <a16:creationId xmlns:a16="http://schemas.microsoft.com/office/drawing/2014/main" id="{2EABA4CE-8B64-80D9-DE53-20DB416DDA7F}"/>
              </a:ext>
            </a:extLst>
          </p:cNvPr>
          <p:cNvSpPr txBox="1">
            <a:spLocks noGrp="1"/>
          </p:cNvSpPr>
          <p:nvPr>
            <p:ph type="title"/>
          </p:nvPr>
        </p:nvSpPr>
        <p:spPr>
          <a:xfrm>
            <a:off x="885669" y="1689097"/>
            <a:ext cx="6741075" cy="2389967"/>
          </a:xfrm>
        </p:spPr>
        <p:txBody>
          <a:bodyPr anchor="t"/>
          <a:lstStyle>
            <a:lvl1pPr>
              <a:defRPr sz="6000">
                <a:solidFill>
                  <a:srgbClr val="FFFFFF"/>
                </a:solidFill>
              </a:defRPr>
            </a:lvl1pPr>
          </a:lstStyle>
          <a:p>
            <a:pPr lvl="0"/>
            <a:r>
              <a:rPr lang="en-GB"/>
              <a:t>CLICK TO EDIT MASTER TITLE STYLE</a:t>
            </a:r>
          </a:p>
        </p:txBody>
      </p:sp>
    </p:spTree>
    <p:extLst>
      <p:ext uri="{BB962C8B-B14F-4D97-AF65-F5344CB8AC3E}">
        <p14:creationId xmlns:p14="http://schemas.microsoft.com/office/powerpoint/2010/main" val="678395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11" name="Rectangle 10"/>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a:p>
        </p:txBody>
      </p:sp>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p:cNvSpPr>
            <a:spLocks noGrp="1"/>
          </p:cNvSpPr>
          <p:nvPr>
            <p:ph type="ctrTitle" hasCustomPrompt="1"/>
          </p:nvPr>
        </p:nvSpPr>
        <p:spPr>
          <a:xfrm>
            <a:off x="885668" y="1689100"/>
            <a:ext cx="6741079" cy="2389964"/>
          </a:xfrm>
        </p:spPr>
        <p:txBody>
          <a:bodyPr vert="horz" lIns="0" tIns="0" rIns="0" bIns="0" anchor="t"/>
          <a:lstStyle>
            <a:lvl1pPr algn="l" rtl="0">
              <a:defRPr sz="6000"/>
            </a:lvl1pPr>
          </a:lstStyle>
          <a:p>
            <a:r>
              <a:rPr lang="en-GB" noProof="0"/>
              <a:t>CLICK TO EDIT MASTER TITLE STYLE</a:t>
            </a:r>
          </a:p>
        </p:txBody>
      </p:sp>
      <p:sp>
        <p:nvSpPr>
          <p:cNvPr id="3" name="Subtitle 2"/>
          <p:cNvSpPr>
            <a:spLocks noGrp="1"/>
          </p:cNvSpPr>
          <p:nvPr>
            <p:ph type="subTitle" idx="1" hasCustomPrompt="1"/>
          </p:nvPr>
        </p:nvSpPr>
        <p:spPr>
          <a:xfrm>
            <a:off x="885669" y="1069975"/>
            <a:ext cx="6741079" cy="349250"/>
          </a:xfrm>
        </p:spPr>
        <p:txBody>
          <a:bodyPr lIns="0" tIns="0" rIns="0" bIns="0">
            <a:noAutofit/>
          </a:bodyPr>
          <a:lstStyle>
            <a:lvl1pPr marL="0" indent="0" algn="l" rtl="0">
              <a:buNone/>
              <a:defRPr sz="20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p:cNvSpPr>
            <a:spLocks noGrp="1"/>
          </p:cNvSpPr>
          <p:nvPr>
            <p:ph type="ftr" sz="quarter" idx="11"/>
          </p:nvPr>
        </p:nvSpPr>
        <p:spPr/>
        <p:txBody>
          <a:bodyPr lIns="0" tIns="0" rIns="0" bIns="0"/>
          <a:lstStyle>
            <a:lvl1pPr rtl="0">
              <a:defRPr/>
            </a:lvl1pPr>
          </a:lstStyle>
          <a:p>
            <a:endParaRPr lang="en-GB"/>
          </a:p>
        </p:txBody>
      </p:sp>
      <p:sp>
        <p:nvSpPr>
          <p:cNvPr id="6" name="Slide Number Placeholder 5"/>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Section Header (Green)">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D6CEFAF5-3FCD-B01B-C4F2-7C78C96AF022}"/>
              </a:ext>
            </a:extLst>
          </p:cNvPr>
          <p:cNvSpPr txBox="1">
            <a:spLocks noGrp="1"/>
          </p:cNvSpPr>
          <p:nvPr>
            <p:ph type="ftr" sz="quarter" idx="9"/>
          </p:nvPr>
        </p:nvSpPr>
        <p:spPr/>
        <p:txBody>
          <a:bodyPr/>
          <a:lstStyle>
            <a:lvl1pPr>
              <a:defRPr/>
            </a:lvl1pPr>
          </a:lstStyle>
          <a:p>
            <a:pPr lvl="0"/>
            <a:endParaRPr lang="en-GB"/>
          </a:p>
        </p:txBody>
      </p:sp>
      <p:sp>
        <p:nvSpPr>
          <p:cNvPr id="3" name="Slide Number Placeholder 5">
            <a:extLst>
              <a:ext uri="{FF2B5EF4-FFF2-40B4-BE49-F238E27FC236}">
                <a16:creationId xmlns:a16="http://schemas.microsoft.com/office/drawing/2014/main" id="{E929546C-D1ED-E7A1-834C-4591D3FF688F}"/>
              </a:ext>
            </a:extLst>
          </p:cNvPr>
          <p:cNvSpPr txBox="1">
            <a:spLocks noGrp="1"/>
          </p:cNvSpPr>
          <p:nvPr>
            <p:ph type="sldNum" sz="quarter" idx="8"/>
          </p:nvPr>
        </p:nvSpPr>
        <p:spPr/>
        <p:txBody>
          <a:bodyPr/>
          <a:lstStyle>
            <a:lvl1pPr>
              <a:defRPr/>
            </a:lvl1pPr>
          </a:lstStyle>
          <a:p>
            <a:pPr lvl="0"/>
            <a:fld id="{85CE6A86-0BD7-4ABF-AE56-DFDC02691F56}" type="slidenum">
              <a:t>‹#›</a:t>
            </a:fld>
            <a:endParaRPr lang="en-GB"/>
          </a:p>
        </p:txBody>
      </p:sp>
      <p:sp>
        <p:nvSpPr>
          <p:cNvPr id="4" name="Title 1">
            <a:extLst>
              <a:ext uri="{FF2B5EF4-FFF2-40B4-BE49-F238E27FC236}">
                <a16:creationId xmlns:a16="http://schemas.microsoft.com/office/drawing/2014/main" id="{EEC8F967-41C0-256B-A618-40B62F7BBA86}"/>
              </a:ext>
            </a:extLst>
          </p:cNvPr>
          <p:cNvSpPr txBox="1">
            <a:spLocks noGrp="1"/>
          </p:cNvSpPr>
          <p:nvPr>
            <p:ph type="title"/>
          </p:nvPr>
        </p:nvSpPr>
        <p:spPr>
          <a:xfrm>
            <a:off x="885669" y="1689097"/>
            <a:ext cx="6741075" cy="2389967"/>
          </a:xfrm>
        </p:spPr>
        <p:txBody>
          <a:bodyPr anchor="t"/>
          <a:lstStyle>
            <a:lvl1pPr>
              <a:defRPr sz="6000">
                <a:solidFill>
                  <a:srgbClr val="00146D"/>
                </a:solidFill>
              </a:defRPr>
            </a:lvl1pPr>
          </a:lstStyle>
          <a:p>
            <a:pPr lvl="0"/>
            <a:r>
              <a:rPr lang="en-GB"/>
              <a:t>CLICK TO EDIT MASTER TITLE STYLE</a:t>
            </a:r>
          </a:p>
        </p:txBody>
      </p:sp>
    </p:spTree>
    <p:extLst>
      <p:ext uri="{BB962C8B-B14F-4D97-AF65-F5344CB8AC3E}">
        <p14:creationId xmlns:p14="http://schemas.microsoft.com/office/powerpoint/2010/main" val="14858815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D3AC35D8-4BCB-F27F-948D-497E39047684}"/>
              </a:ext>
            </a:extLst>
          </p:cNvPr>
          <p:cNvSpPr txBox="1">
            <a:spLocks noGrp="1"/>
          </p:cNvSpPr>
          <p:nvPr>
            <p:ph idx="1"/>
          </p:nvPr>
        </p:nvSpPr>
        <p:spPr>
          <a:xfrm>
            <a:off x="6185998" y="1247771"/>
            <a:ext cx="5825029" cy="4691064"/>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Footer Placeholder 5">
            <a:extLst>
              <a:ext uri="{FF2B5EF4-FFF2-40B4-BE49-F238E27FC236}">
                <a16:creationId xmlns:a16="http://schemas.microsoft.com/office/drawing/2014/main" id="{40AE3D54-1CBA-B2C3-FB04-80C7CEEEBE57}"/>
              </a:ext>
            </a:extLst>
          </p:cNvPr>
          <p:cNvSpPr txBox="1">
            <a:spLocks noGrp="1"/>
          </p:cNvSpPr>
          <p:nvPr>
            <p:ph type="ftr" sz="quarter" idx="9"/>
          </p:nvPr>
        </p:nvSpPr>
        <p:spPr/>
        <p:txBody>
          <a:bodyPr/>
          <a:lstStyle>
            <a:lvl1pPr>
              <a:defRPr/>
            </a:lvl1pPr>
          </a:lstStyle>
          <a:p>
            <a:pPr lvl="0"/>
            <a:endParaRPr lang="en-GB"/>
          </a:p>
        </p:txBody>
      </p:sp>
      <p:sp>
        <p:nvSpPr>
          <p:cNvPr id="4" name="Slide Number Placeholder 6">
            <a:extLst>
              <a:ext uri="{FF2B5EF4-FFF2-40B4-BE49-F238E27FC236}">
                <a16:creationId xmlns:a16="http://schemas.microsoft.com/office/drawing/2014/main" id="{F9E023CE-BC7F-2225-1DDA-89D7E361E7B7}"/>
              </a:ext>
            </a:extLst>
          </p:cNvPr>
          <p:cNvSpPr txBox="1">
            <a:spLocks noGrp="1"/>
          </p:cNvSpPr>
          <p:nvPr>
            <p:ph type="sldNum" sz="quarter" idx="8"/>
          </p:nvPr>
        </p:nvSpPr>
        <p:spPr/>
        <p:txBody>
          <a:bodyPr/>
          <a:lstStyle>
            <a:lvl1pPr>
              <a:defRPr/>
            </a:lvl1pPr>
          </a:lstStyle>
          <a:p>
            <a:pPr lvl="0"/>
            <a:fld id="{C859E263-8236-4A8E-8D01-0D143487277D}" type="slidenum">
              <a:t>‹#›</a:t>
            </a:fld>
            <a:endParaRPr lang="en-GB"/>
          </a:p>
        </p:txBody>
      </p:sp>
    </p:spTree>
    <p:extLst>
      <p:ext uri="{BB962C8B-B14F-4D97-AF65-F5344CB8AC3E}">
        <p14:creationId xmlns:p14="http://schemas.microsoft.com/office/powerpoint/2010/main" val="1731579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24DC07B1-7044-1AD9-BAC6-2509245D7670}"/>
              </a:ext>
            </a:extLst>
          </p:cNvPr>
          <p:cNvSpPr txBox="1">
            <a:spLocks noGrp="1"/>
          </p:cNvSpPr>
          <p:nvPr>
            <p:ph type="body" idx="4294967295"/>
          </p:nvPr>
        </p:nvSpPr>
        <p:spPr>
          <a:xfrm>
            <a:off x="6186492" y="1247781"/>
            <a:ext cx="5824535" cy="587977"/>
          </a:xfrm>
        </p:spPr>
        <p:txBody>
          <a:bodyPr anchor="b"/>
          <a:lstStyle>
            <a:lvl1pPr marL="0" indent="0">
              <a:buNone/>
              <a:defRPr sz="2400"/>
            </a:lvl1pPr>
          </a:lstStyle>
          <a:p>
            <a:pPr lvl="0"/>
            <a:r>
              <a:rPr lang="en-GB"/>
              <a:t>Click to edit Master text styles</a:t>
            </a:r>
          </a:p>
        </p:txBody>
      </p:sp>
      <p:sp>
        <p:nvSpPr>
          <p:cNvPr id="3" name="Content Placeholder 5">
            <a:extLst>
              <a:ext uri="{FF2B5EF4-FFF2-40B4-BE49-F238E27FC236}">
                <a16:creationId xmlns:a16="http://schemas.microsoft.com/office/drawing/2014/main" id="{D74E94F5-3D2C-7B24-76B0-5A8F7356B4A1}"/>
              </a:ext>
            </a:extLst>
          </p:cNvPr>
          <p:cNvSpPr txBox="1">
            <a:spLocks noGrp="1"/>
          </p:cNvSpPr>
          <p:nvPr>
            <p:ph idx="4294967295"/>
          </p:nvPr>
        </p:nvSpPr>
        <p:spPr>
          <a:xfrm>
            <a:off x="6186492" y="2014542"/>
            <a:ext cx="5824535" cy="3924303"/>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Footer Placeholder 7">
            <a:extLst>
              <a:ext uri="{FF2B5EF4-FFF2-40B4-BE49-F238E27FC236}">
                <a16:creationId xmlns:a16="http://schemas.microsoft.com/office/drawing/2014/main" id="{AEABC5E6-BB84-834F-5835-5FDA70605D8F}"/>
              </a:ext>
            </a:extLst>
          </p:cNvPr>
          <p:cNvSpPr txBox="1">
            <a:spLocks noGrp="1"/>
          </p:cNvSpPr>
          <p:nvPr>
            <p:ph type="ftr" sz="quarter" idx="9"/>
          </p:nvPr>
        </p:nvSpPr>
        <p:spPr/>
        <p:txBody>
          <a:bodyPr/>
          <a:lstStyle>
            <a:lvl1pPr>
              <a:defRPr/>
            </a:lvl1pPr>
          </a:lstStyle>
          <a:p>
            <a:pPr lvl="0"/>
            <a:endParaRPr lang="en-GB"/>
          </a:p>
        </p:txBody>
      </p:sp>
      <p:sp>
        <p:nvSpPr>
          <p:cNvPr id="5" name="Slide Number Placeholder 8">
            <a:extLst>
              <a:ext uri="{FF2B5EF4-FFF2-40B4-BE49-F238E27FC236}">
                <a16:creationId xmlns:a16="http://schemas.microsoft.com/office/drawing/2014/main" id="{D3D9C150-93B4-2203-B5CC-4B0EFE253864}"/>
              </a:ext>
            </a:extLst>
          </p:cNvPr>
          <p:cNvSpPr txBox="1">
            <a:spLocks noGrp="1"/>
          </p:cNvSpPr>
          <p:nvPr>
            <p:ph type="sldNum" sz="quarter" idx="8"/>
          </p:nvPr>
        </p:nvSpPr>
        <p:spPr/>
        <p:txBody>
          <a:bodyPr/>
          <a:lstStyle>
            <a:lvl1pPr>
              <a:defRPr/>
            </a:lvl1pPr>
          </a:lstStyle>
          <a:p>
            <a:pPr lvl="0"/>
            <a:fld id="{C24A3F77-FB8A-43EF-B80C-307CC2CB5CC4}" type="slidenum">
              <a:t>‹#›</a:t>
            </a:fld>
            <a:endParaRPr lang="en-GB"/>
          </a:p>
        </p:txBody>
      </p:sp>
      <p:sp>
        <p:nvSpPr>
          <p:cNvPr id="6" name="Title 1">
            <a:extLst>
              <a:ext uri="{FF2B5EF4-FFF2-40B4-BE49-F238E27FC236}">
                <a16:creationId xmlns:a16="http://schemas.microsoft.com/office/drawing/2014/main" id="{BBBFE50F-4321-2990-2680-540A1B732CA0}"/>
              </a:ext>
            </a:extLst>
          </p:cNvPr>
          <p:cNvSpPr txBox="1">
            <a:spLocks noGrp="1"/>
          </p:cNvSpPr>
          <p:nvPr>
            <p:ph type="title"/>
          </p:nvPr>
        </p:nvSpPr>
        <p:spPr>
          <a:xfrm>
            <a:off x="179386" y="179386"/>
            <a:ext cx="11831641" cy="709610"/>
          </a:xfrm>
        </p:spPr>
        <p:txBody>
          <a:bodyPr/>
          <a:lstStyle>
            <a:lvl1pPr>
              <a:defRPr cap="none"/>
            </a:lvl1pPr>
          </a:lstStyle>
          <a:p>
            <a:pPr lvl="0"/>
            <a:r>
              <a:rPr lang="en-GB"/>
              <a:t>Click to edit master title style</a:t>
            </a:r>
          </a:p>
        </p:txBody>
      </p:sp>
    </p:spTree>
    <p:extLst>
      <p:ext uri="{BB962C8B-B14F-4D97-AF65-F5344CB8AC3E}">
        <p14:creationId xmlns:p14="http://schemas.microsoft.com/office/powerpoint/2010/main" val="31422828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C42FF604-0CC5-7D5F-A557-3B73EB53E3E8}"/>
              </a:ext>
            </a:extLst>
          </p:cNvPr>
          <p:cNvSpPr txBox="1">
            <a:spLocks noGrp="1"/>
          </p:cNvSpPr>
          <p:nvPr>
            <p:ph type="sldNum" sz="quarter" idx="8"/>
          </p:nvPr>
        </p:nvSpPr>
        <p:spPr/>
        <p:txBody>
          <a:bodyPr/>
          <a:lstStyle>
            <a:lvl1pPr>
              <a:defRPr/>
            </a:lvl1pPr>
          </a:lstStyle>
          <a:p>
            <a:pPr lvl="0"/>
            <a:fld id="{F130919F-0C69-4144-9641-E0A60D21BBF7}" type="slidenum">
              <a:t>‹#›</a:t>
            </a:fld>
            <a:endParaRPr lang="en-GB"/>
          </a:p>
        </p:txBody>
      </p:sp>
    </p:spTree>
    <p:extLst>
      <p:ext uri="{BB962C8B-B14F-4D97-AF65-F5344CB8AC3E}">
        <p14:creationId xmlns:p14="http://schemas.microsoft.com/office/powerpoint/2010/main" val="676176919"/>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6859601"/>
      </p:ext>
    </p:extLst>
  </p:cSld>
  <p:clrMapOvr>
    <a:masterClrMapping/>
  </p:clrMapOvr>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25C38568-B3DC-1221-8C9B-E7761FB5554A}"/>
              </a:ext>
            </a:extLst>
          </p:cNvPr>
          <p:cNvSpPr txBox="1">
            <a:spLocks noGrp="1"/>
          </p:cNvSpPr>
          <p:nvPr>
            <p:ph type="body" idx="2"/>
          </p:nvPr>
        </p:nvSpPr>
        <p:spPr>
          <a:xfrm>
            <a:off x="179386" y="2014542"/>
            <a:ext cx="5824535" cy="3924303"/>
          </a:xfrm>
        </p:spPr>
        <p:txBody>
          <a:bodyPr/>
          <a:lstStyle>
            <a:lvl1pPr marL="0" indent="0">
              <a:buNone/>
              <a:defRPr sz="1600"/>
            </a:lvl1pPr>
          </a:lstStyle>
          <a:p>
            <a:pPr lvl="0"/>
            <a:r>
              <a:rPr lang="en-GB"/>
              <a:t>Click to edit Master text styles</a:t>
            </a:r>
          </a:p>
        </p:txBody>
      </p:sp>
      <p:sp>
        <p:nvSpPr>
          <p:cNvPr id="3" name="Footer Placeholder 5">
            <a:extLst>
              <a:ext uri="{FF2B5EF4-FFF2-40B4-BE49-F238E27FC236}">
                <a16:creationId xmlns:a16="http://schemas.microsoft.com/office/drawing/2014/main" id="{C54DF011-C23C-6343-853F-C676707FE659}"/>
              </a:ext>
            </a:extLst>
          </p:cNvPr>
          <p:cNvSpPr txBox="1">
            <a:spLocks noGrp="1"/>
          </p:cNvSpPr>
          <p:nvPr>
            <p:ph type="ftr" sz="quarter" idx="9"/>
          </p:nvPr>
        </p:nvSpPr>
        <p:spPr/>
        <p:txBody>
          <a:bodyPr/>
          <a:lstStyle>
            <a:lvl1pPr>
              <a:defRPr/>
            </a:lvl1pPr>
          </a:lstStyle>
          <a:p>
            <a:pPr lvl="0"/>
            <a:endParaRPr lang="en-GB"/>
          </a:p>
        </p:txBody>
      </p:sp>
      <p:sp>
        <p:nvSpPr>
          <p:cNvPr id="4" name="Slide Number Placeholder 6">
            <a:extLst>
              <a:ext uri="{FF2B5EF4-FFF2-40B4-BE49-F238E27FC236}">
                <a16:creationId xmlns:a16="http://schemas.microsoft.com/office/drawing/2014/main" id="{DDFE3555-CEFE-0064-2AB7-D078784DF188}"/>
              </a:ext>
            </a:extLst>
          </p:cNvPr>
          <p:cNvSpPr txBox="1">
            <a:spLocks noGrp="1"/>
          </p:cNvSpPr>
          <p:nvPr>
            <p:ph type="sldNum" sz="quarter" idx="8"/>
          </p:nvPr>
        </p:nvSpPr>
        <p:spPr/>
        <p:txBody>
          <a:bodyPr/>
          <a:lstStyle>
            <a:lvl1pPr>
              <a:defRPr/>
            </a:lvl1pPr>
          </a:lstStyle>
          <a:p>
            <a:pPr lvl="0"/>
            <a:fld id="{88996D9C-01E2-4528-8E9C-5688C5E2E439}" type="slidenum">
              <a:t>‹#›</a:t>
            </a:fld>
            <a:endParaRPr lang="en-GB"/>
          </a:p>
        </p:txBody>
      </p:sp>
    </p:spTree>
    <p:extLst>
      <p:ext uri="{BB962C8B-B14F-4D97-AF65-F5344CB8AC3E}">
        <p14:creationId xmlns:p14="http://schemas.microsoft.com/office/powerpoint/2010/main" val="14687715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Footer Placeholder 5">
            <a:extLst>
              <a:ext uri="{FF2B5EF4-FFF2-40B4-BE49-F238E27FC236}">
                <a16:creationId xmlns:a16="http://schemas.microsoft.com/office/drawing/2014/main" id="{28377EF2-3AAA-D4A7-F60D-3F26109DD090}"/>
              </a:ext>
            </a:extLst>
          </p:cNvPr>
          <p:cNvSpPr txBox="1">
            <a:spLocks noGrp="1"/>
          </p:cNvSpPr>
          <p:nvPr>
            <p:ph type="ftr" sz="quarter" idx="9"/>
          </p:nvPr>
        </p:nvSpPr>
        <p:spPr/>
        <p:txBody>
          <a:bodyPr/>
          <a:lstStyle>
            <a:lvl1pPr>
              <a:defRPr/>
            </a:lvl1pPr>
          </a:lstStyle>
          <a:p>
            <a:pPr lvl="0"/>
            <a:endParaRPr lang="en-GB"/>
          </a:p>
        </p:txBody>
      </p:sp>
      <p:sp>
        <p:nvSpPr>
          <p:cNvPr id="3" name="Slide Number Placeholder 6">
            <a:extLst>
              <a:ext uri="{FF2B5EF4-FFF2-40B4-BE49-F238E27FC236}">
                <a16:creationId xmlns:a16="http://schemas.microsoft.com/office/drawing/2014/main" id="{2DEA9D50-A52E-16DA-7ECC-DD111C56D4F7}"/>
              </a:ext>
            </a:extLst>
          </p:cNvPr>
          <p:cNvSpPr txBox="1">
            <a:spLocks noGrp="1"/>
          </p:cNvSpPr>
          <p:nvPr>
            <p:ph type="sldNum" sz="quarter" idx="8"/>
          </p:nvPr>
        </p:nvSpPr>
        <p:spPr/>
        <p:txBody>
          <a:bodyPr/>
          <a:lstStyle>
            <a:lvl1pPr>
              <a:defRPr/>
            </a:lvl1pPr>
          </a:lstStyle>
          <a:p>
            <a:pPr lvl="0"/>
            <a:fld id="{01261409-5FF1-45A5-B473-423E5DB4B9E3}" type="slidenum">
              <a:t>‹#›</a:t>
            </a:fld>
            <a:endParaRPr lang="en-GB"/>
          </a:p>
        </p:txBody>
      </p:sp>
      <p:sp>
        <p:nvSpPr>
          <p:cNvPr id="4" name="Picture Placeholder 4">
            <a:extLst>
              <a:ext uri="{FF2B5EF4-FFF2-40B4-BE49-F238E27FC236}">
                <a16:creationId xmlns:a16="http://schemas.microsoft.com/office/drawing/2014/main" id="{8B477721-52B3-000A-2BA3-E040C41FAEE6}"/>
              </a:ext>
            </a:extLst>
          </p:cNvPr>
          <p:cNvSpPr txBox="1">
            <a:spLocks noGrp="1"/>
          </p:cNvSpPr>
          <p:nvPr>
            <p:ph type="pic" idx="4294967295"/>
          </p:nvPr>
        </p:nvSpPr>
        <p:spPr>
          <a:xfrm>
            <a:off x="6186492" y="178591"/>
            <a:ext cx="5824535" cy="5757867"/>
          </a:xfrm>
        </p:spPr>
        <p:txBody>
          <a:bodyPr/>
          <a:lstStyle>
            <a:lvl1pPr>
              <a:defRPr/>
            </a:lvl1pPr>
          </a:lstStyle>
          <a:p>
            <a:pPr lvl="0"/>
            <a:r>
              <a:rPr lang="en-GB"/>
              <a:t>Click to select placeholder - insert picture from the Templafy library</a:t>
            </a:r>
          </a:p>
        </p:txBody>
      </p:sp>
    </p:spTree>
    <p:extLst>
      <p:ext uri="{BB962C8B-B14F-4D97-AF65-F5344CB8AC3E}">
        <p14:creationId xmlns:p14="http://schemas.microsoft.com/office/powerpoint/2010/main" val="19821205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Legal Disclaimer">
    <p:spTree>
      <p:nvGrpSpPr>
        <p:cNvPr id="1" name=""/>
        <p:cNvGrpSpPr/>
        <p:nvPr/>
      </p:nvGrpSpPr>
      <p:grpSpPr>
        <a:xfrm>
          <a:off x="0" y="0"/>
          <a:ext cx="0" cy="0"/>
          <a:chOff x="0" y="0"/>
          <a:chExt cx="0" cy="0"/>
        </a:xfrm>
      </p:grpSpPr>
      <p:pic>
        <p:nvPicPr>
          <p:cNvPr id="2" name="Picture 4" descr="A black background with a black square&#10;&#10;Description automatically generated with medium confidence">
            <a:extLst>
              <a:ext uri="{FF2B5EF4-FFF2-40B4-BE49-F238E27FC236}">
                <a16:creationId xmlns:a16="http://schemas.microsoft.com/office/drawing/2014/main" id="{095BAAE9-7475-55D4-7C63-69610AF65537}"/>
              </a:ext>
            </a:extLst>
          </p:cNvPr>
          <p:cNvPicPr>
            <a:picLocks noChangeAspect="1"/>
          </p:cNvPicPr>
          <p:nvPr/>
        </p:nvPicPr>
        <p:blipFill>
          <a:blip r:embed="rId2"/>
          <a:stretch>
            <a:fillRect/>
          </a:stretch>
        </p:blipFill>
        <p:spPr>
          <a:xfrm>
            <a:off x="4304345" y="2062877"/>
            <a:ext cx="3583304" cy="3060524"/>
          </a:xfrm>
          <a:prstGeom prst="rect">
            <a:avLst/>
          </a:prstGeom>
          <a:noFill/>
          <a:ln>
            <a:noFill/>
          </a:ln>
        </p:spPr>
      </p:pic>
    </p:spTree>
    <p:extLst>
      <p:ext uri="{BB962C8B-B14F-4D97-AF65-F5344CB8AC3E}">
        <p14:creationId xmlns:p14="http://schemas.microsoft.com/office/powerpoint/2010/main" val="26329744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6412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rtl="0">
              <a:defRPr cap="none"/>
            </a:lvl1pPr>
          </a:lstStyle>
          <a:p>
            <a:r>
              <a:rPr lang="en-GB" noProof="0"/>
              <a:t>Click to edit master title style</a:t>
            </a: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lvl1pPr rtl="0">
              <a:defRPr/>
            </a:lvl1pPr>
          </a:lstStyle>
          <a:p>
            <a:endParaRPr lang="en-GB"/>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lvl1pPr rtl="0">
              <a:defRPr/>
            </a:lvl1pPr>
          </a:lstStyle>
          <a:p>
            <a:fld id="{ABB6D191-819E-455F-BC39-F2381519C0C1}" type="slidenum">
              <a:rPr lang="en-GB" smtClean="0"/>
              <a:pPr/>
              <a:t>‹#›</a:t>
            </a:fld>
            <a:endParaRPr lang="en-GB"/>
          </a:p>
        </p:txBody>
      </p:sp>
    </p:spTree>
    <p:extLst>
      <p:ext uri="{BB962C8B-B14F-4D97-AF65-F5344CB8AC3E}">
        <p14:creationId xmlns:p14="http://schemas.microsoft.com/office/powerpoint/2010/main" val="630186636"/>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Left+1Right">
    <p:spTree>
      <p:nvGrpSpPr>
        <p:cNvPr id="1" name=""/>
        <p:cNvGrpSpPr/>
        <p:nvPr/>
      </p:nvGrpSpPr>
      <p:grpSpPr>
        <a:xfrm>
          <a:off x="0" y="0"/>
          <a:ext cx="0" cy="0"/>
          <a:chOff x="0" y="0"/>
          <a:chExt cx="0" cy="0"/>
        </a:xfrm>
      </p:grpSpPr>
      <p:grpSp>
        <p:nvGrpSpPr>
          <p:cNvPr id="10" name="ctsGrid"/>
          <p:cNvGrpSpPr/>
          <p:nvPr userDrawn="1"/>
        </p:nvGrpSpPr>
        <p:grpSpPr>
          <a:xfrm>
            <a:off x="6022438" y="-292873"/>
            <a:ext cx="145043" cy="7439922"/>
            <a:chOff x="6022438" y="-292873"/>
            <a:chExt cx="145043" cy="7439922"/>
          </a:xfrm>
        </p:grpSpPr>
        <p:grpSp>
          <p:nvGrpSpPr>
            <p:cNvPr id="2" name="Group 1"/>
            <p:cNvGrpSpPr/>
            <p:nvPr userDrawn="1"/>
          </p:nvGrpSpPr>
          <p:grpSpPr>
            <a:xfrm>
              <a:off x="6022438" y="-292873"/>
              <a:ext cx="145043" cy="270000"/>
              <a:chOff x="6022438" y="-292873"/>
              <a:chExt cx="145043" cy="270000"/>
            </a:xfrm>
          </p:grpSpPr>
          <p:cxnSp>
            <p:nvCxnSpPr>
              <p:cNvPr id="9" name="Straight Arrow Connector 8"/>
              <p:cNvCxnSpPr/>
              <p:nvPr userDrawn="1"/>
            </p:nvCxnSpPr>
            <p:spPr bwMode="gray">
              <a:xfrm rot="16200000" flipH="1">
                <a:off x="5887438" y="-157873"/>
                <a:ext cx="270000" cy="0"/>
              </a:xfrm>
              <a:prstGeom prst="straightConnector1">
                <a:avLst/>
              </a:prstGeom>
              <a:ln w="3175">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userDrawn="1"/>
            </p:nvCxnSpPr>
            <p:spPr bwMode="gray">
              <a:xfrm rot="16200000" flipH="1">
                <a:off x="6032481" y="-157873"/>
                <a:ext cx="270000" cy="0"/>
              </a:xfrm>
              <a:prstGeom prst="straightConnector1">
                <a:avLst/>
              </a:prstGeom>
              <a:ln w="3175">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4" name="Group 3"/>
            <p:cNvGrpSpPr/>
            <p:nvPr userDrawn="1"/>
          </p:nvGrpSpPr>
          <p:grpSpPr>
            <a:xfrm>
              <a:off x="6022438" y="6877049"/>
              <a:ext cx="145043" cy="270000"/>
              <a:chOff x="6022438" y="6877049"/>
              <a:chExt cx="145043" cy="270000"/>
            </a:xfrm>
          </p:grpSpPr>
          <p:cxnSp>
            <p:nvCxnSpPr>
              <p:cNvPr id="13" name="Straight Arrow Connector 12"/>
              <p:cNvCxnSpPr/>
              <p:nvPr userDrawn="1"/>
            </p:nvCxnSpPr>
            <p:spPr bwMode="gray">
              <a:xfrm rot="5400000" flipH="1">
                <a:off x="6032481" y="7012049"/>
                <a:ext cx="270000" cy="0"/>
              </a:xfrm>
              <a:prstGeom prst="straightConnector1">
                <a:avLst/>
              </a:prstGeom>
              <a:ln w="3175">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userDrawn="1"/>
            </p:nvCxnSpPr>
            <p:spPr bwMode="gray">
              <a:xfrm rot="5400000" flipH="1">
                <a:off x="5887438" y="7012049"/>
                <a:ext cx="270000" cy="0"/>
              </a:xfrm>
              <a:prstGeom prst="straightConnector1">
                <a:avLst/>
              </a:prstGeom>
              <a:ln w="3175">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grpSp>
      <p:sp>
        <p:nvSpPr>
          <p:cNvPr id="8" name="Title 1"/>
          <p:cNvSpPr>
            <a:spLocks noGrp="1"/>
          </p:cNvSpPr>
          <p:nvPr userDrawn="1">
            <p:ph type="title"/>
          </p:nvPr>
        </p:nvSpPr>
        <p:spPr bwMode="gray">
          <a:xfrm>
            <a:off x="228019" y="551905"/>
            <a:ext cx="11736000" cy="536400"/>
          </a:xfrm>
        </p:spPr>
        <p:txBody>
          <a:bodyPr/>
          <a:lstStyle/>
          <a:p>
            <a:r>
              <a:rPr lang="en-GB"/>
              <a:t>Click to edit Master title style</a:t>
            </a:r>
            <a:endParaRPr lang="en-GB" dirty="0"/>
          </a:p>
        </p:txBody>
      </p:sp>
      <p:sp>
        <p:nvSpPr>
          <p:cNvPr id="7" name="Content Placeholder"/>
          <p:cNvSpPr>
            <a:spLocks noGrp="1"/>
          </p:cNvSpPr>
          <p:nvPr userDrawn="1">
            <p:ph sz="quarter" idx="13" hasCustomPrompt="1"/>
          </p:nvPr>
        </p:nvSpPr>
        <p:spPr bwMode="gray">
          <a:xfrm>
            <a:off x="228019" y="1630711"/>
            <a:ext cx="5796000" cy="4427189"/>
          </a:xfrm>
        </p:spPr>
        <p:txBody>
          <a:bodyPr/>
          <a:lstStyle>
            <a:lvl1pPr>
              <a:defRPr baseline="0"/>
            </a:lvl1pPr>
            <a:lvl5pPr>
              <a:defRPr/>
            </a:lvl5pPr>
          </a:lstStyle>
          <a:p>
            <a:pPr lvl="0"/>
            <a:r>
              <a:rPr lang="en-GB" noProof="0" dirty="0"/>
              <a:t>&lt;Click to insert text. To format sub-headings or bullets, select the appropriate text style from the LO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16" name="Content Placeholder"/>
          <p:cNvSpPr>
            <a:spLocks noGrp="1"/>
          </p:cNvSpPr>
          <p:nvPr userDrawn="1">
            <p:ph sz="quarter" idx="14" hasCustomPrompt="1"/>
          </p:nvPr>
        </p:nvSpPr>
        <p:spPr bwMode="gray">
          <a:xfrm>
            <a:off x="6168019" y="1630711"/>
            <a:ext cx="5796000" cy="4427189"/>
          </a:xfrm>
        </p:spPr>
        <p:txBody>
          <a:bodyPr/>
          <a:lstStyle>
            <a:lvl1pPr>
              <a:defRPr baseline="0"/>
            </a:lvl1pPr>
            <a:lvl5pPr>
              <a:defRPr/>
            </a:lvl5pPr>
          </a:lstStyle>
          <a:p>
            <a:pPr lvl="0"/>
            <a:r>
              <a:rPr lang="en-GB" noProof="0" dirty="0"/>
              <a:t>&lt;Click to insert text. To format sub-headings or bullets, select the appropriate text style from the LO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ctsLYN" hidden="1"/>
          <p:cNvSpPr/>
          <p:nvPr userDrawn="1"/>
        </p:nvSpPr>
        <p:spPr>
          <a:xfrm>
            <a:off x="0" y="0"/>
            <a:ext cx="0" cy="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sz="1600" dirty="0"/>
              <a:t>1Left+1Right</a:t>
            </a:r>
          </a:p>
        </p:txBody>
      </p:sp>
    </p:spTree>
    <p:extLst>
      <p:ext uri="{BB962C8B-B14F-4D97-AF65-F5344CB8AC3E}">
        <p14:creationId xmlns:p14="http://schemas.microsoft.com/office/powerpoint/2010/main" val="2157618706"/>
      </p:ext>
    </p:extLst>
  </p:cSld>
  <p:clrMapOvr>
    <a:masterClrMapping/>
  </p:clrMapOvr>
  <p:extLst>
    <p:ext uri="{DCECCB84-F9BA-43D5-87BE-67443E8EF086}">
      <p15:sldGuideLst xmlns:p15="http://schemas.microsoft.com/office/powerpoint/2012/main">
        <p15:guide id="4" orient="horz" pos="686">
          <p15:clr>
            <a:srgbClr val="A4A3A4"/>
          </p15:clr>
        </p15:guide>
        <p15:guide id="5" orient="horz" pos="1026">
          <p15:clr>
            <a:srgbClr val="A4A3A4"/>
          </p15:clr>
        </p15:guide>
        <p15:guide id="7" pos="3795">
          <p15:clr>
            <a:srgbClr val="A4A3A4"/>
          </p15:clr>
        </p15:guide>
        <p15:guide id="8" pos="3885">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p:cNvSpPr/>
          <p:nvPr/>
        </p:nvSpPr>
        <p:spPr>
          <a:xfrm>
            <a:off x="539749" y="540000"/>
            <a:ext cx="11109600"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endParaRPr lang="en-GB" sz="3600" b="1" noProof="0">
              <a:solidFill>
                <a:schemeClr val="tx2"/>
              </a:solidFill>
            </a:endParaRPr>
          </a:p>
        </p:txBody>
      </p:sp>
      <p:sp>
        <p:nvSpPr>
          <p:cNvPr id="3" name="Subtitle 2"/>
          <p:cNvSpPr>
            <a:spLocks noGrp="1"/>
          </p:cNvSpPr>
          <p:nvPr>
            <p:ph type="subTitle" idx="1" hasCustomPrompt="1"/>
          </p:nvPr>
        </p:nvSpPr>
        <p:spPr>
          <a:xfrm>
            <a:off x="885669" y="1069975"/>
            <a:ext cx="6741079" cy="349250"/>
          </a:xfrm>
        </p:spPr>
        <p:txBody>
          <a:bodyPr lIns="0" tIns="0" rIns="0" bIns="0">
            <a:no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p:cNvSpPr>
            <a:spLocks noGrp="1"/>
          </p:cNvSpPr>
          <p:nvPr>
            <p:ph type="ftr" sz="quarter" idx="11"/>
          </p:nvPr>
        </p:nvSpPr>
        <p:spPr/>
        <p:txBody>
          <a:bodyPr lIns="0" tIns="0" rIns="0" bIns="0"/>
          <a:lstStyle>
            <a:lvl1pPr rtl="0">
              <a:defRPr/>
            </a:lvl1pPr>
          </a:lstStyle>
          <a:p>
            <a:endParaRPr lang="en-GB"/>
          </a:p>
        </p:txBody>
      </p:sp>
      <p:sp>
        <p:nvSpPr>
          <p:cNvPr id="6" name="Slide Number Placeholder 5"/>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
        <p:nvSpPr>
          <p:cNvPr id="11" name="Title 1"/>
          <p:cNvSpPr>
            <a:spLocks noGrp="1"/>
          </p:cNvSpPr>
          <p:nvPr>
            <p:ph type="ctrTitle" hasCustomPrompt="1"/>
          </p:nvPr>
        </p:nvSpPr>
        <p:spPr>
          <a:xfrm>
            <a:off x="885668" y="1689100"/>
            <a:ext cx="6741079" cy="2389964"/>
          </a:xfrm>
        </p:spPr>
        <p:txBody>
          <a:bodyPr vert="horz" lIns="0" tIns="0" rIns="0" bIns="0" anchor="t"/>
          <a:lstStyle>
            <a:lvl1pPr algn="l" rtl="0">
              <a:defRPr sz="6000">
                <a:solidFill>
                  <a:schemeClr val="bg1"/>
                </a:solidFill>
              </a:defRPr>
            </a:lvl1pPr>
          </a:lstStyle>
          <a:p>
            <a:r>
              <a:rPr lang="en-GB" noProof="0"/>
              <a:t>CLICK TO EDIT MASTER TITLE STYL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6" name="Title 1"/>
          <p:cNvSpPr>
            <a:spLocks noGrp="1"/>
          </p:cNvSpPr>
          <p:nvPr>
            <p:ph type="title"/>
          </p:nvPr>
        </p:nvSpPr>
        <p:spPr bwMode="gray"/>
        <p:txBody>
          <a:bodyPr/>
          <a:lstStyle/>
          <a:p>
            <a:r>
              <a:rPr lang="en-GB"/>
              <a:t>Click to edit Master title style</a:t>
            </a:r>
            <a:endParaRPr lang="en-GB" dirty="0"/>
          </a:p>
        </p:txBody>
      </p:sp>
      <p:graphicFrame>
        <p:nvGraphicFramePr>
          <p:cNvPr id="4" name="TocTable" hidden="1"/>
          <p:cNvGraphicFramePr>
            <a:graphicFrameLocks noGrp="1"/>
          </p:cNvGraphicFramePr>
          <p:nvPr userDrawn="1">
            <p:extLst>
              <p:ext uri="{D42A27DB-BD31-4B8C-83A1-F6EECF244321}">
                <p14:modId xmlns:p14="http://schemas.microsoft.com/office/powerpoint/2010/main" val="3798908160"/>
              </p:ext>
            </p:extLst>
          </p:nvPr>
        </p:nvGraphicFramePr>
        <p:xfrm>
          <a:off x="228020" y="1629650"/>
          <a:ext cx="11736008" cy="1163520"/>
        </p:xfrm>
        <a:graphic>
          <a:graphicData uri="http://schemas.openxmlformats.org/drawingml/2006/table">
            <a:tbl>
              <a:tblPr/>
              <a:tblGrid>
                <a:gridCol w="10557150">
                  <a:extLst>
                    <a:ext uri="{9D8B030D-6E8A-4147-A177-3AD203B41FA5}">
                      <a16:colId xmlns:a16="http://schemas.microsoft.com/office/drawing/2014/main" val="3293398874"/>
                    </a:ext>
                  </a:extLst>
                </a:gridCol>
                <a:gridCol w="1178858">
                  <a:extLst>
                    <a:ext uri="{9D8B030D-6E8A-4147-A177-3AD203B41FA5}">
                      <a16:colId xmlns:a16="http://schemas.microsoft.com/office/drawing/2014/main" val="2009629540"/>
                    </a:ext>
                  </a:extLst>
                </a:gridCol>
              </a:tblGrid>
              <a:tr h="0">
                <a:tc>
                  <a:txBody>
                    <a:bodyPr/>
                    <a:lstStyle/>
                    <a:p>
                      <a:r>
                        <a:rPr lang="en-GB" sz="1600" dirty="0">
                          <a:solidFill>
                            <a:schemeClr val="tx1"/>
                          </a:solidFill>
                        </a:rPr>
                        <a:t>Select ‘Update Toc’ to populate this Table of Contents</a:t>
                      </a:r>
                    </a:p>
                  </a:txBody>
                  <a:tcPr marL="0" marR="0" marT="72000" marB="72000">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r"/>
                      <a:r>
                        <a:rPr lang="en-GB" sz="1600" b="0" u="sng" baseline="0" dirty="0">
                          <a:solidFill>
                            <a:schemeClr val="tx1"/>
                          </a:solidFill>
                          <a:uFill>
                            <a:solidFill>
                              <a:schemeClr val="bg1"/>
                            </a:solidFill>
                          </a:uFill>
                        </a:rPr>
                        <a:t>###</a:t>
                      </a:r>
                    </a:p>
                  </a:txBody>
                  <a:tcPr marL="0" marR="0" marT="72000" marB="72000">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191417746"/>
                  </a:ext>
                </a:extLst>
              </a:tr>
              <a:tr h="0">
                <a:tc>
                  <a:txBody>
                    <a:bodyPr/>
                    <a:lstStyle/>
                    <a:p>
                      <a:r>
                        <a:rPr lang="en-GB" sz="1600" dirty="0">
                          <a:solidFill>
                            <a:schemeClr val="tx1"/>
                          </a:solidFill>
                        </a:rPr>
                        <a:t>Section heading goes here</a:t>
                      </a:r>
                    </a:p>
                  </a:txBody>
                  <a:tcPr marL="0" marR="0" marT="72000" marB="72000">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r"/>
                      <a:r>
                        <a:rPr lang="en-GB" sz="1600" b="0" u="sng" baseline="0" dirty="0">
                          <a:solidFill>
                            <a:schemeClr val="tx1"/>
                          </a:solidFill>
                          <a:uFill>
                            <a:solidFill>
                              <a:schemeClr val="bg1"/>
                            </a:solidFill>
                          </a:uFill>
                        </a:rPr>
                        <a:t>###</a:t>
                      </a:r>
                    </a:p>
                  </a:txBody>
                  <a:tcPr marL="0" marR="0" marT="72000" marB="72000">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499241209"/>
                  </a:ext>
                </a:extLst>
              </a:tr>
              <a:tr h="0">
                <a:tc>
                  <a:txBody>
                    <a:bodyPr/>
                    <a:lstStyle/>
                    <a:p>
                      <a:r>
                        <a:rPr lang="en-GB" sz="1600" dirty="0">
                          <a:solidFill>
                            <a:schemeClr val="tx1"/>
                          </a:solidFill>
                        </a:rPr>
                        <a:t>Section heading goes here</a:t>
                      </a:r>
                    </a:p>
                  </a:txBody>
                  <a:tcPr marL="0" marR="0" marT="72000" marB="72000">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tc>
                  <a:txBody>
                    <a:bodyPr/>
                    <a:lstStyle/>
                    <a:p>
                      <a:pPr algn="r"/>
                      <a:r>
                        <a:rPr lang="en-GB" sz="1600" b="0" u="sng" baseline="0" dirty="0">
                          <a:solidFill>
                            <a:schemeClr val="tx1"/>
                          </a:solidFill>
                          <a:uFill>
                            <a:solidFill>
                              <a:schemeClr val="bg1"/>
                            </a:solidFill>
                          </a:uFill>
                        </a:rPr>
                        <a:t>###</a:t>
                      </a:r>
                    </a:p>
                  </a:txBody>
                  <a:tcPr marL="0" marR="0" marT="72000" marB="72000">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795579846"/>
                  </a:ext>
                </a:extLst>
              </a:tr>
            </a:tbl>
          </a:graphicData>
        </a:graphic>
      </p:graphicFrame>
      <p:sp>
        <p:nvSpPr>
          <p:cNvPr id="3" name="ctsLYN" hidden="1"/>
          <p:cNvSpPr/>
          <p:nvPr userDrawn="1"/>
        </p:nvSpPr>
        <p:spPr>
          <a:xfrm>
            <a:off x="0" y="0"/>
            <a:ext cx="0" cy="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sz="1600" dirty="0"/>
              <a:t>Contents</a:t>
            </a:r>
          </a:p>
        </p:txBody>
      </p:sp>
    </p:spTree>
    <p:extLst>
      <p:ext uri="{BB962C8B-B14F-4D97-AF65-F5344CB8AC3E}">
        <p14:creationId xmlns:p14="http://schemas.microsoft.com/office/powerpoint/2010/main" val="1503260442"/>
      </p:ext>
    </p:extLst>
  </p:cSld>
  <p:clrMapOvr>
    <a:masterClrMapping/>
  </p:clrMapOvr>
  <p:extLst>
    <p:ext uri="{DCECCB84-F9BA-43D5-87BE-67443E8EF086}">
      <p15:sldGuideLst xmlns:p15="http://schemas.microsoft.com/office/powerpoint/2012/main">
        <p15:guide id="1" orient="horz" pos="686">
          <p15:clr>
            <a:srgbClr val="A4A3A4"/>
          </p15:clr>
        </p15:guide>
        <p15:guide id="2" orient="horz" pos="1027">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9" name="Content Placeholder"/>
          <p:cNvSpPr>
            <a:spLocks noGrp="1"/>
          </p:cNvSpPr>
          <p:nvPr>
            <p:ph sz="quarter" idx="13" hasCustomPrompt="1"/>
          </p:nvPr>
        </p:nvSpPr>
        <p:spPr bwMode="gray">
          <a:xfrm>
            <a:off x="228019" y="1630712"/>
            <a:ext cx="11736000" cy="4427188"/>
          </a:xfrm>
        </p:spPr>
        <p:txBody>
          <a:bodyPr/>
          <a:lstStyle>
            <a:lvl1pPr>
              <a:defRPr baseline="0"/>
            </a:lvl1pPr>
            <a:lvl5pPr>
              <a:defRPr/>
            </a:lvl5pPr>
          </a:lstStyle>
          <a:p>
            <a:pPr lvl="0"/>
            <a:r>
              <a:rPr lang="en-GB" noProof="0" dirty="0"/>
              <a:t>&lt;Click to insert text. To format sub-headings or bullets, select the appropriate text style from the LO Tools Ribbon&g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3" name="Title 2"/>
          <p:cNvSpPr>
            <a:spLocks noGrp="1"/>
          </p:cNvSpPr>
          <p:nvPr>
            <p:ph type="title"/>
          </p:nvPr>
        </p:nvSpPr>
        <p:spPr bwMode="gray">
          <a:xfrm>
            <a:off x="228019" y="551905"/>
            <a:ext cx="11736000" cy="536400"/>
          </a:xfrm>
        </p:spPr>
        <p:txBody>
          <a:bodyPr/>
          <a:lstStyle/>
          <a:p>
            <a:r>
              <a:rPr lang="en-GB"/>
              <a:t>Click to edit Master title style</a:t>
            </a:r>
            <a:endParaRPr lang="en-GB" dirty="0"/>
          </a:p>
        </p:txBody>
      </p:sp>
      <p:sp>
        <p:nvSpPr>
          <p:cNvPr id="2" name="ctsLYN" hidden="1"/>
          <p:cNvSpPr/>
          <p:nvPr userDrawn="1"/>
        </p:nvSpPr>
        <p:spPr>
          <a:xfrm>
            <a:off x="0" y="0"/>
            <a:ext cx="0" cy="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sz="1600" dirty="0"/>
              <a:t>Full Page</a:t>
            </a:r>
          </a:p>
        </p:txBody>
      </p:sp>
    </p:spTree>
    <p:extLst>
      <p:ext uri="{BB962C8B-B14F-4D97-AF65-F5344CB8AC3E}">
        <p14:creationId xmlns:p14="http://schemas.microsoft.com/office/powerpoint/2010/main" val="2768180829"/>
      </p:ext>
    </p:extLst>
  </p:cSld>
  <p:clrMapOvr>
    <a:masterClrMapping/>
  </p:clrMapOvr>
  <p:extLst>
    <p:ext uri="{DCECCB84-F9BA-43D5-87BE-67443E8EF086}">
      <p15:sldGuideLst xmlns:p15="http://schemas.microsoft.com/office/powerpoint/2012/main">
        <p15:guide id="4" orient="horz" pos="686">
          <p15:clr>
            <a:srgbClr val="A4A3A4"/>
          </p15:clr>
        </p15:guide>
        <p15:guide id="5" orient="horz" pos="102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itle 2"/>
          <p:cNvSpPr>
            <a:spLocks noGrp="1"/>
          </p:cNvSpPr>
          <p:nvPr>
            <p:ph type="title"/>
          </p:nvPr>
        </p:nvSpPr>
        <p:spPr bwMode="gray"/>
        <p:txBody>
          <a:bodyPr/>
          <a:lstStyle/>
          <a:p>
            <a:r>
              <a:rPr lang="en-GB"/>
              <a:t>Click to edit Master title style</a:t>
            </a:r>
            <a:endParaRPr lang="en-GB" dirty="0"/>
          </a:p>
        </p:txBody>
      </p:sp>
      <p:sp>
        <p:nvSpPr>
          <p:cNvPr id="2" name="ctsLYN" hidden="1"/>
          <p:cNvSpPr/>
          <p:nvPr userDrawn="1"/>
        </p:nvSpPr>
        <p:spPr>
          <a:xfrm>
            <a:off x="0" y="0"/>
            <a:ext cx="0" cy="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GB" sz="1600" dirty="0"/>
              <a:t>Title Only</a:t>
            </a:r>
          </a:p>
        </p:txBody>
      </p:sp>
    </p:spTree>
    <p:extLst>
      <p:ext uri="{BB962C8B-B14F-4D97-AF65-F5344CB8AC3E}">
        <p14:creationId xmlns:p14="http://schemas.microsoft.com/office/powerpoint/2010/main" val="1740463882"/>
      </p:ext>
    </p:extLst>
  </p:cSld>
  <p:clrMapOvr>
    <a:masterClrMapping/>
  </p:clrMapOvr>
  <p:extLst>
    <p:ext uri="{DCECCB84-F9BA-43D5-87BE-67443E8EF086}">
      <p15:sldGuideLst xmlns:p15="http://schemas.microsoft.com/office/powerpoint/2012/main">
        <p15:guide id="1" orient="horz" pos="686">
          <p15:clr>
            <a:srgbClr val="A4A3A4"/>
          </p15:clr>
        </p15:guide>
        <p15:guide id="6" orient="horz" pos="102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11230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vert="horz" lIns="0" tIns="0" rIns="0" bIns="0"/>
          <a:lstStyle>
            <a:lvl1pPr rtl="0">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17958"/>
            <a:ext cx="11831639" cy="4687236"/>
          </a:xfrm>
        </p:spPr>
        <p:txBody>
          <a:bodyPr lIns="0" tIns="0" rIns="0" bIns="0"/>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lvl1pPr rtl="0">
              <a:defRPr/>
            </a:lvl1pPr>
          </a:lstStyle>
          <a:p>
            <a:endParaRPr lang="en-GB"/>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lvl1pPr rtl="0">
              <a:defRPr/>
            </a:lvl1pPr>
          </a:lstStyle>
          <a:p>
            <a:fld id="{ABB6D191-819E-455F-BC39-F2381519C0C1}" type="slidenum">
              <a:rPr lang="en-GB" smtClean="0"/>
              <a:pPr/>
              <a:t>‹#›</a:t>
            </a:fld>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rtl="0">
              <a:buNone/>
              <a:defRPr sz="12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180295507"/>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p:cNvSpPr/>
          <p:nvPr/>
        </p:nvSpPr>
        <p:spPr>
          <a:xfrm>
            <a:off x="539749" y="540000"/>
            <a:ext cx="11109600"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endParaRPr lang="en-GB" sz="3600" b="1" noProof="0">
              <a:solidFill>
                <a:schemeClr val="tx2"/>
              </a:solidFill>
            </a:endParaRPr>
          </a:p>
        </p:txBody>
      </p:sp>
      <p:sp>
        <p:nvSpPr>
          <p:cNvPr id="3" name="Subtitle 2"/>
          <p:cNvSpPr>
            <a:spLocks noGrp="1"/>
          </p:cNvSpPr>
          <p:nvPr>
            <p:ph type="subTitle" idx="1" hasCustomPrompt="1"/>
          </p:nvPr>
        </p:nvSpPr>
        <p:spPr>
          <a:xfrm>
            <a:off x="885669" y="1069975"/>
            <a:ext cx="6741079" cy="349250"/>
          </a:xfrm>
        </p:spPr>
        <p:txBody>
          <a:bodyPr lIns="0" tIns="0" rIns="0" bIns="0">
            <a:no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p:cNvSpPr>
            <a:spLocks noGrp="1"/>
          </p:cNvSpPr>
          <p:nvPr>
            <p:ph type="ftr" sz="quarter" idx="11"/>
          </p:nvPr>
        </p:nvSpPr>
        <p:spPr/>
        <p:txBody>
          <a:bodyPr lIns="0" tIns="0" rIns="0" bIns="0"/>
          <a:lstStyle>
            <a:lvl1pPr rtl="0">
              <a:defRPr/>
            </a:lvl1pPr>
          </a:lstStyle>
          <a:p>
            <a:endParaRPr lang="en-GB"/>
          </a:p>
        </p:txBody>
      </p:sp>
      <p:sp>
        <p:nvSpPr>
          <p:cNvPr id="6" name="Slide Number Placeholder 5"/>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
        <p:nvSpPr>
          <p:cNvPr id="9" name="Title 1"/>
          <p:cNvSpPr>
            <a:spLocks noGrp="1"/>
          </p:cNvSpPr>
          <p:nvPr>
            <p:ph type="ctrTitle" hasCustomPrompt="1"/>
          </p:nvPr>
        </p:nvSpPr>
        <p:spPr>
          <a:xfrm>
            <a:off x="885668" y="1687513"/>
            <a:ext cx="6741079" cy="2391551"/>
          </a:xfrm>
        </p:spPr>
        <p:txBody>
          <a:bodyPr vert="horz" lIns="0" tIns="0" rIns="0" bIns="0" anchor="t"/>
          <a:lstStyle>
            <a:lvl1pPr algn="l" rtl="0">
              <a:defRPr sz="6000">
                <a:solidFill>
                  <a:schemeClr val="bg1"/>
                </a:solidFill>
              </a:defRPr>
            </a:lvl1pPr>
          </a:lstStyle>
          <a:p>
            <a:r>
              <a:rPr lang="en-GB" noProof="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p:cNvSpPr/>
          <p:nvPr/>
        </p:nvSpPr>
        <p:spPr>
          <a:xfrm>
            <a:off x="539749" y="540000"/>
            <a:ext cx="11109600"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endParaRPr lang="en-GB" sz="3600" b="1" noProof="0">
              <a:solidFill>
                <a:schemeClr val="tx2"/>
              </a:solidFill>
            </a:endParaRPr>
          </a:p>
        </p:txBody>
      </p:sp>
      <p:sp>
        <p:nvSpPr>
          <p:cNvPr id="3" name="Subtitle 2"/>
          <p:cNvSpPr>
            <a:spLocks noGrp="1"/>
          </p:cNvSpPr>
          <p:nvPr>
            <p:ph type="subTitle" idx="1" hasCustomPrompt="1"/>
          </p:nvPr>
        </p:nvSpPr>
        <p:spPr>
          <a:xfrm>
            <a:off x="885669" y="1069975"/>
            <a:ext cx="6741079" cy="349250"/>
          </a:xfrm>
        </p:spPr>
        <p:txBody>
          <a:bodyPr lIns="0" tIns="0" rIns="0" bIns="0">
            <a:no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p:cNvSpPr>
            <a:spLocks noGrp="1"/>
          </p:cNvSpPr>
          <p:nvPr>
            <p:ph type="ftr" sz="quarter" idx="11"/>
          </p:nvPr>
        </p:nvSpPr>
        <p:spPr/>
        <p:txBody>
          <a:bodyPr lIns="0" tIns="0" rIns="0" bIns="0"/>
          <a:lstStyle>
            <a:lvl1pPr rtl="0">
              <a:defRPr/>
            </a:lvl1pPr>
          </a:lstStyle>
          <a:p>
            <a:endParaRPr lang="en-GB"/>
          </a:p>
        </p:txBody>
      </p:sp>
      <p:sp>
        <p:nvSpPr>
          <p:cNvPr id="6" name="Slide Number Placeholder 5"/>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
        <p:nvSpPr>
          <p:cNvPr id="9" name="Title 1"/>
          <p:cNvSpPr>
            <a:spLocks noGrp="1"/>
          </p:cNvSpPr>
          <p:nvPr>
            <p:ph type="ctrTitle" hasCustomPrompt="1"/>
          </p:nvPr>
        </p:nvSpPr>
        <p:spPr>
          <a:xfrm>
            <a:off x="885668" y="1689100"/>
            <a:ext cx="6741079" cy="2389964"/>
          </a:xfrm>
        </p:spPr>
        <p:txBody>
          <a:bodyPr vert="horz" lIns="0" tIns="0" rIns="0" bIns="0" anchor="t"/>
          <a:lstStyle>
            <a:lvl1pPr algn="l" rtl="0">
              <a:defRPr sz="6000">
                <a:solidFill>
                  <a:schemeClr val="bg1"/>
                </a:solidFill>
              </a:defRPr>
            </a:lvl1pPr>
          </a:lstStyle>
          <a:p>
            <a:r>
              <a:rPr lang="en-GB" noProof="0"/>
              <a:t>CLICK TO EDIT MASTER 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Section Header (Gree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p:cNvSpPr/>
          <p:nvPr/>
        </p:nvSpPr>
        <p:spPr>
          <a:xfrm>
            <a:off x="539749" y="540000"/>
            <a:ext cx="11109600" cy="5398838"/>
          </a:xfrm>
          <a:prstGeom prst="rect">
            <a:avLst/>
          </a:prstGeom>
          <a:solidFill>
            <a:schemeClr val="accent3"/>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endParaRPr lang="en-GB" sz="3600" b="1" noProof="0">
              <a:solidFill>
                <a:schemeClr val="tx2"/>
              </a:solidFill>
            </a:endParaRPr>
          </a:p>
        </p:txBody>
      </p:sp>
      <p:sp>
        <p:nvSpPr>
          <p:cNvPr id="3" name="Subtitle 2"/>
          <p:cNvSpPr>
            <a:spLocks noGrp="1"/>
          </p:cNvSpPr>
          <p:nvPr>
            <p:ph type="subTitle" idx="1" hasCustomPrompt="1"/>
          </p:nvPr>
        </p:nvSpPr>
        <p:spPr>
          <a:xfrm>
            <a:off x="885669" y="1069975"/>
            <a:ext cx="6741079" cy="349250"/>
          </a:xfrm>
        </p:spPr>
        <p:txBody>
          <a:bodyPr lIns="0" tIns="0" rIns="0" bIns="0">
            <a:noAutofit/>
          </a:bodyPr>
          <a:lstStyle>
            <a:lvl1pPr marL="0" indent="0" algn="l" rtl="0">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p:cNvSpPr>
            <a:spLocks noGrp="1"/>
          </p:cNvSpPr>
          <p:nvPr>
            <p:ph type="ftr" sz="quarter" idx="11"/>
          </p:nvPr>
        </p:nvSpPr>
        <p:spPr/>
        <p:txBody>
          <a:bodyPr lIns="0" tIns="0" rIns="0" bIns="0"/>
          <a:lstStyle>
            <a:lvl1pPr rtl="0">
              <a:defRPr/>
            </a:lvl1pPr>
          </a:lstStyle>
          <a:p>
            <a:endParaRPr lang="en-GB"/>
          </a:p>
        </p:txBody>
      </p:sp>
      <p:sp>
        <p:nvSpPr>
          <p:cNvPr id="6" name="Slide Number Placeholder 5"/>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
        <p:nvSpPr>
          <p:cNvPr id="9" name="Title 1"/>
          <p:cNvSpPr>
            <a:spLocks noGrp="1"/>
          </p:cNvSpPr>
          <p:nvPr>
            <p:ph type="ctrTitle" hasCustomPrompt="1"/>
          </p:nvPr>
        </p:nvSpPr>
        <p:spPr>
          <a:xfrm>
            <a:off x="885668" y="1689100"/>
            <a:ext cx="6741079" cy="2389964"/>
          </a:xfrm>
        </p:spPr>
        <p:txBody>
          <a:bodyPr vert="horz" lIns="0" tIns="0" rIns="0" bIns="0" anchor="t"/>
          <a:lstStyle>
            <a:lvl1pPr algn="l" rtl="0">
              <a:defRPr sz="6000">
                <a:solidFill>
                  <a:schemeClr val="tx2"/>
                </a:solidFill>
              </a:defRPr>
            </a:lvl1pPr>
          </a:lstStyle>
          <a:p>
            <a:r>
              <a:rPr lang="en-GB" noProof="0"/>
              <a:t>CLICK TO EDIT MASTER 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9525" imgH="9525" progId="TCLayout.ActiveDocument.1">
                  <p:embed/>
                </p:oleObj>
              </mc:Choice>
              <mc:Fallback>
                <p:oleObj name="think-cell Slide" r:id="rId4" imgW="9525" imgH="952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p:cNvSpPr>
            <a:spLocks noGrp="1"/>
          </p:cNvSpPr>
          <p:nvPr>
            <p:ph type="title" hasCustomPrompt="1"/>
          </p:nvPr>
        </p:nvSpPr>
        <p:spPr/>
        <p:txBody>
          <a:bodyPr vert="horz" lIns="0" tIns="0" rIns="0" bIns="0"/>
          <a:lstStyle>
            <a:lvl1pPr rtl="0">
              <a:defRPr cap="none"/>
            </a:lvl1pPr>
          </a:lstStyle>
          <a:p>
            <a:r>
              <a:rPr lang="en-GB" noProof="0"/>
              <a:t>Click to edit master title style</a:t>
            </a:r>
          </a:p>
        </p:txBody>
      </p:sp>
      <p:sp>
        <p:nvSpPr>
          <p:cNvPr id="3" name="Content Placeholder 2"/>
          <p:cNvSpPr>
            <a:spLocks noGrp="1"/>
          </p:cNvSpPr>
          <p:nvPr>
            <p:ph sz="half" idx="1"/>
          </p:nvPr>
        </p:nvSpPr>
        <p:spPr>
          <a:xfrm>
            <a:off x="178285" y="1247775"/>
            <a:ext cx="5825027" cy="4691063"/>
          </a:xfrm>
        </p:spPr>
        <p:txBody>
          <a:bodyPr/>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a:xfrm>
            <a:off x="6185999" y="1247776"/>
            <a:ext cx="5825027" cy="4691062"/>
          </a:xfrm>
        </p:spPr>
        <p:txBody>
          <a:bodyPr/>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11"/>
          </p:nvPr>
        </p:nvSpPr>
        <p:spPr/>
        <p:txBody>
          <a:bodyPr lIns="0" tIns="0" rIns="0" bIns="0"/>
          <a:lstStyle>
            <a:lvl1pPr rtl="0">
              <a:defRPr/>
            </a:lvl1pPr>
          </a:lstStyle>
          <a:p>
            <a:endParaRPr lang="en-GB"/>
          </a:p>
        </p:txBody>
      </p:sp>
      <p:sp>
        <p:nvSpPr>
          <p:cNvPr id="7" name="Slide Number Placeholder 6"/>
          <p:cNvSpPr>
            <a:spLocks noGrp="1"/>
          </p:cNvSpPr>
          <p:nvPr>
            <p:ph type="sldNum" sz="quarter" idx="12"/>
          </p:nvPr>
        </p:nvSpPr>
        <p:spPr/>
        <p:txBody>
          <a:bodyPr lIns="0" tIns="0" rIns="0" bIns="0"/>
          <a:lstStyle>
            <a:lvl1pPr rtl="0">
              <a:defRPr/>
            </a:lvl1pPr>
          </a:lstStyle>
          <a:p>
            <a:fld id="{ABB6D191-819E-455F-BC39-F2381519C0C1}" type="slidenum">
              <a:rPr lang="en-GB" smtClean="0"/>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oleObject" Target="../embeddings/oleObject16.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image" Target="../media/image2.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image" Target="../media/image1.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2.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1.emf"/><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oleObject" Target="../embeddings/oleObject20.bin"/><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9525" imgH="9525" progId="TCLayout.ActiveDocument.1">
                  <p:embed/>
                </p:oleObj>
              </mc:Choice>
              <mc:Fallback>
                <p:oleObj name="think-cell Slide" r:id="rId20" imgW="9525" imgH="9525" progId="TCLayout.ActiveDocument.1">
                  <p:embed/>
                  <p:pic>
                    <p:nvPicPr>
                      <p:cNvPr id="8" name="Object 7"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Placeholder 1"/>
          <p:cNvSpPr>
            <a:spLocks noGrp="1"/>
          </p:cNvSpPr>
          <p:nvPr>
            <p:ph type="title"/>
          </p:nvPr>
        </p:nvSpPr>
        <p:spPr>
          <a:xfrm>
            <a:off x="179387" y="179388"/>
            <a:ext cx="11831639" cy="708715"/>
          </a:xfrm>
          <a:prstGeom prst="rect">
            <a:avLst/>
          </a:prstGeom>
        </p:spPr>
        <p:txBody>
          <a:bodyPr vert="horz" lIns="0" tIns="0" rIns="0" bIns="0" rtlCol="0" anchor="ctr">
            <a:normAutofit/>
          </a:bodyPr>
          <a:lstStyle/>
          <a:p>
            <a:r>
              <a:rPr lang="en-GB" noProof="0"/>
              <a:t>Click to edit Master title style</a:t>
            </a:r>
          </a:p>
        </p:txBody>
      </p:sp>
      <p:sp>
        <p:nvSpPr>
          <p:cNvPr id="3" name="Text Placeholder 2"/>
          <p:cNvSpPr>
            <a:spLocks noGrp="1"/>
          </p:cNvSpPr>
          <p:nvPr>
            <p:ph type="body" idx="1"/>
          </p:nvPr>
        </p:nvSpPr>
        <p:spPr>
          <a:xfrm>
            <a:off x="179387" y="1247775"/>
            <a:ext cx="11831639" cy="4690732"/>
          </a:xfrm>
          <a:prstGeom prst="rect">
            <a:avLst/>
          </a:prstGeom>
        </p:spPr>
        <p:txBody>
          <a:bodyPr vert="horz" lIns="0" tIns="0" rIns="0" bIns="0"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p:cNvSpPr>
            <a:spLocks noGrp="1"/>
          </p:cNvSpPr>
          <p:nvPr>
            <p:ph type="ftr" sz="quarter" idx="3"/>
          </p:nvPr>
        </p:nvSpPr>
        <p:spPr>
          <a:xfrm>
            <a:off x="642796" y="6302335"/>
            <a:ext cx="9463189" cy="374690"/>
          </a:xfrm>
          <a:prstGeom prst="rect">
            <a:avLst/>
          </a:prstGeom>
        </p:spPr>
        <p:txBody>
          <a:bodyPr vert="horz" lIns="0" tIns="0" rIns="0" bIns="0" rtlCol="0" anchor="ctr"/>
          <a:lstStyle>
            <a:lvl1pPr algn="l" rtl="0">
              <a:defRPr sz="1200">
                <a:solidFill>
                  <a:schemeClr val="tx1">
                    <a:tint val="75000"/>
                  </a:schemeClr>
                </a:solidFill>
                <a:latin typeface="Helvetica" panose="020B0604020202020204" pitchFamily="34" charset="0"/>
              </a:defRPr>
            </a:lvl1pPr>
          </a:lstStyle>
          <a:p>
            <a:endParaRPr lang="en-GB"/>
          </a:p>
        </p:txBody>
      </p:sp>
      <p:sp>
        <p:nvSpPr>
          <p:cNvPr id="6" name="Slide Number Placeholder 5"/>
          <p:cNvSpPr>
            <a:spLocks noGrp="1"/>
          </p:cNvSpPr>
          <p:nvPr>
            <p:ph type="sldNum" sz="quarter" idx="4"/>
          </p:nvPr>
        </p:nvSpPr>
        <p:spPr>
          <a:xfrm>
            <a:off x="179388" y="6302336"/>
            <a:ext cx="381928" cy="374690"/>
          </a:xfrm>
          <a:prstGeom prst="rect">
            <a:avLst/>
          </a:prstGeom>
        </p:spPr>
        <p:txBody>
          <a:bodyPr vert="horz" lIns="0" tIns="0" rIns="0" bIns="0" rtlCol="0" anchor="ctr"/>
          <a:lstStyle>
            <a:lvl1pPr algn="l" rtl="0">
              <a:defRPr sz="1200">
                <a:solidFill>
                  <a:schemeClr val="tx1">
                    <a:tint val="75000"/>
                  </a:schemeClr>
                </a:solidFill>
                <a:latin typeface="Helvetica" panose="020B0604020202020204" pitchFamily="34" charset="0"/>
              </a:defRPr>
            </a:lvl1pPr>
          </a:lstStyle>
          <a:p>
            <a:fld id="{ABB6D191-819E-455F-BC39-F2381519C0C1}" type="slidenum">
              <a:rPr lang="en-GB" smtClean="0"/>
              <a:t>‹#›</a:t>
            </a:fld>
            <a:endParaRPr lang="en-GB"/>
          </a:p>
        </p:txBody>
      </p:sp>
      <p:sp>
        <p:nvSpPr>
          <p:cNvPr id="4" name="Workspace [Presentation]" hidden="1"/>
          <p:cNvSpPr/>
          <p:nvPr userDrawn="1"/>
        </p:nvSpPr>
        <p:spPr>
          <a:xfrm>
            <a:off x="179387" y="1247775"/>
            <a:ext cx="11831639" cy="4690732"/>
          </a:xfrm>
          <a:prstGeom prst="rect">
            <a:avLst/>
          </a:prstGeom>
          <a:noFill/>
          <a:ln w="12700">
            <a:solidFill>
              <a:srgbClr val="D24726"/>
            </a:solidFill>
            <a:prstDash val="lgDash"/>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noAutofit/>
          </a:bodyPr>
          <a:lstStyle/>
          <a:p>
            <a:pPr algn="ctr" rtl="0"/>
            <a:endParaRPr lang="en-GB" sz="1600">
              <a:ln>
                <a:noFill/>
              </a:ln>
              <a:solidFill>
                <a:schemeClr val="bg1"/>
              </a:solidFill>
            </a:endParaRPr>
          </a:p>
        </p:txBody>
      </p:sp>
      <p:pic>
        <p:nvPicPr>
          <p:cNvPr id="9" name="Picture 2" descr="Home - The Circular Bioeconomy Alliance"/>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11019644" y="6229442"/>
            <a:ext cx="991381" cy="52047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49C6535-BD22-F7E3-666F-AA94A1A44D25}"/>
              </a:ext>
            </a:extLst>
          </p:cNvPr>
          <p:cNvSpPr txBox="1"/>
          <p:nvPr userDrawn="1">
            <p:extLst>
              <p:ext uri="{1162E1C5-73C7-4A58-AE30-91384D911F3F}">
                <p184:classification xmlns:p184="http://schemas.microsoft.com/office/powerpoint/2018/4/main" val="ftr"/>
              </p:ext>
            </p:extLst>
          </p:nvPr>
        </p:nvSpPr>
        <p:spPr>
          <a:xfrm>
            <a:off x="5901500" y="6705600"/>
            <a:ext cx="417512"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P u b l i c</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hdr="0" dt="0"/>
  <p:txStyles>
    <p:titleStyle>
      <a:lvl1pPr algn="l" defTabSz="914400" rtl="0" eaLnBrk="1" latinLnBrk="0" hangingPunct="1">
        <a:lnSpc>
          <a:spcPct val="90000"/>
        </a:lnSpc>
        <a:spcBef>
          <a:spcPct val="0"/>
        </a:spcBef>
        <a:buNone/>
        <a:defRPr sz="3200" kern="1200" cap="all" baseline="0">
          <a:solidFill>
            <a:schemeClr val="tx1"/>
          </a:solidFill>
          <a:latin typeface="Houschka pro"/>
          <a:ea typeface="+mj-ea"/>
          <a:cs typeface="+mj-cs"/>
        </a:defRPr>
      </a:lvl1pPr>
    </p:titleStyle>
    <p:bodyStyle>
      <a:lvl1pPr marL="179705" indent="-179705" algn="l" defTabSz="914400" rtl="0" eaLnBrk="1" latinLnBrk="0" hangingPunct="1">
        <a:lnSpc>
          <a:spcPct val="90000"/>
        </a:lnSpc>
        <a:spcBef>
          <a:spcPts val="1000"/>
        </a:spcBef>
        <a:buFont typeface="Wingdings" panose="05000000000000000000" pitchFamily="2" charset="2"/>
        <a:buChar char="§"/>
        <a:defRPr sz="1200" kern="1200" baseline="0">
          <a:solidFill>
            <a:schemeClr val="tx1"/>
          </a:solidFill>
          <a:latin typeface="Helvetica" panose="020B0604020202020204" pitchFamily="34" charset="0"/>
          <a:ea typeface="+mn-ea"/>
          <a:cs typeface="+mn-cs"/>
        </a:defRPr>
      </a:lvl1pPr>
      <a:lvl2pPr marL="360045" indent="-179705" algn="l" defTabSz="914400" rtl="0" eaLnBrk="1" latinLnBrk="0" hangingPunct="1">
        <a:lnSpc>
          <a:spcPct val="90000"/>
        </a:lnSpc>
        <a:spcBef>
          <a:spcPts val="500"/>
        </a:spcBef>
        <a:buFont typeface="Wingdings" panose="05000000000000000000" pitchFamily="2" charset="2"/>
        <a:buChar char="§"/>
        <a:defRPr sz="1200" kern="1200">
          <a:solidFill>
            <a:schemeClr val="tx1"/>
          </a:solidFill>
          <a:latin typeface="Helvetica" panose="020B0604020202020204" pitchFamily="34" charset="0"/>
          <a:ea typeface="+mn-ea"/>
          <a:cs typeface="+mn-cs"/>
        </a:defRPr>
      </a:lvl2pPr>
      <a:lvl3pPr marL="539750" indent="-179705" algn="l" defTabSz="914400" rtl="0" eaLnBrk="1" latinLnBrk="0" hangingPunct="1">
        <a:lnSpc>
          <a:spcPct val="90000"/>
        </a:lnSpc>
        <a:spcBef>
          <a:spcPts val="500"/>
        </a:spcBef>
        <a:buFont typeface="Wingdings" panose="05000000000000000000" pitchFamily="2" charset="2"/>
        <a:buChar char="§"/>
        <a:defRPr sz="1200" kern="1200">
          <a:solidFill>
            <a:schemeClr val="tx1"/>
          </a:solidFill>
          <a:latin typeface="Helvetica" panose="020B0604020202020204" pitchFamily="34" charset="0"/>
          <a:ea typeface="+mn-ea"/>
          <a:cs typeface="+mn-cs"/>
        </a:defRPr>
      </a:lvl3pPr>
      <a:lvl4pPr marL="720090" indent="-179705" algn="l" defTabSz="914400" rtl="0" eaLnBrk="1" latinLnBrk="0" hangingPunct="1">
        <a:lnSpc>
          <a:spcPct val="90000"/>
        </a:lnSpc>
        <a:spcBef>
          <a:spcPts val="500"/>
        </a:spcBef>
        <a:buFont typeface="Wingdings" panose="05000000000000000000" pitchFamily="2" charset="2"/>
        <a:buChar char="§"/>
        <a:defRPr sz="1200" kern="1200">
          <a:solidFill>
            <a:schemeClr val="tx1"/>
          </a:solidFill>
          <a:latin typeface="Helvetica" panose="020B0604020202020204" pitchFamily="34" charset="0"/>
          <a:ea typeface="+mn-ea"/>
          <a:cs typeface="+mn-cs"/>
        </a:defRPr>
      </a:lvl4pPr>
      <a:lvl5pPr marL="899795" indent="-179705" algn="l" defTabSz="914400" rtl="0" eaLnBrk="1" latinLnBrk="0" hangingPunct="1">
        <a:lnSpc>
          <a:spcPct val="90000"/>
        </a:lnSpc>
        <a:spcBef>
          <a:spcPts val="500"/>
        </a:spcBef>
        <a:buFont typeface="Wingdings" panose="05000000000000000000" pitchFamily="2" charset="2"/>
        <a:buChar char="§"/>
        <a:defRPr sz="1200" kern="1200">
          <a:solidFill>
            <a:schemeClr val="tx1"/>
          </a:solidFill>
          <a:latin typeface="Helvetica"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alpha val="0"/>
          </a:srgbClr>
        </a:solidFill>
        <a:effectLst/>
      </p:bgPr>
    </p:bg>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91E56C82-C01D-A1CF-465A-CFE83E587B10}"/>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18" imgW="9832" imgH="9832" progId="">
                  <p:embed/>
                </p:oleObj>
              </mc:Choice>
              <mc:Fallback>
                <p:oleObj r:id="rId18" imgW="9832" imgH="9832" progId="">
                  <p:embed/>
                  <p:pic>
                    <p:nvPicPr>
                      <p:cNvPr id="2" name="Object 7" hidden="1">
                        <a:extLst>
                          <a:ext uri="{FF2B5EF4-FFF2-40B4-BE49-F238E27FC236}">
                            <a16:creationId xmlns:a16="http://schemas.microsoft.com/office/drawing/2014/main" id="{91E56C82-C01D-A1CF-465A-CFE83E587B10}"/>
                          </a:ext>
                        </a:extLst>
                      </p:cNvPr>
                      <p:cNvPicPr/>
                      <p:nvPr/>
                    </p:nvPicPr>
                    <p:blipFill>
                      <a:blip r:embed="rId19"/>
                      <a:stretch>
                        <a:fillRect/>
                      </a:stretch>
                    </p:blipFill>
                    <p:spPr>
                      <a:xfrm>
                        <a:off x="1591" y="1591"/>
                        <a:ext cx="1591" cy="1591"/>
                      </a:xfrm>
                      <a:prstGeom prst="rect">
                        <a:avLst/>
                      </a:prstGeom>
                    </p:spPr>
                  </p:pic>
                </p:oleObj>
              </mc:Fallback>
            </mc:AlternateContent>
          </a:graphicData>
        </a:graphic>
      </p:graphicFrame>
      <p:sp>
        <p:nvSpPr>
          <p:cNvPr id="3" name="Rectangle 6" hidden="1">
            <a:extLst>
              <a:ext uri="{FF2B5EF4-FFF2-40B4-BE49-F238E27FC236}">
                <a16:creationId xmlns:a16="http://schemas.microsoft.com/office/drawing/2014/main" id="{0653F5C0-E1C8-C830-1D76-F2E2323A5E59}"/>
              </a:ext>
            </a:extLst>
          </p:cNvPr>
          <p:cNvSpPr/>
          <p:nvPr/>
        </p:nvSpPr>
        <p:spPr>
          <a:xfrm>
            <a:off x="0" y="0"/>
            <a:ext cx="158748" cy="158748"/>
          </a:xfrm>
          <a:prstGeom prst="rect">
            <a:avLst/>
          </a:prstGeom>
          <a:solidFill>
            <a:srgbClr val="00B0F0"/>
          </a:solidFill>
          <a:ln w="12701" cap="flat">
            <a:solidFill>
              <a:srgbClr val="0080B0"/>
            </a:solidFill>
            <a:prstDash val="solid"/>
            <a:miter/>
          </a:ln>
        </p:spPr>
        <p:txBody>
          <a:bodyPr vert="horz" wrap="none" lIns="0" tIns="0" rIns="0" bIns="0"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GB" sz="4400" b="0" i="0" u="none" strike="noStrike" kern="1200" cap="none" spc="0" baseline="0">
              <a:solidFill>
                <a:srgbClr val="FFFFFF"/>
              </a:solidFill>
              <a:uFillTx/>
              <a:latin typeface="Bebas Kai" pitchFamily="82"/>
            </a:endParaRPr>
          </a:p>
        </p:txBody>
      </p:sp>
      <p:sp>
        <p:nvSpPr>
          <p:cNvPr id="4" name="Title Placeholder 1">
            <a:extLst>
              <a:ext uri="{FF2B5EF4-FFF2-40B4-BE49-F238E27FC236}">
                <a16:creationId xmlns:a16="http://schemas.microsoft.com/office/drawing/2014/main" id="{EBA32FC3-FCE6-B477-B4F0-C311F1B9CDB0}"/>
              </a:ext>
            </a:extLst>
          </p:cNvPr>
          <p:cNvSpPr txBox="1">
            <a:spLocks noGrp="1"/>
          </p:cNvSpPr>
          <p:nvPr>
            <p:ph type="title"/>
          </p:nvPr>
        </p:nvSpPr>
        <p:spPr>
          <a:xfrm>
            <a:off x="179386" y="179386"/>
            <a:ext cx="11831641" cy="708714"/>
          </a:xfrm>
          <a:prstGeom prst="rect">
            <a:avLst/>
          </a:prstGeom>
          <a:noFill/>
          <a:ln>
            <a:noFill/>
          </a:ln>
        </p:spPr>
        <p:txBody>
          <a:bodyPr vert="horz" wrap="square" lIns="0" tIns="0" rIns="0" bIns="0" anchor="ctr" anchorCtr="0" compatLnSpc="1">
            <a:normAutofit/>
          </a:bodyPr>
          <a:lstStyle/>
          <a:p>
            <a:pPr lvl="0"/>
            <a:r>
              <a:rPr lang="en-GB"/>
              <a:t>Click to edit Master title style</a:t>
            </a:r>
          </a:p>
        </p:txBody>
      </p:sp>
      <p:sp>
        <p:nvSpPr>
          <p:cNvPr id="5" name="Text Placeholder 2">
            <a:extLst>
              <a:ext uri="{FF2B5EF4-FFF2-40B4-BE49-F238E27FC236}">
                <a16:creationId xmlns:a16="http://schemas.microsoft.com/office/drawing/2014/main" id="{6E0DFD03-BD9F-563A-D3CE-EAC5002D5B81}"/>
              </a:ext>
            </a:extLst>
          </p:cNvPr>
          <p:cNvSpPr txBox="1">
            <a:spLocks noGrp="1"/>
          </p:cNvSpPr>
          <p:nvPr>
            <p:ph type="body" idx="1"/>
          </p:nvPr>
        </p:nvSpPr>
        <p:spPr>
          <a:xfrm>
            <a:off x="179386" y="1247771"/>
            <a:ext cx="11831641" cy="4690734"/>
          </a:xfrm>
          <a:prstGeom prst="rect">
            <a:avLst/>
          </a:prstGeom>
          <a:noFill/>
          <a:ln>
            <a:noFill/>
          </a:ln>
        </p:spPr>
        <p:txBody>
          <a:bodyPr vert="horz" wrap="square" lIns="0" tIns="0" rIns="0" bIns="0" anchor="t" anchorCtr="0" compatLnSpc="1">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4">
            <a:extLst>
              <a:ext uri="{FF2B5EF4-FFF2-40B4-BE49-F238E27FC236}">
                <a16:creationId xmlns:a16="http://schemas.microsoft.com/office/drawing/2014/main" id="{B36813D6-7023-D930-0984-BC5BE43FBBEE}"/>
              </a:ext>
            </a:extLst>
          </p:cNvPr>
          <p:cNvSpPr txBox="1">
            <a:spLocks noGrp="1"/>
          </p:cNvSpPr>
          <p:nvPr>
            <p:ph type="ftr" sz="quarter" idx="3"/>
          </p:nvPr>
        </p:nvSpPr>
        <p:spPr>
          <a:xfrm>
            <a:off x="642795" y="6302337"/>
            <a:ext cx="9463189" cy="374693"/>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Helvetica" pitchFamily="34"/>
              </a:defRPr>
            </a:lvl1pPr>
          </a:lstStyle>
          <a:p>
            <a:pPr lvl="0"/>
            <a:endParaRPr lang="en-GB"/>
          </a:p>
        </p:txBody>
      </p:sp>
      <p:sp>
        <p:nvSpPr>
          <p:cNvPr id="7" name="Slide Number Placeholder 5">
            <a:extLst>
              <a:ext uri="{FF2B5EF4-FFF2-40B4-BE49-F238E27FC236}">
                <a16:creationId xmlns:a16="http://schemas.microsoft.com/office/drawing/2014/main" id="{9CB67962-FEED-7FA6-DC77-615D8D6DF4C8}"/>
              </a:ext>
            </a:extLst>
          </p:cNvPr>
          <p:cNvSpPr txBox="1">
            <a:spLocks noGrp="1"/>
          </p:cNvSpPr>
          <p:nvPr>
            <p:ph type="sldNum" sz="quarter" idx="4"/>
          </p:nvPr>
        </p:nvSpPr>
        <p:spPr>
          <a:xfrm>
            <a:off x="179386" y="6302337"/>
            <a:ext cx="381926" cy="374693"/>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Helvetica" pitchFamily="34"/>
              </a:defRPr>
            </a:lvl1pPr>
          </a:lstStyle>
          <a:p>
            <a:pPr lvl="0"/>
            <a:fld id="{F91D7A4C-DC57-478D-BED8-96E50FF445F8}" type="slidenum">
              <a:t>‹#›</a:t>
            </a:fld>
            <a:endParaRPr lang="en-GB"/>
          </a:p>
        </p:txBody>
      </p:sp>
      <p:sp>
        <p:nvSpPr>
          <p:cNvPr id="8" name="Workspace [Presentation]" hidden="1">
            <a:extLst>
              <a:ext uri="{FF2B5EF4-FFF2-40B4-BE49-F238E27FC236}">
                <a16:creationId xmlns:a16="http://schemas.microsoft.com/office/drawing/2014/main" id="{DA79E972-F55F-F6CA-6D8D-95BC6B7AD501}"/>
              </a:ext>
            </a:extLst>
          </p:cNvPr>
          <p:cNvSpPr/>
          <p:nvPr/>
        </p:nvSpPr>
        <p:spPr>
          <a:xfrm>
            <a:off x="179386" y="1247771"/>
            <a:ext cx="11831641" cy="4690734"/>
          </a:xfrm>
          <a:prstGeom prst="rect">
            <a:avLst/>
          </a:prstGeom>
          <a:noFill/>
          <a:ln w="12701" cap="flat">
            <a:solidFill>
              <a:srgbClr val="D24726"/>
            </a:solidFill>
            <a:custDash>
              <a:ds d="799921" sp="100000"/>
            </a:custDash>
            <a:miter/>
          </a:ln>
        </p:spPr>
        <p:txBody>
          <a:bodyPr vert="horz" wrap="square" lIns="71999" tIns="71999" rIns="71999" bIns="71999"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0" i="0" u="none" strike="noStrike" kern="1200" cap="none" spc="0" baseline="0">
              <a:solidFill>
                <a:srgbClr val="FFFFFF"/>
              </a:solidFill>
              <a:uFillTx/>
              <a:latin typeface="Century Gothic"/>
            </a:endParaRPr>
          </a:p>
        </p:txBody>
      </p:sp>
      <p:pic>
        <p:nvPicPr>
          <p:cNvPr id="9" name="Picture 2" descr="Home - The Circular Bioeconomy Alliance">
            <a:extLst>
              <a:ext uri="{FF2B5EF4-FFF2-40B4-BE49-F238E27FC236}">
                <a16:creationId xmlns:a16="http://schemas.microsoft.com/office/drawing/2014/main" id="{04282F60-4A64-9EA3-2535-FE080F843FB9}"/>
              </a:ext>
            </a:extLst>
          </p:cNvPr>
          <p:cNvPicPr>
            <a:picLocks noChangeAspect="1"/>
          </p:cNvPicPr>
          <p:nvPr/>
        </p:nvPicPr>
        <p:blipFill>
          <a:blip r:embed="rId20"/>
          <a:srcRect/>
          <a:stretch>
            <a:fillRect/>
          </a:stretch>
        </p:blipFill>
        <p:spPr>
          <a:xfrm>
            <a:off x="11019644" y="6229441"/>
            <a:ext cx="991383" cy="520476"/>
          </a:xfrm>
          <a:prstGeom prst="rect">
            <a:avLst/>
          </a:prstGeom>
          <a:noFill/>
          <a:ln>
            <a:noFill/>
          </a:ln>
        </p:spPr>
      </p:pic>
      <p:sp>
        <p:nvSpPr>
          <p:cNvPr id="11" name="TextBox 10">
            <a:extLst>
              <a:ext uri="{FF2B5EF4-FFF2-40B4-BE49-F238E27FC236}">
                <a16:creationId xmlns:a16="http://schemas.microsoft.com/office/drawing/2014/main" id="{B6C4C1BE-B1A7-5408-E30C-C95C00EF5C0E}"/>
              </a:ext>
            </a:extLst>
          </p:cNvPr>
          <p:cNvSpPr txBox="1"/>
          <p:nvPr userDrawn="1">
            <p:extLst>
              <p:ext uri="{1162E1C5-73C7-4A58-AE30-91384D911F3F}">
                <p184:classification xmlns:p184="http://schemas.microsoft.com/office/powerpoint/2018/4/main" val="ftr"/>
              </p:ext>
            </p:extLst>
          </p:nvPr>
        </p:nvSpPr>
        <p:spPr>
          <a:xfrm>
            <a:off x="5901500" y="6705600"/>
            <a:ext cx="417512"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P u b l i c</a:t>
            </a:r>
          </a:p>
        </p:txBody>
      </p:sp>
    </p:spTree>
    <p:extLst>
      <p:ext uri="{BB962C8B-B14F-4D97-AF65-F5344CB8AC3E}">
        <p14:creationId xmlns:p14="http://schemas.microsoft.com/office/powerpoint/2010/main" val="44017028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705" r:id="rId16"/>
  </p:sldLayoutIdLst>
  <p:txStyles>
    <p:title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p:titleStyle>
    <p:bodyStyle>
      <a:lvl1pPr marL="179999" marR="0" lvl="0" indent="-179999" algn="l" defTabSz="914400" rtl="0" fontAlgn="auto" hangingPunct="1">
        <a:lnSpc>
          <a:spcPct val="90000"/>
        </a:lnSpc>
        <a:spcBef>
          <a:spcPts val="10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1pPr>
      <a:lvl2pPr marL="359999" marR="0" lvl="1"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2pPr>
      <a:lvl3pPr marL="539998" marR="0" lvl="2"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3pPr>
      <a:lvl4pPr marL="719998" marR="0" lvl="3"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4pPr>
      <a:lvl5pPr marL="899998" marR="0" lvl="4"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alpha val="0"/>
          </a:srgbClr>
        </a:solidFill>
        <a:effectLst/>
      </p:bgPr>
    </p:bg>
    <p:spTree>
      <p:nvGrpSpPr>
        <p:cNvPr id="1" name=""/>
        <p:cNvGrpSpPr/>
        <p:nvPr/>
      </p:nvGrpSpPr>
      <p:grpSpPr>
        <a:xfrm>
          <a:off x="0" y="0"/>
          <a:ext cx="0" cy="0"/>
          <a:chOff x="0" y="0"/>
          <a:chExt cx="0" cy="0"/>
        </a:xfrm>
      </p:grpSpPr>
      <p:graphicFrame>
        <p:nvGraphicFramePr>
          <p:cNvPr id="2" name="Object 7" hidden="1">
            <a:extLst>
              <a:ext uri="{FF2B5EF4-FFF2-40B4-BE49-F238E27FC236}">
                <a16:creationId xmlns:a16="http://schemas.microsoft.com/office/drawing/2014/main" id="{0A2E5D85-6A7F-57D1-F225-F334936C4982}"/>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3" imgW="9832" imgH="9832" progId="">
                  <p:embed/>
                </p:oleObj>
              </mc:Choice>
              <mc:Fallback>
                <p:oleObj r:id="rId23" imgW="9832" imgH="9832" progId="">
                  <p:embed/>
                  <p:pic>
                    <p:nvPicPr>
                      <p:cNvPr id="2" name="Object 7" hidden="1">
                        <a:extLst>
                          <a:ext uri="{FF2B5EF4-FFF2-40B4-BE49-F238E27FC236}">
                            <a16:creationId xmlns:a16="http://schemas.microsoft.com/office/drawing/2014/main" id="{0A2E5D85-6A7F-57D1-F225-F334936C4982}"/>
                          </a:ext>
                        </a:extLst>
                      </p:cNvPr>
                      <p:cNvPicPr/>
                      <p:nvPr/>
                    </p:nvPicPr>
                    <p:blipFill>
                      <a:blip r:embed="rId24"/>
                      <a:stretch>
                        <a:fillRect/>
                      </a:stretch>
                    </p:blipFill>
                    <p:spPr>
                      <a:xfrm>
                        <a:off x="1591" y="1591"/>
                        <a:ext cx="1591" cy="1591"/>
                      </a:xfrm>
                      <a:prstGeom prst="rect">
                        <a:avLst/>
                      </a:prstGeom>
                    </p:spPr>
                  </p:pic>
                </p:oleObj>
              </mc:Fallback>
            </mc:AlternateContent>
          </a:graphicData>
        </a:graphic>
      </p:graphicFrame>
      <p:sp>
        <p:nvSpPr>
          <p:cNvPr id="3" name="Rectangle 6" hidden="1">
            <a:extLst>
              <a:ext uri="{FF2B5EF4-FFF2-40B4-BE49-F238E27FC236}">
                <a16:creationId xmlns:a16="http://schemas.microsoft.com/office/drawing/2014/main" id="{53A65052-C117-98A8-9C25-D67489C9781C}"/>
              </a:ext>
            </a:extLst>
          </p:cNvPr>
          <p:cNvSpPr/>
          <p:nvPr/>
        </p:nvSpPr>
        <p:spPr>
          <a:xfrm>
            <a:off x="0" y="0"/>
            <a:ext cx="158748" cy="158748"/>
          </a:xfrm>
          <a:prstGeom prst="rect">
            <a:avLst/>
          </a:prstGeom>
          <a:solidFill>
            <a:srgbClr val="00B0F0"/>
          </a:solidFill>
          <a:ln w="12701" cap="flat">
            <a:solidFill>
              <a:srgbClr val="0080B0"/>
            </a:solidFill>
            <a:prstDash val="solid"/>
            <a:miter/>
          </a:ln>
        </p:spPr>
        <p:txBody>
          <a:bodyPr vert="horz" wrap="none" lIns="0" tIns="0" rIns="0" bIns="0"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endParaRPr lang="en-GB" sz="4400" b="0" i="0" u="none" strike="noStrike" kern="1200" cap="none" spc="0" baseline="0">
              <a:solidFill>
                <a:srgbClr val="FFFFFF"/>
              </a:solidFill>
              <a:uFillTx/>
              <a:latin typeface="Bebas Kai" pitchFamily="82"/>
            </a:endParaRPr>
          </a:p>
        </p:txBody>
      </p:sp>
      <p:sp>
        <p:nvSpPr>
          <p:cNvPr id="4" name="Title Placeholder 1">
            <a:extLst>
              <a:ext uri="{FF2B5EF4-FFF2-40B4-BE49-F238E27FC236}">
                <a16:creationId xmlns:a16="http://schemas.microsoft.com/office/drawing/2014/main" id="{498D466C-FEC4-6236-E287-5442C72E708D}"/>
              </a:ext>
            </a:extLst>
          </p:cNvPr>
          <p:cNvSpPr txBox="1">
            <a:spLocks noGrp="1"/>
          </p:cNvSpPr>
          <p:nvPr>
            <p:ph type="title"/>
          </p:nvPr>
        </p:nvSpPr>
        <p:spPr>
          <a:xfrm>
            <a:off x="179386" y="179386"/>
            <a:ext cx="11831641" cy="708714"/>
          </a:xfrm>
          <a:prstGeom prst="rect">
            <a:avLst/>
          </a:prstGeom>
          <a:noFill/>
          <a:ln>
            <a:noFill/>
          </a:ln>
        </p:spPr>
        <p:txBody>
          <a:bodyPr vert="horz" wrap="square" lIns="0" tIns="0" rIns="0" bIns="0" anchor="ctr" anchorCtr="0" compatLnSpc="1">
            <a:normAutofit/>
          </a:bodyPr>
          <a:lstStyle/>
          <a:p>
            <a:pPr lvl="0"/>
            <a:r>
              <a:rPr lang="en-GB"/>
              <a:t>Click to edit Master title style</a:t>
            </a:r>
          </a:p>
        </p:txBody>
      </p:sp>
      <p:sp>
        <p:nvSpPr>
          <p:cNvPr id="5" name="Text Placeholder 2">
            <a:extLst>
              <a:ext uri="{FF2B5EF4-FFF2-40B4-BE49-F238E27FC236}">
                <a16:creationId xmlns:a16="http://schemas.microsoft.com/office/drawing/2014/main" id="{964EDF8D-381D-09D4-7AC4-DF827305C953}"/>
              </a:ext>
            </a:extLst>
          </p:cNvPr>
          <p:cNvSpPr txBox="1">
            <a:spLocks noGrp="1"/>
          </p:cNvSpPr>
          <p:nvPr>
            <p:ph type="body" idx="1"/>
          </p:nvPr>
        </p:nvSpPr>
        <p:spPr>
          <a:xfrm>
            <a:off x="179386" y="1247771"/>
            <a:ext cx="11831641" cy="4690734"/>
          </a:xfrm>
          <a:prstGeom prst="rect">
            <a:avLst/>
          </a:prstGeom>
          <a:noFill/>
          <a:ln>
            <a:noFill/>
          </a:ln>
        </p:spPr>
        <p:txBody>
          <a:bodyPr vert="horz" wrap="square" lIns="0" tIns="0" rIns="0" bIns="0" anchor="t" anchorCtr="0" compatLnSpc="1">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4">
            <a:extLst>
              <a:ext uri="{FF2B5EF4-FFF2-40B4-BE49-F238E27FC236}">
                <a16:creationId xmlns:a16="http://schemas.microsoft.com/office/drawing/2014/main" id="{44BE1C23-89AB-98E9-462D-019D9269B5AB}"/>
              </a:ext>
            </a:extLst>
          </p:cNvPr>
          <p:cNvSpPr txBox="1">
            <a:spLocks noGrp="1"/>
          </p:cNvSpPr>
          <p:nvPr>
            <p:ph type="ftr" sz="quarter" idx="3"/>
          </p:nvPr>
        </p:nvSpPr>
        <p:spPr>
          <a:xfrm>
            <a:off x="642795" y="6302337"/>
            <a:ext cx="9463189" cy="374693"/>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Helvetica" pitchFamily="34"/>
              </a:defRPr>
            </a:lvl1pPr>
          </a:lstStyle>
          <a:p>
            <a:pPr lvl="0"/>
            <a:endParaRPr lang="en-GB"/>
          </a:p>
        </p:txBody>
      </p:sp>
      <p:sp>
        <p:nvSpPr>
          <p:cNvPr id="7" name="Slide Number Placeholder 5">
            <a:extLst>
              <a:ext uri="{FF2B5EF4-FFF2-40B4-BE49-F238E27FC236}">
                <a16:creationId xmlns:a16="http://schemas.microsoft.com/office/drawing/2014/main" id="{4A7C252C-D803-E42E-DC77-A7AD3AE6B1C8}"/>
              </a:ext>
            </a:extLst>
          </p:cNvPr>
          <p:cNvSpPr txBox="1">
            <a:spLocks noGrp="1"/>
          </p:cNvSpPr>
          <p:nvPr>
            <p:ph type="sldNum" sz="quarter" idx="4"/>
          </p:nvPr>
        </p:nvSpPr>
        <p:spPr>
          <a:xfrm>
            <a:off x="179386" y="6302337"/>
            <a:ext cx="381926" cy="374693"/>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100000"/>
              </a:lnSpc>
              <a:spcBef>
                <a:spcPts val="0"/>
              </a:spcBef>
              <a:spcAft>
                <a:spcPts val="0"/>
              </a:spcAft>
              <a:buNone/>
              <a:tabLst/>
              <a:defRPr lang="en-GB" sz="1200" b="0" i="0" u="none" strike="noStrike" kern="1200" cap="none" spc="0" baseline="0">
                <a:solidFill>
                  <a:srgbClr val="898989"/>
                </a:solidFill>
                <a:uFillTx/>
                <a:latin typeface="Helvetica" pitchFamily="34"/>
              </a:defRPr>
            </a:lvl1pPr>
          </a:lstStyle>
          <a:p>
            <a:pPr lvl="0"/>
            <a:fld id="{568BCD6C-1A66-42B3-ACB8-44EE6F16D2A0}" type="slidenum">
              <a:t>‹#›</a:t>
            </a:fld>
            <a:endParaRPr lang="en-GB"/>
          </a:p>
        </p:txBody>
      </p:sp>
      <p:sp>
        <p:nvSpPr>
          <p:cNvPr id="8" name="Workspace [Presentation]" hidden="1">
            <a:extLst>
              <a:ext uri="{FF2B5EF4-FFF2-40B4-BE49-F238E27FC236}">
                <a16:creationId xmlns:a16="http://schemas.microsoft.com/office/drawing/2014/main" id="{1ECE6FB9-5D87-3842-D370-AD0E5AC8D37C}"/>
              </a:ext>
            </a:extLst>
          </p:cNvPr>
          <p:cNvSpPr/>
          <p:nvPr/>
        </p:nvSpPr>
        <p:spPr>
          <a:xfrm>
            <a:off x="179386" y="1247771"/>
            <a:ext cx="11831641" cy="4690734"/>
          </a:xfrm>
          <a:prstGeom prst="rect">
            <a:avLst/>
          </a:prstGeom>
          <a:noFill/>
          <a:ln w="12701" cap="flat">
            <a:solidFill>
              <a:srgbClr val="D24726"/>
            </a:solidFill>
            <a:custDash>
              <a:ds d="799921" sp="100000"/>
            </a:custDash>
            <a:miter/>
          </a:ln>
        </p:spPr>
        <p:txBody>
          <a:bodyPr vert="horz" wrap="square" lIns="71999" tIns="71999" rIns="71999" bIns="71999"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600" b="0" i="0" u="none" strike="noStrike" kern="1200" cap="none" spc="0" baseline="0">
              <a:solidFill>
                <a:srgbClr val="FFFFFF"/>
              </a:solidFill>
              <a:uFillTx/>
              <a:latin typeface="Century Gothic"/>
            </a:endParaRPr>
          </a:p>
        </p:txBody>
      </p:sp>
      <p:pic>
        <p:nvPicPr>
          <p:cNvPr id="9" name="Picture 2" descr="Home - The Circular Bioeconomy Alliance">
            <a:extLst>
              <a:ext uri="{FF2B5EF4-FFF2-40B4-BE49-F238E27FC236}">
                <a16:creationId xmlns:a16="http://schemas.microsoft.com/office/drawing/2014/main" id="{576CAF41-83F1-F4E0-0041-5FDDAB6AC975}"/>
              </a:ext>
            </a:extLst>
          </p:cNvPr>
          <p:cNvPicPr>
            <a:picLocks noChangeAspect="1"/>
          </p:cNvPicPr>
          <p:nvPr/>
        </p:nvPicPr>
        <p:blipFill>
          <a:blip r:embed="rId25"/>
          <a:srcRect/>
          <a:stretch>
            <a:fillRect/>
          </a:stretch>
        </p:blipFill>
        <p:spPr>
          <a:xfrm>
            <a:off x="11019644" y="6229441"/>
            <a:ext cx="991383" cy="520476"/>
          </a:xfrm>
          <a:prstGeom prst="rect">
            <a:avLst/>
          </a:prstGeom>
          <a:noFill/>
          <a:ln>
            <a:noFill/>
          </a:ln>
        </p:spPr>
      </p:pic>
      <p:sp>
        <p:nvSpPr>
          <p:cNvPr id="11" name="TextBox 10">
            <a:extLst>
              <a:ext uri="{FF2B5EF4-FFF2-40B4-BE49-F238E27FC236}">
                <a16:creationId xmlns:a16="http://schemas.microsoft.com/office/drawing/2014/main" id="{90863B0D-488D-B87F-61D2-4F0844B5C2A2}"/>
              </a:ext>
            </a:extLst>
          </p:cNvPr>
          <p:cNvSpPr txBox="1"/>
          <p:nvPr userDrawn="1">
            <p:extLst>
              <p:ext uri="{1162E1C5-73C7-4A58-AE30-91384D911F3F}">
                <p184:classification xmlns:p184="http://schemas.microsoft.com/office/powerpoint/2018/4/main" val="ftr"/>
              </p:ext>
            </p:extLst>
          </p:nvPr>
        </p:nvSpPr>
        <p:spPr>
          <a:xfrm>
            <a:off x="5901500" y="6705600"/>
            <a:ext cx="417512"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P u b l i c</a:t>
            </a:r>
          </a:p>
        </p:txBody>
      </p:sp>
    </p:spTree>
    <p:extLst>
      <p:ext uri="{BB962C8B-B14F-4D97-AF65-F5344CB8AC3E}">
        <p14:creationId xmlns:p14="http://schemas.microsoft.com/office/powerpoint/2010/main" val="168612574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4" r:id="rId20"/>
    <p:sldLayoutId id="2147483706" r:id="rId21"/>
  </p:sldLayoutIdLst>
  <p:txStyles>
    <p:title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p:titleStyle>
    <p:bodyStyle>
      <a:lvl1pPr marL="179999" marR="0" lvl="0" indent="-179999" algn="l" defTabSz="914400" rtl="0" fontAlgn="auto" hangingPunct="1">
        <a:lnSpc>
          <a:spcPct val="90000"/>
        </a:lnSpc>
        <a:spcBef>
          <a:spcPts val="10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1pPr>
      <a:lvl2pPr marL="359999" marR="0" lvl="1"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2pPr>
      <a:lvl3pPr marL="539998" marR="0" lvl="2"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3pPr>
      <a:lvl4pPr marL="719998" marR="0" lvl="3"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4pPr>
      <a:lvl5pPr marL="899998" marR="0" lvl="4" indent="-179999" algn="l" defTabSz="914400" rtl="0" fontAlgn="auto" hangingPunct="1">
        <a:lnSpc>
          <a:spcPct val="90000"/>
        </a:lnSpc>
        <a:spcBef>
          <a:spcPts val="500"/>
        </a:spcBef>
        <a:spcAft>
          <a:spcPts val="0"/>
        </a:spcAft>
        <a:buSzPct val="100000"/>
        <a:buFont typeface="Wingdings" pitchFamily="2"/>
        <a:buChar char="§"/>
        <a:tabLst/>
        <a:defRPr lang="en-GB" sz="1200" b="0" i="0" u="none" strike="noStrike" kern="1200" cap="none" spc="0" baseline="0">
          <a:solidFill>
            <a:srgbClr val="000000"/>
          </a:solidFill>
          <a:uFillTx/>
          <a:latin typeface="Helvetica" pitchFamily="34"/>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24.bin"/><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5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e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0.xml"/><Relationship Id="rId7" Type="http://schemas.openxmlformats.org/officeDocument/2006/relationships/image" Target="../media/image33.png"/><Relationship Id="rId2" Type="http://schemas.openxmlformats.org/officeDocument/2006/relationships/slideLayout" Target="../slideLayouts/slideLayout48.xml"/><Relationship Id="rId1" Type="http://schemas.openxmlformats.org/officeDocument/2006/relationships/tags" Target="../tags/tag40.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5.emf"/><Relationship Id="rId10" Type="http://schemas.openxmlformats.org/officeDocument/2006/relationships/image" Target="../media/image36.png"/><Relationship Id="rId4" Type="http://schemas.openxmlformats.org/officeDocument/2006/relationships/oleObject" Target="../embeddings/oleObject28.bin"/><Relationship Id="rId9"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40.png"/><Relationship Id="rId3" Type="http://schemas.openxmlformats.org/officeDocument/2006/relationships/notesSlide" Target="../notesSlides/notesSlide11.xml"/><Relationship Id="rId7" Type="http://schemas.openxmlformats.org/officeDocument/2006/relationships/image" Target="../media/image8.png"/><Relationship Id="rId12" Type="http://schemas.openxmlformats.org/officeDocument/2006/relationships/image" Target="../media/image39.svg"/><Relationship Id="rId2" Type="http://schemas.openxmlformats.org/officeDocument/2006/relationships/slideLayout" Target="../slideLayouts/slideLayout53.xml"/><Relationship Id="rId16" Type="http://schemas.openxmlformats.org/officeDocument/2006/relationships/image" Target="../media/image18.svg"/><Relationship Id="rId1" Type="http://schemas.openxmlformats.org/officeDocument/2006/relationships/tags" Target="../tags/tag41.xml"/><Relationship Id="rId6" Type="http://schemas.openxmlformats.org/officeDocument/2006/relationships/image" Target="../media/image10.jpeg"/><Relationship Id="rId11" Type="http://schemas.openxmlformats.org/officeDocument/2006/relationships/image" Target="../media/image38.png"/><Relationship Id="rId5" Type="http://schemas.openxmlformats.org/officeDocument/2006/relationships/image" Target="../media/image5.emf"/><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oleObject" Target="../embeddings/oleObject29.bin"/><Relationship Id="rId9" Type="http://schemas.openxmlformats.org/officeDocument/2006/relationships/image" Target="../media/image11.png"/><Relationship Id="rId14" Type="http://schemas.openxmlformats.org/officeDocument/2006/relationships/image" Target="../media/image41.sv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notesSlide" Target="../notesSlides/notesSlide12.xml"/><Relationship Id="rId1" Type="http://schemas.openxmlformats.org/officeDocument/2006/relationships/slideLayout" Target="../slideLayouts/slideLayout43.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notesSlide" Target="../notesSlides/notesSlide13.xml"/><Relationship Id="rId1" Type="http://schemas.openxmlformats.org/officeDocument/2006/relationships/slideLayout" Target="../slideLayouts/slideLayout43.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notesSlide" Target="../notesSlides/notesSlide14.xml"/><Relationship Id="rId1" Type="http://schemas.openxmlformats.org/officeDocument/2006/relationships/slideLayout" Target="../slideLayouts/slideLayout43.xml"/><Relationship Id="rId5" Type="http://schemas.openxmlformats.org/officeDocument/2006/relationships/image" Target="../media/image42.jpeg"/><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45.jpeg"/><Relationship Id="rId2" Type="http://schemas.openxmlformats.org/officeDocument/2006/relationships/notesSlide" Target="../notesSlides/notesSlide15.xml"/><Relationship Id="rId1" Type="http://schemas.openxmlformats.org/officeDocument/2006/relationships/slideLayout" Target="../slideLayouts/slideLayout33.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2.png"/><Relationship Id="rId18" Type="http://schemas.openxmlformats.org/officeDocument/2006/relationships/image" Target="../media/image57.png"/><Relationship Id="rId3" Type="http://schemas.openxmlformats.org/officeDocument/2006/relationships/oleObject" Target="../embeddings/oleObject34.bin"/><Relationship Id="rId21" Type="http://schemas.openxmlformats.org/officeDocument/2006/relationships/image" Target="../media/image60.png"/><Relationship Id="rId7" Type="http://schemas.openxmlformats.org/officeDocument/2006/relationships/image" Target="../media/image48.jpe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notesSlide" Target="../notesSlides/notesSlide16.xml"/><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slideLayout" Target="../slideLayouts/slideLayout43.xml"/><Relationship Id="rId6" Type="http://schemas.openxmlformats.org/officeDocument/2006/relationships/image" Target="../media/image47.jpeg"/><Relationship Id="rId11" Type="http://schemas.openxmlformats.org/officeDocument/2006/relationships/image" Target="../media/image12.svg"/><Relationship Id="rId5" Type="http://schemas.openxmlformats.org/officeDocument/2006/relationships/image" Target="../media/image46.jpeg"/><Relationship Id="rId15" Type="http://schemas.openxmlformats.org/officeDocument/2006/relationships/image" Target="../media/image54.png"/><Relationship Id="rId23" Type="http://schemas.openxmlformats.org/officeDocument/2006/relationships/image" Target="../media/image62.png"/><Relationship Id="rId10" Type="http://schemas.openxmlformats.org/officeDocument/2006/relationships/image" Target="../media/image11.png"/><Relationship Id="rId19" Type="http://schemas.openxmlformats.org/officeDocument/2006/relationships/image" Target="../media/image58.png"/><Relationship Id="rId4" Type="http://schemas.openxmlformats.org/officeDocument/2006/relationships/image" Target="../media/image19.emf"/><Relationship Id="rId9" Type="http://schemas.openxmlformats.org/officeDocument/2006/relationships/image" Target="../media/image50.jpeg"/><Relationship Id="rId14" Type="http://schemas.openxmlformats.org/officeDocument/2006/relationships/image" Target="../media/image53.png"/><Relationship Id="rId22"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8.xml"/><Relationship Id="rId1" Type="http://schemas.openxmlformats.org/officeDocument/2006/relationships/tags" Target="../tags/tag42.xml"/><Relationship Id="rId4" Type="http://schemas.openxmlformats.org/officeDocument/2006/relationships/image" Target="../media/image5.emf"/></Relationships>
</file>

<file path=ppt/slides/_rels/slide19.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5.png"/><Relationship Id="rId18" Type="http://schemas.openxmlformats.org/officeDocument/2006/relationships/image" Target="../media/image67.svg"/><Relationship Id="rId3" Type="http://schemas.openxmlformats.org/officeDocument/2006/relationships/notesSlide" Target="../notesSlides/notesSlide17.xml"/><Relationship Id="rId7" Type="http://schemas.openxmlformats.org/officeDocument/2006/relationships/image" Target="../media/image8.png"/><Relationship Id="rId12" Type="http://schemas.openxmlformats.org/officeDocument/2006/relationships/image" Target="../media/image39.svg"/><Relationship Id="rId17" Type="http://schemas.openxmlformats.org/officeDocument/2006/relationships/image" Target="../media/image66.png"/><Relationship Id="rId2" Type="http://schemas.openxmlformats.org/officeDocument/2006/relationships/slideLayout" Target="../slideLayouts/slideLayout53.xml"/><Relationship Id="rId16" Type="http://schemas.openxmlformats.org/officeDocument/2006/relationships/image" Target="../media/image65.svg"/><Relationship Id="rId1" Type="http://schemas.openxmlformats.org/officeDocument/2006/relationships/tags" Target="../tags/tag43.xml"/><Relationship Id="rId6" Type="http://schemas.openxmlformats.org/officeDocument/2006/relationships/image" Target="../media/image10.jpeg"/><Relationship Id="rId11" Type="http://schemas.openxmlformats.org/officeDocument/2006/relationships/image" Target="../media/image38.png"/><Relationship Id="rId5" Type="http://schemas.openxmlformats.org/officeDocument/2006/relationships/image" Target="../media/image5.emf"/><Relationship Id="rId15" Type="http://schemas.openxmlformats.org/officeDocument/2006/relationships/image" Target="../media/image64.png"/><Relationship Id="rId10" Type="http://schemas.openxmlformats.org/officeDocument/2006/relationships/image" Target="../media/image12.svg"/><Relationship Id="rId4" Type="http://schemas.openxmlformats.org/officeDocument/2006/relationships/oleObject" Target="../embeddings/oleObject36.bin"/><Relationship Id="rId9" Type="http://schemas.openxmlformats.org/officeDocument/2006/relationships/image" Target="../media/image11.png"/><Relationship Id="rId14" Type="http://schemas.openxmlformats.org/officeDocument/2006/relationships/image" Target="../media/image63.svg"/></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5.png"/><Relationship Id="rId3" Type="http://schemas.openxmlformats.org/officeDocument/2006/relationships/notesSlide" Target="../notesSlides/notesSlide2.xml"/><Relationship Id="rId7" Type="http://schemas.openxmlformats.org/officeDocument/2006/relationships/image" Target="../media/image8.png"/><Relationship Id="rId12" Type="http://schemas.openxmlformats.org/officeDocument/2006/relationships/image" Target="../media/image14.svg"/><Relationship Id="rId2" Type="http://schemas.openxmlformats.org/officeDocument/2006/relationships/slideLayout" Target="../slideLayouts/slideLayout32.xml"/><Relationship Id="rId16" Type="http://schemas.openxmlformats.org/officeDocument/2006/relationships/image" Target="../media/image18.svg"/><Relationship Id="rId1" Type="http://schemas.openxmlformats.org/officeDocument/2006/relationships/tags" Target="../tags/tag38.xml"/><Relationship Id="rId6" Type="http://schemas.openxmlformats.org/officeDocument/2006/relationships/image" Target="../media/image10.jpeg"/><Relationship Id="rId11" Type="http://schemas.openxmlformats.org/officeDocument/2006/relationships/image" Target="../media/image13.png"/><Relationship Id="rId5" Type="http://schemas.openxmlformats.org/officeDocument/2006/relationships/image" Target="../media/image5.emf"/><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oleObject" Target="../embeddings/oleObject25.bin"/><Relationship Id="rId9" Type="http://schemas.openxmlformats.org/officeDocument/2006/relationships/image" Target="../media/image11.png"/><Relationship Id="rId14" Type="http://schemas.openxmlformats.org/officeDocument/2006/relationships/image" Target="../media/image16.sv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notesSlide" Target="../notesSlides/notesSlide18.xml"/><Relationship Id="rId1" Type="http://schemas.openxmlformats.org/officeDocument/2006/relationships/slideLayout" Target="../slideLayouts/slideLayout43.xml"/><Relationship Id="rId4" Type="http://schemas.openxmlformats.org/officeDocument/2006/relationships/image" Target="../media/image19.emf"/></Relationships>
</file>

<file path=ppt/slides/_rels/slide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oleObject" Target="../embeddings/oleObject38.bin"/><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8.xml"/><Relationship Id="rId1" Type="http://schemas.openxmlformats.org/officeDocument/2006/relationships/tags" Target="../tags/tag44.xml"/><Relationship Id="rId5" Type="http://schemas.openxmlformats.org/officeDocument/2006/relationships/image" Target="../media/image22.jpeg"/><Relationship Id="rId4" Type="http://schemas.openxmlformats.org/officeDocument/2006/relationships/image" Target="../media/image5.emf"/></Relationships>
</file>

<file path=ppt/slides/_rels/slide2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oleObject" Target="../embeddings/oleObject40.bin"/><Relationship Id="rId7"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3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9.emf"/></Relationships>
</file>

<file path=ppt/slides/_rels/slide24.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notesSlide" Target="../notesSlides/notesSlide20.xml"/><Relationship Id="rId1" Type="http://schemas.openxmlformats.org/officeDocument/2006/relationships/slideLayout" Target="../slideLayouts/slideLayout51.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8.xml"/><Relationship Id="rId1" Type="http://schemas.openxmlformats.org/officeDocument/2006/relationships/tags" Target="../tags/tag39.xml"/><Relationship Id="rId6" Type="http://schemas.openxmlformats.org/officeDocument/2006/relationships/image" Target="../media/image22.jpeg"/><Relationship Id="rId5" Type="http://schemas.openxmlformats.org/officeDocument/2006/relationships/image" Target="../media/image19.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49.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9.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639B6F-397E-1089-67A8-67A2E3621840}"/>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87" progId="">
                  <p:embed/>
                </p:oleObj>
              </mc:Choice>
              <mc:Fallback>
                <p:oleObj r:id="rId3" imgW="5787" imgH="5787" progId="">
                  <p:embed/>
                  <p:pic>
                    <p:nvPicPr>
                      <p:cNvPr id="2" name="think-cell data - do not delete" hidden="1">
                        <a:extLst>
                          <a:ext uri="{FF2B5EF4-FFF2-40B4-BE49-F238E27FC236}">
                            <a16:creationId xmlns:a16="http://schemas.microsoft.com/office/drawing/2014/main" id="{4B639B6F-397E-1089-67A8-67A2E3621840}"/>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pic>
        <p:nvPicPr>
          <p:cNvPr id="3" name="Picture 2" descr="green pine trees during daytime">
            <a:extLst>
              <a:ext uri="{FF2B5EF4-FFF2-40B4-BE49-F238E27FC236}">
                <a16:creationId xmlns:a16="http://schemas.microsoft.com/office/drawing/2014/main" id="{6F0E8C76-0B63-AD0F-980A-FE0BC07A51A8}"/>
              </a:ext>
            </a:extLst>
          </p:cNvPr>
          <p:cNvPicPr>
            <a:picLocks noChangeAspect="1"/>
          </p:cNvPicPr>
          <p:nvPr/>
        </p:nvPicPr>
        <p:blipFill>
          <a:blip r:embed="rId5"/>
          <a:srcRect l="29137"/>
          <a:stretch>
            <a:fillRect/>
          </a:stretch>
        </p:blipFill>
        <p:spPr>
          <a:xfrm flipH="1">
            <a:off x="4905371" y="0"/>
            <a:ext cx="7286003" cy="6858000"/>
          </a:xfrm>
          <a:prstGeom prst="rect">
            <a:avLst/>
          </a:prstGeom>
          <a:noFill/>
          <a:ln>
            <a:noFill/>
          </a:ln>
        </p:spPr>
      </p:pic>
      <p:pic>
        <p:nvPicPr>
          <p:cNvPr id="4" name="Picture 10" descr="Text&#10;&#10;Description automatically generated with medium confidence">
            <a:extLst>
              <a:ext uri="{FF2B5EF4-FFF2-40B4-BE49-F238E27FC236}">
                <a16:creationId xmlns:a16="http://schemas.microsoft.com/office/drawing/2014/main" id="{D0C51872-5972-07AB-0F3D-395301C43552}"/>
              </a:ext>
            </a:extLst>
          </p:cNvPr>
          <p:cNvPicPr>
            <a:picLocks noChangeAspect="1"/>
          </p:cNvPicPr>
          <p:nvPr/>
        </p:nvPicPr>
        <p:blipFill>
          <a:blip r:embed="rId6"/>
          <a:stretch>
            <a:fillRect/>
          </a:stretch>
        </p:blipFill>
        <p:spPr>
          <a:xfrm>
            <a:off x="577800" y="5687613"/>
            <a:ext cx="1449470" cy="532573"/>
          </a:xfrm>
          <a:prstGeom prst="rect">
            <a:avLst/>
          </a:prstGeom>
          <a:noFill/>
          <a:ln>
            <a:noFill/>
          </a:ln>
        </p:spPr>
      </p:pic>
      <p:sp>
        <p:nvSpPr>
          <p:cNvPr id="5" name="Rectangle 5">
            <a:extLst>
              <a:ext uri="{FF2B5EF4-FFF2-40B4-BE49-F238E27FC236}">
                <a16:creationId xmlns:a16="http://schemas.microsoft.com/office/drawing/2014/main" id="{FBA2B463-63B8-294C-B122-2DE1F00D3252}"/>
              </a:ext>
            </a:extLst>
          </p:cNvPr>
          <p:cNvSpPr/>
          <p:nvPr/>
        </p:nvSpPr>
        <p:spPr>
          <a:xfrm>
            <a:off x="4905371" y="0"/>
            <a:ext cx="7286003" cy="6858000"/>
          </a:xfrm>
          <a:prstGeom prst="rect">
            <a:avLst/>
          </a:prstGeom>
          <a:solidFill>
            <a:srgbClr val="031F35">
              <a:alpha val="66000"/>
            </a:srgbClr>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2700" b="0" i="0" u="none" strike="noStrike" kern="1200" cap="none" spc="0" normalizeH="0" baseline="0" noProof="0">
              <a:ln>
                <a:noFill/>
              </a:ln>
              <a:solidFill>
                <a:srgbClr val="FFFFFF"/>
              </a:solidFill>
              <a:effectLst/>
              <a:uLnTx/>
              <a:uFillTx/>
              <a:latin typeface="Century Gothic"/>
              <a:ea typeface="+mn-ea"/>
              <a:cs typeface="+mn-cs"/>
            </a:endParaRPr>
          </a:p>
        </p:txBody>
      </p:sp>
      <p:pic>
        <p:nvPicPr>
          <p:cNvPr id="6" name="Graphic 6">
            <a:extLst>
              <a:ext uri="{FF2B5EF4-FFF2-40B4-BE49-F238E27FC236}">
                <a16:creationId xmlns:a16="http://schemas.microsoft.com/office/drawing/2014/main" id="{2AA98E2C-117E-7B53-191E-1362A0F6F4F1}"/>
              </a:ext>
            </a:extLst>
          </p:cNvPr>
          <p:cNvPicPr>
            <a:picLocks noChangeAspect="1"/>
          </p:cNvPicPr>
          <p:nvPr/>
        </p:nvPicPr>
        <p:blipFill>
          <a:blip r:embed="rId7">
            <a:extLst>
              <a:ext uri="{96DAC541-7B7A-43D3-8B79-37D633B846F1}">
                <asvg:svgBlip xmlns:asvg="http://schemas.microsoft.com/office/drawing/2016/SVG/main" r:embed="rId8"/>
              </a:ext>
            </a:extLst>
          </a:blip>
          <a:srcRect l="47489" b="7081"/>
          <a:stretch>
            <a:fillRect/>
          </a:stretch>
        </p:blipFill>
        <p:spPr>
          <a:xfrm flipH="1">
            <a:off x="9020949" y="1229090"/>
            <a:ext cx="3171047" cy="5628909"/>
          </a:xfrm>
          <a:prstGeom prst="rect">
            <a:avLst/>
          </a:prstGeom>
          <a:noFill/>
          <a:ln>
            <a:noFill/>
          </a:ln>
        </p:spPr>
      </p:pic>
      <p:sp>
        <p:nvSpPr>
          <p:cNvPr id="7" name="TextBox 9">
            <a:extLst>
              <a:ext uri="{FF2B5EF4-FFF2-40B4-BE49-F238E27FC236}">
                <a16:creationId xmlns:a16="http://schemas.microsoft.com/office/drawing/2014/main" id="{E5927DA6-1160-6FEC-6EEA-99DD712A7F97}"/>
              </a:ext>
            </a:extLst>
          </p:cNvPr>
          <p:cNvSpPr txBox="1"/>
          <p:nvPr/>
        </p:nvSpPr>
        <p:spPr>
          <a:xfrm>
            <a:off x="580772" y="2749408"/>
            <a:ext cx="4231587" cy="1077218"/>
          </a:xfrm>
          <a:prstGeom prst="rect">
            <a:avLst/>
          </a:prstGeom>
          <a:noFill/>
          <a:ln>
            <a:noFill/>
          </a:ln>
        </p:spPr>
        <p:txBody>
          <a:bodyPr vert="horz" wrap="square" lIns="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3200" b="1" i="0" u="none" strike="noStrike" kern="1200" cap="none" spc="0" normalizeH="0" baseline="0" noProof="0" dirty="0">
                <a:ln>
                  <a:noFill/>
                </a:ln>
                <a:solidFill>
                  <a:srgbClr val="000000"/>
                </a:solidFill>
                <a:effectLst/>
                <a:uLnTx/>
                <a:uFillTx/>
                <a:latin typeface="Avenir Next LT Pro"/>
                <a:ea typeface="+mn-ea"/>
                <a:cs typeface="+mn-cs"/>
              </a:rPr>
              <a:t>Circular Bioeconomy Alliance</a:t>
            </a:r>
            <a:endParaRPr kumimoji="0" lang="en-GB" sz="3200" b="1" i="0" u="none" strike="noStrike" kern="1200" cap="none" spc="0" normalizeH="0" baseline="0" noProof="0" dirty="0">
              <a:ln>
                <a:noFill/>
              </a:ln>
              <a:solidFill>
                <a:srgbClr val="000000"/>
              </a:solidFill>
              <a:effectLst/>
              <a:uLnTx/>
              <a:uFillTx/>
              <a:latin typeface="Avenir Next LT Pro" pitchFamily="34"/>
              <a:ea typeface="+mn-ea"/>
              <a:cs typeface="+mn-cs"/>
            </a:endParaRPr>
          </a:p>
        </p:txBody>
      </p:sp>
      <p:sp>
        <p:nvSpPr>
          <p:cNvPr id="8" name="TextBox 11">
            <a:extLst>
              <a:ext uri="{FF2B5EF4-FFF2-40B4-BE49-F238E27FC236}">
                <a16:creationId xmlns:a16="http://schemas.microsoft.com/office/drawing/2014/main" id="{658E3E22-EB94-CBDF-F184-BA1F73E8FE08}"/>
              </a:ext>
            </a:extLst>
          </p:cNvPr>
          <p:cNvSpPr txBox="1"/>
          <p:nvPr/>
        </p:nvSpPr>
        <p:spPr>
          <a:xfrm>
            <a:off x="580772" y="4916564"/>
            <a:ext cx="3555543" cy="400114"/>
          </a:xfrm>
          <a:prstGeom prst="rect">
            <a:avLst/>
          </a:prstGeom>
          <a:noFill/>
          <a:ln>
            <a:noFill/>
          </a:ln>
        </p:spPr>
        <p:txBody>
          <a:bodyPr vert="horz" wrap="square" lIns="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lang="en-GB" sz="2000" dirty="0">
                <a:solidFill>
                  <a:srgbClr val="000000"/>
                </a:solidFill>
                <a:latin typeface="Avenir Next LT Pro" pitchFamily="34"/>
              </a:rPr>
              <a:t>June</a:t>
            </a:r>
            <a:r>
              <a:rPr kumimoji="0" lang="en-GB" sz="2000" b="0" i="0" u="none" strike="noStrike" kern="1200" cap="none" spc="0" normalizeH="0" baseline="0" noProof="0" dirty="0">
                <a:ln>
                  <a:noFill/>
                </a:ln>
                <a:solidFill>
                  <a:srgbClr val="000000"/>
                </a:solidFill>
                <a:effectLst/>
                <a:uLnTx/>
                <a:uFillTx/>
                <a:latin typeface="Avenir Next LT Pro" pitchFamily="34"/>
                <a:ea typeface="+mn-ea"/>
                <a:cs typeface="+mn-cs"/>
              </a:rPr>
              <a:t> </a:t>
            </a:r>
            <a:r>
              <a:rPr lang="en-GB" sz="2000" dirty="0">
                <a:solidFill>
                  <a:srgbClr val="000000"/>
                </a:solidFill>
                <a:latin typeface="Avenir Next LT Pro" pitchFamily="34"/>
              </a:rPr>
              <a:t>7</a:t>
            </a:r>
            <a:r>
              <a:rPr kumimoji="0" lang="en-GB" sz="2000" b="0" i="0" u="none" strike="noStrike" kern="1200" cap="none" spc="0" normalizeH="0" baseline="0" noProof="0" dirty="0">
                <a:ln>
                  <a:noFill/>
                </a:ln>
                <a:solidFill>
                  <a:srgbClr val="000000"/>
                </a:solidFill>
                <a:effectLst/>
                <a:uLnTx/>
                <a:uFillTx/>
                <a:latin typeface="Avenir Next LT Pro" pitchFamily="34"/>
                <a:ea typeface="+mn-ea"/>
                <a:cs typeface="+mn-cs"/>
              </a:rPr>
              <a:t>, 2024</a:t>
            </a:r>
          </a:p>
        </p:txBody>
      </p:sp>
      <p:sp>
        <p:nvSpPr>
          <p:cNvPr id="9" name="Rectangle 15">
            <a:extLst>
              <a:ext uri="{FF2B5EF4-FFF2-40B4-BE49-F238E27FC236}">
                <a16:creationId xmlns:a16="http://schemas.microsoft.com/office/drawing/2014/main" id="{736C5505-6E3F-4118-D997-58E6EB988E07}"/>
              </a:ext>
            </a:extLst>
          </p:cNvPr>
          <p:cNvSpPr/>
          <p:nvPr/>
        </p:nvSpPr>
        <p:spPr>
          <a:xfrm>
            <a:off x="577178" y="637812"/>
            <a:ext cx="1638303" cy="168633"/>
          </a:xfrm>
          <a:prstGeom prst="rect">
            <a:avLst/>
          </a:prstGeom>
          <a:solidFill>
            <a:srgbClr val="F7990F"/>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entury Gothic"/>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82B79-4C2C-BF0A-E11E-ED0BB0A1F92D}"/>
              </a:ext>
            </a:extLst>
          </p:cNvPr>
          <p:cNvSpPr>
            <a:spLocks noGrp="1"/>
          </p:cNvSpPr>
          <p:nvPr>
            <p:ph type="title"/>
          </p:nvPr>
        </p:nvSpPr>
        <p:spPr>
          <a:xfrm>
            <a:off x="237424" y="689706"/>
            <a:ext cx="11831641" cy="708714"/>
          </a:xfrm>
        </p:spPr>
        <p:txBody>
          <a:bodyPr>
            <a:normAutofit fontScale="90000"/>
          </a:bodyPr>
          <a:lstStyle/>
          <a:p>
            <a:r>
              <a:rPr lang="en-US" cap="none" dirty="0">
                <a:latin typeface="AvenirNext LT Pro Bold" panose="020B0804020202020204" pitchFamily="34" charset="0"/>
              </a:rPr>
              <a:t>A new economy powered by nature: circular bioeconomy</a:t>
            </a:r>
            <a:br>
              <a:rPr lang="en-US" dirty="0"/>
            </a:br>
            <a:br>
              <a:rPr lang="en-US" dirty="0"/>
            </a:br>
            <a:endParaRPr lang="en-US" dirty="0"/>
          </a:p>
        </p:txBody>
      </p:sp>
      <p:sp>
        <p:nvSpPr>
          <p:cNvPr id="4" name="REGENERATIVE BUSINESS MODELS ARE HERE">
            <a:extLst>
              <a:ext uri="{FF2B5EF4-FFF2-40B4-BE49-F238E27FC236}">
                <a16:creationId xmlns:a16="http://schemas.microsoft.com/office/drawing/2014/main" id="{44AA81E3-0D36-1BF2-BBC2-BA060B887D39}"/>
              </a:ext>
            </a:extLst>
          </p:cNvPr>
          <p:cNvSpPr txBox="1"/>
          <p:nvPr/>
        </p:nvSpPr>
        <p:spPr>
          <a:xfrm>
            <a:off x="234951" y="2219698"/>
            <a:ext cx="4559300" cy="3388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ctr">
            <a:spAutoFit/>
          </a:bodyPr>
          <a:lstStyle>
            <a:lvl1pPr>
              <a:lnSpc>
                <a:spcPct val="110000"/>
              </a:lnSpc>
              <a:defRPr sz="3500" b="0" cap="all" spc="805">
                <a:solidFill>
                  <a:srgbClr val="465E54"/>
                </a:solidFill>
              </a:defRPr>
            </a:lvl1pPr>
          </a:lstStyle>
          <a:p>
            <a:pPr algn="ctr" defTabSz="914400">
              <a:lnSpc>
                <a:spcPct val="90000"/>
              </a:lnSpc>
              <a:spcBef>
                <a:spcPct val="0"/>
              </a:spcBef>
            </a:pPr>
            <a:r>
              <a:rPr lang="en-GB" sz="2000" b="1" spc="0" dirty="0">
                <a:solidFill>
                  <a:schemeClr val="tx1"/>
                </a:solidFill>
                <a:latin typeface="+mj-lt"/>
                <a:ea typeface="+mj-ea"/>
                <a:cs typeface="Arial" panose="020B0604020202020204" pitchFamily="34" charset="0"/>
              </a:rPr>
              <a:t>nature-based solutions</a:t>
            </a:r>
          </a:p>
        </p:txBody>
      </p:sp>
      <p:sp>
        <p:nvSpPr>
          <p:cNvPr id="5" name="REGENERATIVE BUSINESS MODELS ARE HERE">
            <a:extLst>
              <a:ext uri="{FF2B5EF4-FFF2-40B4-BE49-F238E27FC236}">
                <a16:creationId xmlns:a16="http://schemas.microsoft.com/office/drawing/2014/main" id="{D15699A7-A84F-D0AB-E669-78F120DED1FB}"/>
              </a:ext>
            </a:extLst>
          </p:cNvPr>
          <p:cNvSpPr txBox="1"/>
          <p:nvPr/>
        </p:nvSpPr>
        <p:spPr>
          <a:xfrm>
            <a:off x="4959350" y="2219698"/>
            <a:ext cx="7010400" cy="3388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ctr">
            <a:spAutoFit/>
          </a:bodyPr>
          <a:lstStyle>
            <a:lvl1pPr>
              <a:lnSpc>
                <a:spcPct val="110000"/>
              </a:lnSpc>
              <a:defRPr sz="3500" b="0" cap="all" spc="805">
                <a:solidFill>
                  <a:srgbClr val="465E54"/>
                </a:solidFill>
              </a:defRPr>
            </a:lvl1pPr>
          </a:lstStyle>
          <a:p>
            <a:pPr algn="ctr" defTabSz="914400">
              <a:lnSpc>
                <a:spcPct val="90000"/>
              </a:lnSpc>
              <a:spcBef>
                <a:spcPct val="0"/>
              </a:spcBef>
            </a:pPr>
            <a:r>
              <a:rPr lang="en-GB" sz="2000" b="1" spc="0" dirty="0">
                <a:solidFill>
                  <a:schemeClr val="tx1"/>
                </a:solidFill>
                <a:latin typeface="+mj-lt"/>
                <a:ea typeface="+mj-ea"/>
                <a:cs typeface="Arial" panose="020B0604020202020204" pitchFamily="34" charset="0"/>
              </a:rPr>
              <a:t>Bio-based value-chains</a:t>
            </a:r>
          </a:p>
        </p:txBody>
      </p:sp>
      <p:grpSp>
        <p:nvGrpSpPr>
          <p:cNvPr id="6" name="Group 5">
            <a:extLst>
              <a:ext uri="{FF2B5EF4-FFF2-40B4-BE49-F238E27FC236}">
                <a16:creationId xmlns:a16="http://schemas.microsoft.com/office/drawing/2014/main" id="{E3A298A0-ECF9-AC5F-132A-93E252F8CB2F}"/>
              </a:ext>
            </a:extLst>
          </p:cNvPr>
          <p:cNvGrpSpPr/>
          <p:nvPr/>
        </p:nvGrpSpPr>
        <p:grpSpPr>
          <a:xfrm>
            <a:off x="235960" y="2738632"/>
            <a:ext cx="4566001" cy="2786124"/>
            <a:chOff x="300446" y="2453398"/>
            <a:chExt cx="4491421" cy="2699519"/>
          </a:xfrm>
        </p:grpSpPr>
        <p:grpSp>
          <p:nvGrpSpPr>
            <p:cNvPr id="7" name="Group 6">
              <a:extLst>
                <a:ext uri="{FF2B5EF4-FFF2-40B4-BE49-F238E27FC236}">
                  <a16:creationId xmlns:a16="http://schemas.microsoft.com/office/drawing/2014/main" id="{BC86B308-B494-CB2E-7E41-BBA6E5408C9C}"/>
                </a:ext>
              </a:extLst>
            </p:cNvPr>
            <p:cNvGrpSpPr/>
            <p:nvPr/>
          </p:nvGrpSpPr>
          <p:grpSpPr>
            <a:xfrm>
              <a:off x="300446" y="2453398"/>
              <a:ext cx="4491421" cy="2085592"/>
              <a:chOff x="300446" y="2453398"/>
              <a:chExt cx="4491421" cy="2085592"/>
            </a:xfrm>
          </p:grpSpPr>
          <p:pic>
            <p:nvPicPr>
              <p:cNvPr id="10" name="Picture 9">
                <a:extLst>
                  <a:ext uri="{FF2B5EF4-FFF2-40B4-BE49-F238E27FC236}">
                    <a16:creationId xmlns:a16="http://schemas.microsoft.com/office/drawing/2014/main" id="{FBC7DF13-A1DB-A22E-C85F-EF3A63A6F41B}"/>
                  </a:ext>
                </a:extLst>
              </p:cNvPr>
              <p:cNvPicPr>
                <a:picLocks noChangeAspect="1"/>
              </p:cNvPicPr>
              <p:nvPr/>
            </p:nvPicPr>
            <p:blipFill rotWithShape="1">
              <a:blip r:embed="rId3" cstate="print">
                <a:alphaModFix/>
                <a:extLst>
                  <a:ext uri="{28A0092B-C50C-407E-A947-70E740481C1C}">
                    <a14:useLocalDpi xmlns:a14="http://schemas.microsoft.com/office/drawing/2010/main"/>
                  </a:ext>
                </a:extLst>
              </a:blip>
              <a:srcRect/>
              <a:stretch/>
            </p:blipFill>
            <p:spPr>
              <a:xfrm>
                <a:off x="2674731" y="2453398"/>
                <a:ext cx="2117136" cy="2085592"/>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2A3173D1-AC10-3922-0E3A-D04DA6C546E8}"/>
                  </a:ext>
                </a:extLst>
              </p:cNvPr>
              <p:cNvPicPr>
                <a:picLocks noChangeAspect="1"/>
              </p:cNvPicPr>
              <p:nvPr/>
            </p:nvPicPr>
            <p:blipFill>
              <a:blip r:embed="rId4" cstate="print">
                <a:alphaModFix/>
                <a:extLst>
                  <a:ext uri="{28A0092B-C50C-407E-A947-70E740481C1C}">
                    <a14:useLocalDpi xmlns:a14="http://schemas.microsoft.com/office/drawing/2010/main"/>
                  </a:ext>
                </a:extLst>
              </a:blip>
              <a:srcRect/>
              <a:stretch/>
            </p:blipFill>
            <p:spPr>
              <a:xfrm>
                <a:off x="300446" y="2453398"/>
                <a:ext cx="2117136" cy="2085592"/>
              </a:xfrm>
              <a:prstGeom prst="rect">
                <a:avLst/>
              </a:prstGeom>
              <a:effectLst>
                <a:outerShdw blurRad="50800" dist="38100" dir="2700000" algn="tl" rotWithShape="0">
                  <a:prstClr val="black">
                    <a:alpha val="40000"/>
                  </a:prstClr>
                </a:outerShdw>
              </a:effectLst>
            </p:spPr>
          </p:pic>
        </p:grpSp>
        <p:sp>
          <p:nvSpPr>
            <p:cNvPr id="8" name="REGENERATIVE BUSINESS MODELS ARE HERE">
              <a:extLst>
                <a:ext uri="{FF2B5EF4-FFF2-40B4-BE49-F238E27FC236}">
                  <a16:creationId xmlns:a16="http://schemas.microsoft.com/office/drawing/2014/main" id="{CBAC4F83-6E57-93AA-6025-C32F67A8DC52}"/>
                </a:ext>
              </a:extLst>
            </p:cNvPr>
            <p:cNvSpPr txBox="1"/>
            <p:nvPr/>
          </p:nvSpPr>
          <p:spPr>
            <a:xfrm>
              <a:off x="330650" y="4658423"/>
              <a:ext cx="2056728" cy="4944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t">
              <a:spAutoFit/>
            </a:bodyPr>
            <a:lstStyle>
              <a:lvl1pPr>
                <a:lnSpc>
                  <a:spcPct val="110000"/>
                </a:lnSpc>
                <a:defRPr sz="3500" b="0" cap="all" spc="805">
                  <a:solidFill>
                    <a:srgbClr val="465E54"/>
                  </a:solidFill>
                </a:defRPr>
              </a:lvl1pPr>
            </a:lstStyle>
            <a:p>
              <a:pPr algn="ctr" defTabSz="914400">
                <a:lnSpc>
                  <a:spcPct val="90000"/>
                </a:lnSpc>
                <a:spcBef>
                  <a:spcPct val="0"/>
                </a:spcBef>
              </a:pPr>
              <a:r>
                <a:rPr lang="en-GB" sz="1600" cap="none" spc="0" dirty="0">
                  <a:solidFill>
                    <a:schemeClr val="tx1"/>
                  </a:solidFill>
                  <a:latin typeface="+mj-lt"/>
                  <a:ea typeface="+mj-ea"/>
                  <a:cs typeface="Arial" panose="020B0604020202020204" pitchFamily="34" charset="0"/>
                </a:rPr>
                <a:t>Agroforestry &amp;</a:t>
              </a:r>
              <a:br>
                <a:rPr lang="en-GB" sz="1600" cap="none" spc="0" dirty="0">
                  <a:solidFill>
                    <a:schemeClr val="tx1"/>
                  </a:solidFill>
                  <a:latin typeface="+mj-lt"/>
                  <a:ea typeface="+mj-ea"/>
                  <a:cs typeface="Arial" panose="020B0604020202020204" pitchFamily="34" charset="0"/>
                </a:rPr>
              </a:br>
              <a:r>
                <a:rPr lang="en-GB" sz="1600" cap="none" spc="0" dirty="0">
                  <a:solidFill>
                    <a:schemeClr val="tx1"/>
                  </a:solidFill>
                  <a:latin typeface="+mj-lt"/>
                  <a:ea typeface="+mj-ea"/>
                  <a:cs typeface="Arial" panose="020B0604020202020204" pitchFamily="34" charset="0"/>
                </a:rPr>
                <a:t>regenerative farming</a:t>
              </a:r>
            </a:p>
          </p:txBody>
        </p:sp>
        <p:sp>
          <p:nvSpPr>
            <p:cNvPr id="9" name="REGENERATIVE BUSINESS MODELS ARE HERE">
              <a:extLst>
                <a:ext uri="{FF2B5EF4-FFF2-40B4-BE49-F238E27FC236}">
                  <a16:creationId xmlns:a16="http://schemas.microsoft.com/office/drawing/2014/main" id="{58A862E7-CBF8-3476-7574-1F9052F975DD}"/>
                </a:ext>
              </a:extLst>
            </p:cNvPr>
            <p:cNvSpPr txBox="1"/>
            <p:nvPr/>
          </p:nvSpPr>
          <p:spPr>
            <a:xfrm>
              <a:off x="2859043" y="4658423"/>
              <a:ext cx="1748512" cy="4944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t">
              <a:spAutoFit/>
            </a:bodyPr>
            <a:lstStyle>
              <a:lvl1pPr>
                <a:lnSpc>
                  <a:spcPct val="110000"/>
                </a:lnSpc>
                <a:defRPr sz="3500" b="0" cap="all" spc="805">
                  <a:solidFill>
                    <a:srgbClr val="465E54"/>
                  </a:solidFill>
                </a:defRPr>
              </a:lvl1pPr>
            </a:lstStyle>
            <a:p>
              <a:pPr algn="ctr" defTabSz="914400">
                <a:lnSpc>
                  <a:spcPct val="90000"/>
                </a:lnSpc>
                <a:spcBef>
                  <a:spcPct val="0"/>
                </a:spcBef>
              </a:pPr>
              <a:r>
                <a:rPr lang="en-GB" sz="1600" cap="none" spc="0" dirty="0">
                  <a:solidFill>
                    <a:schemeClr val="tx1"/>
                  </a:solidFill>
                  <a:latin typeface="+mj-lt"/>
                  <a:ea typeface="+mj-ea"/>
                  <a:cs typeface="Arial" panose="020B0604020202020204" pitchFamily="34" charset="0"/>
                </a:rPr>
                <a:t>Sustainable </a:t>
              </a:r>
              <a:br>
                <a:rPr lang="en-GB" sz="1600" cap="none" spc="0" dirty="0">
                  <a:solidFill>
                    <a:schemeClr val="tx1"/>
                  </a:solidFill>
                  <a:latin typeface="+mj-lt"/>
                  <a:ea typeface="+mj-ea"/>
                  <a:cs typeface="Arial" panose="020B0604020202020204" pitchFamily="34" charset="0"/>
                </a:rPr>
              </a:br>
              <a:r>
                <a:rPr lang="en-GB" sz="1600" cap="none" spc="0" dirty="0">
                  <a:solidFill>
                    <a:schemeClr val="tx1"/>
                  </a:solidFill>
                  <a:latin typeface="+mj-lt"/>
                  <a:ea typeface="+mj-ea"/>
                  <a:cs typeface="Arial" panose="020B0604020202020204" pitchFamily="34" charset="0"/>
                </a:rPr>
                <a:t>forestry</a:t>
              </a:r>
            </a:p>
          </p:txBody>
        </p:sp>
      </p:grpSp>
      <p:cxnSp>
        <p:nvCxnSpPr>
          <p:cNvPr id="12" name="Straight Connector 11">
            <a:extLst>
              <a:ext uri="{FF2B5EF4-FFF2-40B4-BE49-F238E27FC236}">
                <a16:creationId xmlns:a16="http://schemas.microsoft.com/office/drawing/2014/main" id="{DA1E6DA2-B8B4-9781-73CC-0C94017FD4AB}"/>
              </a:ext>
            </a:extLst>
          </p:cNvPr>
          <p:cNvCxnSpPr>
            <a:cxnSpLocks/>
          </p:cNvCxnSpPr>
          <p:nvPr/>
        </p:nvCxnSpPr>
        <p:spPr>
          <a:xfrm>
            <a:off x="235960" y="2593713"/>
            <a:ext cx="4566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21FCC2A-FB2F-5E65-D491-000710F867DB}"/>
              </a:ext>
            </a:extLst>
          </p:cNvPr>
          <p:cNvCxnSpPr>
            <a:cxnSpLocks/>
          </p:cNvCxnSpPr>
          <p:nvPr/>
        </p:nvCxnSpPr>
        <p:spPr>
          <a:xfrm>
            <a:off x="4984531" y="2593713"/>
            <a:ext cx="69797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449ACD39-D46A-81EA-A221-A039212A4A39}"/>
              </a:ext>
            </a:extLst>
          </p:cNvPr>
          <p:cNvGrpSpPr/>
          <p:nvPr/>
        </p:nvGrpSpPr>
        <p:grpSpPr>
          <a:xfrm>
            <a:off x="4997993" y="2738632"/>
            <a:ext cx="6966025" cy="2557416"/>
            <a:chOff x="5062480" y="2844800"/>
            <a:chExt cx="6852244" cy="2477920"/>
          </a:xfrm>
        </p:grpSpPr>
        <p:pic>
          <p:nvPicPr>
            <p:cNvPr id="16" name="Picture 15">
              <a:extLst>
                <a:ext uri="{FF2B5EF4-FFF2-40B4-BE49-F238E27FC236}">
                  <a16:creationId xmlns:a16="http://schemas.microsoft.com/office/drawing/2014/main" id="{38485967-D403-69E2-9ECE-B8DC158B1643}"/>
                </a:ext>
              </a:extLst>
            </p:cNvPr>
            <p:cNvPicPr>
              <a:picLocks noChangeAspect="1"/>
            </p:cNvPicPr>
            <p:nvPr/>
          </p:nvPicPr>
          <p:blipFill rotWithShape="1">
            <a:blip r:embed="rId5" cstate="print">
              <a:alphaModFix/>
              <a:extLst>
                <a:ext uri="{28A0092B-C50C-407E-A947-70E740481C1C}">
                  <a14:useLocalDpi xmlns:a14="http://schemas.microsoft.com/office/drawing/2010/main"/>
                </a:ext>
              </a:extLst>
            </a:blip>
            <a:srcRect/>
            <a:stretch/>
          </p:blipFill>
          <p:spPr>
            <a:xfrm>
              <a:off x="7430034" y="2844801"/>
              <a:ext cx="2117136" cy="2085591"/>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0B0F3CCC-4DB5-3DA1-2FB9-C2B06D8C782C}"/>
                </a:ext>
              </a:extLst>
            </p:cNvPr>
            <p:cNvPicPr>
              <a:picLocks noChangeAspect="1"/>
            </p:cNvPicPr>
            <p:nvPr/>
          </p:nvPicPr>
          <p:blipFill rotWithShape="1">
            <a:blip r:embed="rId6" cstate="print">
              <a:alphaModFix/>
              <a:extLst>
                <a:ext uri="{28A0092B-C50C-407E-A947-70E740481C1C}">
                  <a14:useLocalDpi xmlns:a14="http://schemas.microsoft.com/office/drawing/2010/main"/>
                </a:ext>
              </a:extLst>
            </a:blip>
            <a:srcRect t="659" b="1042"/>
            <a:stretch/>
          </p:blipFill>
          <p:spPr>
            <a:xfrm>
              <a:off x="9797588" y="2844800"/>
              <a:ext cx="2117136" cy="2077524"/>
            </a:xfrm>
            <a:prstGeom prst="rect">
              <a:avLst/>
            </a:prstGeom>
            <a:effectLst>
              <a:outerShdw blurRad="50800" dist="38100" dir="2700000" algn="tl" rotWithShape="0">
                <a:prstClr val="black">
                  <a:alpha val="40000"/>
                </a:prstClr>
              </a:outerShdw>
            </a:effectLst>
          </p:spPr>
        </p:pic>
        <p:sp>
          <p:nvSpPr>
            <p:cNvPr id="18" name="REGENERATIVE BUSINESS MODELS ARE HERE">
              <a:extLst>
                <a:ext uri="{FF2B5EF4-FFF2-40B4-BE49-F238E27FC236}">
                  <a16:creationId xmlns:a16="http://schemas.microsoft.com/office/drawing/2014/main" id="{B4C964CB-8F69-FD3E-6A4D-10A78207A6A9}"/>
                </a:ext>
              </a:extLst>
            </p:cNvPr>
            <p:cNvSpPr txBox="1"/>
            <p:nvPr/>
          </p:nvSpPr>
          <p:spPr>
            <a:xfrm>
              <a:off x="5154448" y="5049825"/>
              <a:ext cx="1933200" cy="27289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t">
              <a:spAutoFit/>
            </a:bodyPr>
            <a:lstStyle>
              <a:lvl1pPr>
                <a:lnSpc>
                  <a:spcPct val="110000"/>
                </a:lnSpc>
                <a:defRPr sz="3500" b="0" cap="all" spc="805">
                  <a:solidFill>
                    <a:srgbClr val="465E54"/>
                  </a:solidFill>
                </a:defRPr>
              </a:lvl1pPr>
            </a:lstStyle>
            <a:p>
              <a:pPr algn="ctr" defTabSz="914400">
                <a:lnSpc>
                  <a:spcPct val="90000"/>
                </a:lnSpc>
                <a:spcBef>
                  <a:spcPct val="0"/>
                </a:spcBef>
              </a:pPr>
              <a:r>
                <a:rPr lang="en-GB" sz="1600" cap="none" spc="0" dirty="0">
                  <a:solidFill>
                    <a:schemeClr val="tx1"/>
                  </a:solidFill>
                  <a:latin typeface="+mj-lt"/>
                  <a:ea typeface="+mj-ea"/>
                  <a:cs typeface="Arial" panose="020B0604020202020204" pitchFamily="34" charset="0"/>
                </a:rPr>
                <a:t>Food</a:t>
              </a:r>
            </a:p>
          </p:txBody>
        </p:sp>
        <p:sp>
          <p:nvSpPr>
            <p:cNvPr id="19" name="REGENERATIVE BUSINESS MODELS ARE HERE">
              <a:extLst>
                <a:ext uri="{FF2B5EF4-FFF2-40B4-BE49-F238E27FC236}">
                  <a16:creationId xmlns:a16="http://schemas.microsoft.com/office/drawing/2014/main" id="{AD8D6839-5448-31EF-3D64-6FA7B3303FE7}"/>
                </a:ext>
              </a:extLst>
            </p:cNvPr>
            <p:cNvSpPr txBox="1"/>
            <p:nvPr/>
          </p:nvSpPr>
          <p:spPr>
            <a:xfrm>
              <a:off x="7522002" y="5049825"/>
              <a:ext cx="1933200" cy="27289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t">
              <a:spAutoFit/>
            </a:bodyPr>
            <a:lstStyle>
              <a:lvl1pPr>
                <a:lnSpc>
                  <a:spcPct val="110000"/>
                </a:lnSpc>
                <a:defRPr sz="3500" b="0" cap="all" spc="805">
                  <a:solidFill>
                    <a:srgbClr val="465E54"/>
                  </a:solidFill>
                </a:defRPr>
              </a:lvl1pPr>
            </a:lstStyle>
            <a:p>
              <a:pPr algn="ctr" defTabSz="914400">
                <a:lnSpc>
                  <a:spcPct val="90000"/>
                </a:lnSpc>
                <a:spcBef>
                  <a:spcPct val="0"/>
                </a:spcBef>
              </a:pPr>
              <a:r>
                <a:rPr lang="en-GB" sz="1600" cap="none" spc="0" dirty="0">
                  <a:solidFill>
                    <a:schemeClr val="tx1"/>
                  </a:solidFill>
                  <a:latin typeface="+mj-lt"/>
                  <a:ea typeface="+mj-ea"/>
                  <a:cs typeface="Arial" panose="020B0604020202020204" pitchFamily="34" charset="0"/>
                </a:rPr>
                <a:t>Materials</a:t>
              </a:r>
            </a:p>
          </p:txBody>
        </p:sp>
        <p:sp>
          <p:nvSpPr>
            <p:cNvPr id="20" name="REGENERATIVE BUSINESS MODELS ARE HERE">
              <a:extLst>
                <a:ext uri="{FF2B5EF4-FFF2-40B4-BE49-F238E27FC236}">
                  <a16:creationId xmlns:a16="http://schemas.microsoft.com/office/drawing/2014/main" id="{78AB7C15-1852-E267-19CA-ED999C32AFFA}"/>
                </a:ext>
              </a:extLst>
            </p:cNvPr>
            <p:cNvSpPr txBox="1"/>
            <p:nvPr/>
          </p:nvSpPr>
          <p:spPr>
            <a:xfrm>
              <a:off x="9889556" y="5049825"/>
              <a:ext cx="1933200" cy="27289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t">
              <a:spAutoFit/>
            </a:bodyPr>
            <a:lstStyle>
              <a:lvl1pPr>
                <a:lnSpc>
                  <a:spcPct val="110000"/>
                </a:lnSpc>
                <a:defRPr sz="3500" b="0" cap="all" spc="805">
                  <a:solidFill>
                    <a:srgbClr val="465E54"/>
                  </a:solidFill>
                </a:defRPr>
              </a:lvl1pPr>
            </a:lstStyle>
            <a:p>
              <a:pPr algn="ctr" defTabSz="914400">
                <a:lnSpc>
                  <a:spcPct val="90000"/>
                </a:lnSpc>
                <a:spcBef>
                  <a:spcPct val="0"/>
                </a:spcBef>
              </a:pPr>
              <a:r>
                <a:rPr lang="en-GB" sz="1600" cap="none" spc="0" dirty="0">
                  <a:solidFill>
                    <a:schemeClr val="tx1"/>
                  </a:solidFill>
                  <a:latin typeface="+mj-lt"/>
                  <a:ea typeface="+mj-ea"/>
                  <a:cs typeface="Arial" panose="020B0604020202020204" pitchFamily="34" charset="0"/>
                </a:rPr>
                <a:t>Chemicals</a:t>
              </a:r>
            </a:p>
          </p:txBody>
        </p:sp>
        <p:pic>
          <p:nvPicPr>
            <p:cNvPr id="21" name="Picture 20" descr="A group of different types of food&#10;&#10;Description automatically generated">
              <a:extLst>
                <a:ext uri="{FF2B5EF4-FFF2-40B4-BE49-F238E27FC236}">
                  <a16:creationId xmlns:a16="http://schemas.microsoft.com/office/drawing/2014/main" id="{FB3149DA-E51A-3CDC-AA46-0A445934A6D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5062480" y="2844801"/>
              <a:ext cx="2117135" cy="2077524"/>
            </a:xfrm>
            <a:prstGeom prst="rect">
              <a:avLst/>
            </a:prstGeom>
            <a:effectLst>
              <a:outerShdw blurRad="50800" dist="38100" dir="2700000" algn="tl" rotWithShape="0">
                <a:prstClr val="black">
                  <a:alpha val="40000"/>
                </a:prstClr>
              </a:outerShdw>
            </a:effectLst>
          </p:spPr>
        </p:pic>
      </p:grpSp>
      <p:sp>
        <p:nvSpPr>
          <p:cNvPr id="26" name="TextBox 25">
            <a:extLst>
              <a:ext uri="{FF2B5EF4-FFF2-40B4-BE49-F238E27FC236}">
                <a16:creationId xmlns:a16="http://schemas.microsoft.com/office/drawing/2014/main" id="{3820B7E5-3C66-D1FD-3445-434C77956C33}"/>
              </a:ext>
            </a:extLst>
          </p:cNvPr>
          <p:cNvSpPr txBox="1"/>
          <p:nvPr/>
        </p:nvSpPr>
        <p:spPr>
          <a:xfrm>
            <a:off x="235106" y="6058442"/>
            <a:ext cx="9738233" cy="153888"/>
          </a:xfrm>
          <a:prstGeom prst="rect">
            <a:avLst/>
          </a:prstGeom>
          <a:noFill/>
        </p:spPr>
        <p:txBody>
          <a:bodyPr wrap="square" lIns="0" tIns="0" rIns="0" bIns="0" rtlCol="0">
            <a:spAutoFit/>
          </a:bodyPr>
          <a:lstStyle/>
          <a:p>
            <a:pPr marL="0" marR="0" lvl="0" indent="0" algn="l" defTabSz="68575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latin typeface="+mj-lt"/>
                <a:ea typeface="+mn-ea"/>
                <a:cs typeface="+mn-cs"/>
              </a:rPr>
              <a:t>Source: Investing in Nature as the True Engine of our Economy (2020) Circular Bioeconomy Alliance.</a:t>
            </a:r>
          </a:p>
        </p:txBody>
      </p:sp>
    </p:spTree>
    <p:extLst>
      <p:ext uri="{BB962C8B-B14F-4D97-AF65-F5344CB8AC3E}">
        <p14:creationId xmlns:p14="http://schemas.microsoft.com/office/powerpoint/2010/main" val="36171532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AAE74275-5211-F195-1532-6A7F82051A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7" name="think-cell data - do not delete" hidden="1">
                        <a:extLst>
                          <a:ext uri="{FF2B5EF4-FFF2-40B4-BE49-F238E27FC236}">
                            <a16:creationId xmlns:a16="http://schemas.microsoft.com/office/drawing/2014/main" id="{AAE74275-5211-F195-1532-6A7F82051A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6" name="Title 145">
            <a:extLst>
              <a:ext uri="{FF2B5EF4-FFF2-40B4-BE49-F238E27FC236}">
                <a16:creationId xmlns:a16="http://schemas.microsoft.com/office/drawing/2014/main" id="{195D129C-5DCF-2235-DB6A-E7F0554B4BBE}"/>
              </a:ext>
            </a:extLst>
          </p:cNvPr>
          <p:cNvSpPr>
            <a:spLocks noGrp="1"/>
          </p:cNvSpPr>
          <p:nvPr>
            <p:ph type="title"/>
          </p:nvPr>
        </p:nvSpPr>
        <p:spPr>
          <a:xfrm>
            <a:off x="179387" y="304800"/>
            <a:ext cx="11831637" cy="455509"/>
          </a:xfrm>
        </p:spPr>
        <p:txBody>
          <a:bodyPr vert="horz" lIns="0" tIns="0" rIns="0" bIns="0" rtlCol="0" anchor="t" anchorCtr="0">
            <a:spAutoFit/>
          </a:bodyPr>
          <a:lstStyle/>
          <a:p>
            <a:r>
              <a:rPr lang="en-GB" dirty="0">
                <a:latin typeface="AvenirNext LT Pro Bold" panose="020B0804020202020204" pitchFamily="34" charset="0"/>
              </a:rPr>
              <a:t>This is the circular bioeconomy… </a:t>
            </a:r>
          </a:p>
        </p:txBody>
      </p:sp>
      <p:grpSp>
        <p:nvGrpSpPr>
          <p:cNvPr id="29" name="Group 28">
            <a:extLst>
              <a:ext uri="{FF2B5EF4-FFF2-40B4-BE49-F238E27FC236}">
                <a16:creationId xmlns:a16="http://schemas.microsoft.com/office/drawing/2014/main" id="{4B86CAF0-2B99-79E1-443A-142C3E4D865A}"/>
              </a:ext>
            </a:extLst>
          </p:cNvPr>
          <p:cNvGrpSpPr/>
          <p:nvPr/>
        </p:nvGrpSpPr>
        <p:grpSpPr>
          <a:xfrm>
            <a:off x="2767855" y="6070835"/>
            <a:ext cx="6656290" cy="184666"/>
            <a:chOff x="2733696" y="5898858"/>
            <a:chExt cx="6656290" cy="184666"/>
          </a:xfrm>
        </p:grpSpPr>
        <p:sp>
          <p:nvSpPr>
            <p:cNvPr id="31" name="TextBox 30">
              <a:extLst>
                <a:ext uri="{FF2B5EF4-FFF2-40B4-BE49-F238E27FC236}">
                  <a16:creationId xmlns:a16="http://schemas.microsoft.com/office/drawing/2014/main" id="{C8819E51-D7D7-8C78-4519-61C2DBE62731}"/>
                </a:ext>
              </a:extLst>
            </p:cNvPr>
            <p:cNvSpPr txBox="1"/>
            <p:nvPr/>
          </p:nvSpPr>
          <p:spPr>
            <a:xfrm>
              <a:off x="8109826" y="5898858"/>
              <a:ext cx="1280160" cy="184666"/>
            </a:xfrm>
            <a:prstGeom prst="rect">
              <a:avLst/>
            </a:prstGeom>
            <a:noFill/>
            <a:ln>
              <a:noFill/>
            </a:ln>
          </p:spPr>
          <p:txBody>
            <a:bodyPr wrap="square" lIns="0" tIns="0" rIns="0" bIns="0" rtlCol="0">
              <a:spAutoFit/>
            </a:bodyPr>
            <a:lstStyle/>
            <a:p>
              <a:pPr marL="0" marR="0" lvl="0" indent="0" algn="l"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effectLst/>
                  <a:uLnTx/>
                  <a:uFillTx/>
                  <a:latin typeface="Avenir Next LT Pro"/>
                  <a:ea typeface="+mn-ea"/>
                  <a:cs typeface="+mn-cs"/>
                </a:rPr>
                <a:t>Cultural services</a:t>
              </a:r>
            </a:p>
          </p:txBody>
        </p:sp>
        <p:sp>
          <p:nvSpPr>
            <p:cNvPr id="141" name="Rectangle 140">
              <a:extLst>
                <a:ext uri="{FF2B5EF4-FFF2-40B4-BE49-F238E27FC236}">
                  <a16:creationId xmlns:a16="http://schemas.microsoft.com/office/drawing/2014/main" id="{8B396676-7049-B839-C14A-D60E0818692F}"/>
                </a:ext>
              </a:extLst>
            </p:cNvPr>
            <p:cNvSpPr/>
            <p:nvPr/>
          </p:nvSpPr>
          <p:spPr>
            <a:xfrm>
              <a:off x="7839293" y="5911782"/>
              <a:ext cx="217530" cy="158818"/>
            </a:xfrm>
            <a:prstGeom prst="rect">
              <a:avLst/>
            </a:prstGeom>
            <a:solidFill>
              <a:srgbClr val="A7D3B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venir Next LT Pro"/>
                <a:ea typeface="+mn-ea"/>
                <a:cs typeface="+mn-cs"/>
              </a:endParaRPr>
            </a:p>
          </p:txBody>
        </p:sp>
        <p:sp>
          <p:nvSpPr>
            <p:cNvPr id="142" name="TextBox 141">
              <a:extLst>
                <a:ext uri="{FF2B5EF4-FFF2-40B4-BE49-F238E27FC236}">
                  <a16:creationId xmlns:a16="http://schemas.microsoft.com/office/drawing/2014/main" id="{2BF16365-14B6-FEE4-C14D-0AE01752995F}"/>
                </a:ext>
              </a:extLst>
            </p:cNvPr>
            <p:cNvSpPr txBox="1"/>
            <p:nvPr/>
          </p:nvSpPr>
          <p:spPr>
            <a:xfrm>
              <a:off x="3015223" y="5898858"/>
              <a:ext cx="1461426" cy="184666"/>
            </a:xfrm>
            <a:prstGeom prst="rect">
              <a:avLst/>
            </a:prstGeom>
            <a:noFill/>
            <a:ln>
              <a:noFill/>
            </a:ln>
          </p:spPr>
          <p:txBody>
            <a:bodyPr wrap="none" lIns="0" tIns="0" rIns="0" bIns="0" rtlCol="0">
              <a:spAutoFit/>
            </a:bodyPr>
            <a:lstStyle/>
            <a:p>
              <a:pPr marL="0" marR="0" lvl="0" indent="0" algn="l"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effectLst/>
                  <a:uLnTx/>
                  <a:uFillTx/>
                  <a:latin typeface="Avenir Next LT Pro"/>
                  <a:ea typeface="+mn-ea"/>
                  <a:cs typeface="+mn-cs"/>
                </a:rPr>
                <a:t>Provisioning services</a:t>
              </a:r>
            </a:p>
          </p:txBody>
        </p:sp>
        <p:sp>
          <p:nvSpPr>
            <p:cNvPr id="143" name="Rectangle 142">
              <a:extLst>
                <a:ext uri="{FF2B5EF4-FFF2-40B4-BE49-F238E27FC236}">
                  <a16:creationId xmlns:a16="http://schemas.microsoft.com/office/drawing/2014/main" id="{DEE6F938-04F5-0958-7145-4B18893CF182}"/>
                </a:ext>
              </a:extLst>
            </p:cNvPr>
            <p:cNvSpPr/>
            <p:nvPr/>
          </p:nvSpPr>
          <p:spPr>
            <a:xfrm>
              <a:off x="4831927" y="5911782"/>
              <a:ext cx="217530" cy="158818"/>
            </a:xfrm>
            <a:prstGeom prst="rect">
              <a:avLst/>
            </a:prstGeom>
            <a:solidFill>
              <a:srgbClr val="48916C"/>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venir Next LT Pro"/>
                <a:ea typeface="+mn-ea"/>
                <a:cs typeface="+mn-cs"/>
              </a:endParaRPr>
            </a:p>
          </p:txBody>
        </p:sp>
        <p:sp>
          <p:nvSpPr>
            <p:cNvPr id="144" name="TextBox 143">
              <a:extLst>
                <a:ext uri="{FF2B5EF4-FFF2-40B4-BE49-F238E27FC236}">
                  <a16:creationId xmlns:a16="http://schemas.microsoft.com/office/drawing/2014/main" id="{2610F973-6E08-79C0-0FF2-BCB5638D00D6}"/>
                </a:ext>
              </a:extLst>
            </p:cNvPr>
            <p:cNvSpPr txBox="1"/>
            <p:nvPr/>
          </p:nvSpPr>
          <p:spPr>
            <a:xfrm>
              <a:off x="5104746" y="5898858"/>
              <a:ext cx="2554230" cy="184666"/>
            </a:xfrm>
            <a:prstGeom prst="rect">
              <a:avLst/>
            </a:prstGeom>
            <a:noFill/>
            <a:ln>
              <a:noFill/>
            </a:ln>
          </p:spPr>
          <p:txBody>
            <a:bodyPr wrap="square" lIns="0" tIns="0" rIns="0" bIns="0" rtlCol="0">
              <a:spAutoFit/>
            </a:bodyPr>
            <a:lstStyle/>
            <a:p>
              <a:pPr marL="0" marR="0" lvl="0" indent="0" algn="l"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effectLst/>
                  <a:uLnTx/>
                  <a:uFillTx/>
                  <a:latin typeface="Avenir Next LT Pro"/>
                  <a:ea typeface="+mn-ea"/>
                  <a:cs typeface="+mn-cs"/>
                </a:rPr>
                <a:t>Regulating &amp; maintenance services</a:t>
              </a:r>
            </a:p>
          </p:txBody>
        </p:sp>
        <p:sp>
          <p:nvSpPr>
            <p:cNvPr id="145" name="Rectangle 144">
              <a:extLst>
                <a:ext uri="{FF2B5EF4-FFF2-40B4-BE49-F238E27FC236}">
                  <a16:creationId xmlns:a16="http://schemas.microsoft.com/office/drawing/2014/main" id="{88E5473C-5D2F-AADA-4945-63F10A63A5BF}"/>
                </a:ext>
              </a:extLst>
            </p:cNvPr>
            <p:cNvSpPr/>
            <p:nvPr/>
          </p:nvSpPr>
          <p:spPr>
            <a:xfrm>
              <a:off x="2733696" y="5911782"/>
              <a:ext cx="217530" cy="158818"/>
            </a:xfrm>
            <a:prstGeom prst="rect">
              <a:avLst/>
            </a:prstGeom>
            <a:solidFill>
              <a:srgbClr val="2A4B3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venir Next LT Pro"/>
                <a:ea typeface="+mn-ea"/>
                <a:cs typeface="+mn-cs"/>
              </a:endParaRPr>
            </a:p>
          </p:txBody>
        </p:sp>
      </p:grpSp>
      <p:sp>
        <p:nvSpPr>
          <p:cNvPr id="147" name="Rectangle 146">
            <a:extLst>
              <a:ext uri="{FF2B5EF4-FFF2-40B4-BE49-F238E27FC236}">
                <a16:creationId xmlns:a16="http://schemas.microsoft.com/office/drawing/2014/main" id="{983E2465-5C36-E362-4309-9CE0E1F11487}"/>
              </a:ext>
            </a:extLst>
          </p:cNvPr>
          <p:cNvSpPr>
            <a:spLocks/>
          </p:cNvSpPr>
          <p:nvPr/>
        </p:nvSpPr>
        <p:spPr>
          <a:xfrm>
            <a:off x="4762130" y="2916399"/>
            <a:ext cx="2471411" cy="970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6CB690">
                    <a:lumMod val="50000"/>
                  </a:srgbClr>
                </a:solidFill>
                <a:effectLst/>
                <a:uLnTx/>
                <a:uFillTx/>
                <a:latin typeface="Avenir Next LT Pro" panose="020B0504020202020204"/>
                <a:ea typeface="+mn-ea"/>
                <a:cs typeface="+mn-cs"/>
              </a:rPr>
              <a:t>Circular bioeconomy</a:t>
            </a:r>
          </a:p>
        </p:txBody>
      </p:sp>
      <p:sp>
        <p:nvSpPr>
          <p:cNvPr id="148" name="Rectangle 147">
            <a:extLst>
              <a:ext uri="{FF2B5EF4-FFF2-40B4-BE49-F238E27FC236}">
                <a16:creationId xmlns:a16="http://schemas.microsoft.com/office/drawing/2014/main" id="{1402655B-3CCB-64CD-B405-2C13731D914D}"/>
              </a:ext>
            </a:extLst>
          </p:cNvPr>
          <p:cNvSpPr>
            <a:spLocks/>
          </p:cNvSpPr>
          <p:nvPr/>
        </p:nvSpPr>
        <p:spPr>
          <a:xfrm>
            <a:off x="3135125" y="1075813"/>
            <a:ext cx="1836067" cy="2937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54000" tIns="54000" rIns="54000" bIns="54000" rtlCol="0" anchor="ctr">
            <a:sp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C00000"/>
                </a:solidFill>
                <a:effectLst/>
                <a:uLnTx/>
                <a:uFillTx/>
                <a:latin typeface="Avenir Next LT Pro" panose="020B0504020202020204"/>
                <a:ea typeface="+mn-ea"/>
                <a:cs typeface="+mn-cs"/>
              </a:rPr>
              <a:t>Nature-based solutions</a:t>
            </a:r>
          </a:p>
        </p:txBody>
      </p:sp>
      <p:sp>
        <p:nvSpPr>
          <p:cNvPr id="150" name="TextBox 149">
            <a:extLst>
              <a:ext uri="{FF2B5EF4-FFF2-40B4-BE49-F238E27FC236}">
                <a16:creationId xmlns:a16="http://schemas.microsoft.com/office/drawing/2014/main" id="{BFA830A4-3A8C-ED00-CCEF-A50AAA123CBF}"/>
              </a:ext>
            </a:extLst>
          </p:cNvPr>
          <p:cNvSpPr txBox="1"/>
          <p:nvPr/>
        </p:nvSpPr>
        <p:spPr>
          <a:xfrm>
            <a:off x="8437862" y="3339758"/>
            <a:ext cx="1684316" cy="338554"/>
          </a:xfrm>
          <a:prstGeom prst="rect">
            <a:avLst/>
          </a:prstGeom>
          <a:noFill/>
        </p:spPr>
        <p:txBody>
          <a:bodyPr wrap="square" lIns="0" tIns="0" rIns="0" bIns="0" rtlCol="0">
            <a:spAutoFit/>
          </a:bodyPr>
          <a:lstStyle/>
          <a:p>
            <a:pPr marL="0" marR="0" lvl="0" indent="0" algn="l"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dirty="0">
                <a:ln>
                  <a:noFill/>
                </a:ln>
                <a:effectLst/>
                <a:uLnTx/>
                <a:uFillTx/>
                <a:latin typeface="Avenir Next LT Pro" panose="020B0504020202020204"/>
                <a:ea typeface="+mn-ea"/>
                <a:cs typeface="Arial" panose="020B0604020202020204" pitchFamily="34" charset="0"/>
              </a:rPr>
              <a:t>Forestry, Land Use and Agriculture (FLAG). etc</a:t>
            </a:r>
          </a:p>
        </p:txBody>
      </p:sp>
      <p:sp>
        <p:nvSpPr>
          <p:cNvPr id="153" name="TextBox 152">
            <a:extLst>
              <a:ext uri="{FF2B5EF4-FFF2-40B4-BE49-F238E27FC236}">
                <a16:creationId xmlns:a16="http://schemas.microsoft.com/office/drawing/2014/main" id="{2DF9E557-C30A-56C0-9DE8-73F3C0BB6497}"/>
              </a:ext>
            </a:extLst>
          </p:cNvPr>
          <p:cNvSpPr txBox="1"/>
          <p:nvPr/>
        </p:nvSpPr>
        <p:spPr>
          <a:xfrm>
            <a:off x="6807948" y="5444455"/>
            <a:ext cx="2566067" cy="338554"/>
          </a:xfrm>
          <a:prstGeom prst="rect">
            <a:avLst/>
          </a:prstGeom>
          <a:noFill/>
        </p:spPr>
        <p:txBody>
          <a:bodyPr wrap="square" lIns="0" tIns="0" rIns="0" bIns="0" rtlCol="0">
            <a:spAutoFit/>
          </a:bodyPr>
          <a:lstStyle/>
          <a:p>
            <a:pPr marL="0" marR="0" lvl="0" indent="0" algn="l"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0" i="0" u="none" strike="noStrike" kern="1200" cap="none" spc="0" normalizeH="0" baseline="0" noProof="0" dirty="0">
                <a:ln>
                  <a:noFill/>
                </a:ln>
                <a:effectLst/>
                <a:uLnTx/>
                <a:uFillTx/>
                <a:latin typeface="Avenir Next LT Pro" panose="020B0504020202020204"/>
                <a:ea typeface="+mn-ea"/>
                <a:cs typeface="Arial" panose="020B0604020202020204" pitchFamily="34" charset="0"/>
              </a:rPr>
              <a:t>Food, packaging, pharmaceuticals, construction, chemicals, etc.</a:t>
            </a:r>
          </a:p>
        </p:txBody>
      </p:sp>
      <p:sp>
        <p:nvSpPr>
          <p:cNvPr id="154" name="TextBox 153">
            <a:extLst>
              <a:ext uri="{FF2B5EF4-FFF2-40B4-BE49-F238E27FC236}">
                <a16:creationId xmlns:a16="http://schemas.microsoft.com/office/drawing/2014/main" id="{4418CDC6-0F62-7A61-50F6-38BD653824F0}"/>
              </a:ext>
            </a:extLst>
          </p:cNvPr>
          <p:cNvSpPr txBox="1"/>
          <p:nvPr/>
        </p:nvSpPr>
        <p:spPr>
          <a:xfrm>
            <a:off x="6789447" y="5242033"/>
            <a:ext cx="1354538" cy="184666"/>
          </a:xfrm>
          <a:prstGeom prst="rect">
            <a:avLst/>
          </a:prstGeom>
          <a:noFill/>
        </p:spPr>
        <p:txBody>
          <a:bodyPr wrap="none" lIns="0" tIns="0" rIns="0" bIns="0" rtlCol="0">
            <a:spAutoFit/>
          </a:bodyPr>
          <a:lstStyle>
            <a:defPPr>
              <a:defRPr lang="en-US"/>
            </a:defPPr>
            <a:lvl1pPr marR="0" lvl="0" indent="0" defTabSz="914342" fontAlgn="auto">
              <a:lnSpc>
                <a:spcPct val="100000"/>
              </a:lnSpc>
              <a:spcBef>
                <a:spcPts val="0"/>
              </a:spcBef>
              <a:spcAft>
                <a:spcPts val="0"/>
              </a:spcAft>
              <a:buClrTx/>
              <a:buSzTx/>
              <a:buFont typeface="Arial" panose="020B0604020202020204" pitchFamily="34" charset="0"/>
              <a:buNone/>
              <a:tabLst/>
              <a:defRPr kumimoji="0" sz="1000" b="1" i="0" u="none" strike="noStrike" cap="none" spc="0" normalizeH="0" baseline="0">
                <a:ln>
                  <a:noFill/>
                </a:ln>
                <a:effectLst/>
                <a:uLnTx/>
                <a:uFillTx/>
                <a:latin typeface="Avenir Next LT Pro" panose="020B0504020202020204"/>
                <a:cs typeface="Arial" panose="020B0604020202020204" pitchFamily="34" charset="0"/>
              </a:defRPr>
            </a:lvl1pPr>
          </a:lstStyle>
          <a:p>
            <a:r>
              <a:rPr lang="en-GB" sz="1200" dirty="0"/>
              <a:t>Secondary sectors</a:t>
            </a:r>
          </a:p>
        </p:txBody>
      </p:sp>
      <p:grpSp>
        <p:nvGrpSpPr>
          <p:cNvPr id="155" name="Group 154">
            <a:extLst>
              <a:ext uri="{FF2B5EF4-FFF2-40B4-BE49-F238E27FC236}">
                <a16:creationId xmlns:a16="http://schemas.microsoft.com/office/drawing/2014/main" id="{1F8EE691-17FB-EC7E-99AC-22B58FE35524}"/>
              </a:ext>
            </a:extLst>
          </p:cNvPr>
          <p:cNvGrpSpPr/>
          <p:nvPr/>
        </p:nvGrpSpPr>
        <p:grpSpPr>
          <a:xfrm>
            <a:off x="860425" y="1410520"/>
            <a:ext cx="5156566" cy="183791"/>
            <a:chOff x="3086905" y="1232720"/>
            <a:chExt cx="2930086" cy="183791"/>
          </a:xfrm>
        </p:grpSpPr>
        <p:sp>
          <p:nvSpPr>
            <p:cNvPr id="156" name="Rectangle 155">
              <a:extLst>
                <a:ext uri="{FF2B5EF4-FFF2-40B4-BE49-F238E27FC236}">
                  <a16:creationId xmlns:a16="http://schemas.microsoft.com/office/drawing/2014/main" id="{8BAAB8DC-C0DD-C966-DD2B-8E37CFF37015}"/>
                </a:ext>
              </a:extLst>
            </p:cNvPr>
            <p:cNvSpPr/>
            <p:nvPr/>
          </p:nvSpPr>
          <p:spPr>
            <a:xfrm>
              <a:off x="3086905" y="1232720"/>
              <a:ext cx="2930086" cy="67086"/>
            </a:xfrm>
            <a:prstGeom prst="rect">
              <a:avLst/>
            </a:prstGeom>
            <a:solidFill>
              <a:srgbClr val="E4F0EB">
                <a:lumMod val="2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157" name="Rectangle 156">
              <a:extLst>
                <a:ext uri="{FF2B5EF4-FFF2-40B4-BE49-F238E27FC236}">
                  <a16:creationId xmlns:a16="http://schemas.microsoft.com/office/drawing/2014/main" id="{10C843B9-770E-2D49-BD41-6BAF1CF18D64}"/>
                </a:ext>
              </a:extLst>
            </p:cNvPr>
            <p:cNvSpPr/>
            <p:nvPr/>
          </p:nvSpPr>
          <p:spPr>
            <a:xfrm>
              <a:off x="3086905" y="1293378"/>
              <a:ext cx="2930086" cy="67086"/>
            </a:xfrm>
            <a:prstGeom prst="rect">
              <a:avLst/>
            </a:prstGeom>
            <a:solidFill>
              <a:srgbClr val="6CB690">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venir Next LT Pro"/>
                <a:ea typeface="+mn-ea"/>
                <a:cs typeface="+mn-cs"/>
              </a:endParaRPr>
            </a:p>
          </p:txBody>
        </p:sp>
        <p:sp>
          <p:nvSpPr>
            <p:cNvPr id="158" name="Rectangle 157">
              <a:extLst>
                <a:ext uri="{FF2B5EF4-FFF2-40B4-BE49-F238E27FC236}">
                  <a16:creationId xmlns:a16="http://schemas.microsoft.com/office/drawing/2014/main" id="{92031E97-EDCE-7993-AD0B-D49D657F8072}"/>
                </a:ext>
              </a:extLst>
            </p:cNvPr>
            <p:cNvSpPr/>
            <p:nvPr/>
          </p:nvSpPr>
          <p:spPr>
            <a:xfrm>
              <a:off x="3086905" y="1349425"/>
              <a:ext cx="2928546" cy="67086"/>
            </a:xfrm>
            <a:prstGeom prst="rect">
              <a:avLst/>
            </a:prstGeom>
            <a:solidFill>
              <a:srgbClr val="6CB690">
                <a:lumMod val="60000"/>
                <a:lumOff val="4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venir Next LT Pro"/>
                <a:ea typeface="+mn-ea"/>
                <a:cs typeface="+mn-cs"/>
              </a:endParaRPr>
            </a:p>
          </p:txBody>
        </p:sp>
      </p:grpSp>
      <p:grpSp>
        <p:nvGrpSpPr>
          <p:cNvPr id="159" name="Group 158">
            <a:extLst>
              <a:ext uri="{FF2B5EF4-FFF2-40B4-BE49-F238E27FC236}">
                <a16:creationId xmlns:a16="http://schemas.microsoft.com/office/drawing/2014/main" id="{87F588E5-08D7-AA81-90E2-034AB6CF4B21}"/>
              </a:ext>
            </a:extLst>
          </p:cNvPr>
          <p:cNvGrpSpPr/>
          <p:nvPr/>
        </p:nvGrpSpPr>
        <p:grpSpPr>
          <a:xfrm>
            <a:off x="3880365" y="1388119"/>
            <a:ext cx="4140871" cy="4000880"/>
            <a:chOff x="2774072" y="996854"/>
            <a:chExt cx="4140871" cy="4000880"/>
          </a:xfrm>
        </p:grpSpPr>
        <p:sp>
          <p:nvSpPr>
            <p:cNvPr id="160" name="Block Arc 159">
              <a:extLst>
                <a:ext uri="{FF2B5EF4-FFF2-40B4-BE49-F238E27FC236}">
                  <a16:creationId xmlns:a16="http://schemas.microsoft.com/office/drawing/2014/main" id="{F14E36CF-E9FB-5179-FD95-8D33B0379259}"/>
                </a:ext>
              </a:extLst>
            </p:cNvPr>
            <p:cNvSpPr/>
            <p:nvPr/>
          </p:nvSpPr>
          <p:spPr>
            <a:xfrm rot="5400000">
              <a:off x="2903272" y="1001160"/>
              <a:ext cx="3872998" cy="3981404"/>
            </a:xfrm>
            <a:prstGeom prst="blockArc">
              <a:avLst>
                <a:gd name="adj1" fmla="val 10735610"/>
                <a:gd name="adj2" fmla="val 10667644"/>
                <a:gd name="adj3" fmla="val 1708"/>
              </a:avLst>
            </a:prstGeom>
            <a:solidFill>
              <a:srgbClr val="6CB690">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72A31"/>
                </a:solidFill>
                <a:effectLst/>
                <a:uLnTx/>
                <a:uFillTx/>
                <a:latin typeface="Avenir Next LT Pro"/>
                <a:ea typeface="+mn-ea"/>
                <a:cs typeface="+mn-cs"/>
              </a:endParaRPr>
            </a:p>
          </p:txBody>
        </p:sp>
        <p:sp>
          <p:nvSpPr>
            <p:cNvPr id="161" name="Circle: Hollow 160">
              <a:extLst>
                <a:ext uri="{FF2B5EF4-FFF2-40B4-BE49-F238E27FC236}">
                  <a16:creationId xmlns:a16="http://schemas.microsoft.com/office/drawing/2014/main" id="{29E22A00-5FC3-6665-C163-549F7B0DF4A8}"/>
                </a:ext>
              </a:extLst>
            </p:cNvPr>
            <p:cNvSpPr/>
            <p:nvPr/>
          </p:nvSpPr>
          <p:spPr>
            <a:xfrm>
              <a:off x="2774072" y="996854"/>
              <a:ext cx="4140871" cy="4000880"/>
            </a:xfrm>
            <a:prstGeom prst="donut">
              <a:avLst>
                <a:gd name="adj" fmla="val 2146"/>
              </a:avLst>
            </a:prstGeom>
            <a:solidFill>
              <a:srgbClr val="E4F0EB">
                <a:lumMod val="2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72A31"/>
                </a:solidFill>
                <a:effectLst/>
                <a:uLnTx/>
                <a:uFillTx/>
                <a:latin typeface="Avenir Next LT Pro"/>
                <a:ea typeface="+mn-ea"/>
                <a:cs typeface="+mn-cs"/>
              </a:endParaRPr>
            </a:p>
          </p:txBody>
        </p:sp>
        <p:sp>
          <p:nvSpPr>
            <p:cNvPr id="162" name="Block Arc 161">
              <a:extLst>
                <a:ext uri="{FF2B5EF4-FFF2-40B4-BE49-F238E27FC236}">
                  <a16:creationId xmlns:a16="http://schemas.microsoft.com/office/drawing/2014/main" id="{B46C2DEE-B719-5CCD-88FE-2A9249A2FE74}"/>
                </a:ext>
              </a:extLst>
            </p:cNvPr>
            <p:cNvSpPr/>
            <p:nvPr/>
          </p:nvSpPr>
          <p:spPr>
            <a:xfrm>
              <a:off x="2919127" y="1117613"/>
              <a:ext cx="3837509" cy="3770484"/>
            </a:xfrm>
            <a:prstGeom prst="blockArc">
              <a:avLst>
                <a:gd name="adj1" fmla="val 16089083"/>
                <a:gd name="adj2" fmla="val 15862676"/>
                <a:gd name="adj3" fmla="val 1861"/>
              </a:avLst>
            </a:prstGeom>
            <a:solidFill>
              <a:srgbClr val="6CB690">
                <a:lumMod val="40000"/>
                <a:lumOff val="6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72A31"/>
                </a:solidFill>
                <a:effectLst/>
                <a:uLnTx/>
                <a:uFillTx/>
                <a:latin typeface="Avenir Next LT Pro"/>
                <a:ea typeface="+mn-ea"/>
                <a:cs typeface="+mn-cs"/>
              </a:endParaRPr>
            </a:p>
          </p:txBody>
        </p:sp>
      </p:grpSp>
      <p:sp>
        <p:nvSpPr>
          <p:cNvPr id="163" name="Isosceles Triangle 162">
            <a:extLst>
              <a:ext uri="{FF2B5EF4-FFF2-40B4-BE49-F238E27FC236}">
                <a16:creationId xmlns:a16="http://schemas.microsoft.com/office/drawing/2014/main" id="{BF413684-8E48-664F-C322-CCA98AE48471}"/>
              </a:ext>
            </a:extLst>
          </p:cNvPr>
          <p:cNvSpPr/>
          <p:nvPr/>
        </p:nvSpPr>
        <p:spPr>
          <a:xfrm rot="5400000">
            <a:off x="2189305" y="1431718"/>
            <a:ext cx="290588" cy="143763"/>
          </a:xfrm>
          <a:prstGeom prst="triangle">
            <a:avLst>
              <a:gd name="adj" fmla="val 50000"/>
            </a:avLst>
          </a:prstGeom>
          <a:solidFill>
            <a:schemeClr val="bg1"/>
          </a:solidFill>
          <a:ln w="1079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venir Next LT Pro"/>
              <a:ea typeface="+mn-ea"/>
              <a:cs typeface="+mn-cs"/>
            </a:endParaRPr>
          </a:p>
        </p:txBody>
      </p:sp>
      <p:grpSp>
        <p:nvGrpSpPr>
          <p:cNvPr id="164" name="Group 163">
            <a:extLst>
              <a:ext uri="{FF2B5EF4-FFF2-40B4-BE49-F238E27FC236}">
                <a16:creationId xmlns:a16="http://schemas.microsoft.com/office/drawing/2014/main" id="{7A873FD0-61FF-C174-0859-B094B047D965}"/>
              </a:ext>
            </a:extLst>
          </p:cNvPr>
          <p:cNvGrpSpPr/>
          <p:nvPr/>
        </p:nvGrpSpPr>
        <p:grpSpPr>
          <a:xfrm>
            <a:off x="836459" y="980765"/>
            <a:ext cx="1060100" cy="1060094"/>
            <a:chOff x="2637004" y="1870045"/>
            <a:chExt cx="1091818" cy="1091812"/>
          </a:xfrm>
        </p:grpSpPr>
        <p:grpSp>
          <p:nvGrpSpPr>
            <p:cNvPr id="165" name="Group 164">
              <a:extLst>
                <a:ext uri="{FF2B5EF4-FFF2-40B4-BE49-F238E27FC236}">
                  <a16:creationId xmlns:a16="http://schemas.microsoft.com/office/drawing/2014/main" id="{1D3A858B-8CB2-F0E6-73CF-51310BCED441}"/>
                </a:ext>
              </a:extLst>
            </p:cNvPr>
            <p:cNvGrpSpPr/>
            <p:nvPr/>
          </p:nvGrpSpPr>
          <p:grpSpPr>
            <a:xfrm>
              <a:off x="2637004" y="1870045"/>
              <a:ext cx="1091818" cy="1091812"/>
              <a:chOff x="2833863" y="3891542"/>
              <a:chExt cx="811243" cy="811240"/>
            </a:xfrm>
          </p:grpSpPr>
          <p:sp>
            <p:nvSpPr>
              <p:cNvPr id="168" name="Oval 167">
                <a:extLst>
                  <a:ext uri="{FF2B5EF4-FFF2-40B4-BE49-F238E27FC236}">
                    <a16:creationId xmlns:a16="http://schemas.microsoft.com/office/drawing/2014/main" id="{9BD4ADBC-6F06-A7EB-4CBB-F2B50FD8A171}"/>
                  </a:ext>
                </a:extLst>
              </p:cNvPr>
              <p:cNvSpPr>
                <a:spLocks noChangeAspect="1"/>
              </p:cNvSpPr>
              <p:nvPr/>
            </p:nvSpPr>
            <p:spPr>
              <a:xfrm>
                <a:off x="2833863"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Helvetica" pitchFamily="2" charset="0"/>
                </a:endParaRPr>
              </a:p>
            </p:txBody>
          </p:sp>
          <p:sp>
            <p:nvSpPr>
              <p:cNvPr id="169" name="Arc 168">
                <a:extLst>
                  <a:ext uri="{FF2B5EF4-FFF2-40B4-BE49-F238E27FC236}">
                    <a16:creationId xmlns:a16="http://schemas.microsoft.com/office/drawing/2014/main" id="{E3A669F2-40B3-7D0E-B18A-D924CCE9DFA7}"/>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424242"/>
                  </a:solidFill>
                  <a:effectLst/>
                  <a:uLnTx/>
                  <a:uFillTx/>
                  <a:latin typeface="Helvetica" pitchFamily="2" charset="0"/>
                </a:endParaRPr>
              </a:p>
            </p:txBody>
          </p:sp>
        </p:grpSp>
        <p:pic>
          <p:nvPicPr>
            <p:cNvPr id="166" name="Picture 165">
              <a:extLst>
                <a:ext uri="{FF2B5EF4-FFF2-40B4-BE49-F238E27FC236}">
                  <a16:creationId xmlns:a16="http://schemas.microsoft.com/office/drawing/2014/main" id="{4B95BC41-649D-B86D-925C-963AC3B8A707}"/>
                </a:ext>
              </a:extLst>
            </p:cNvPr>
            <p:cNvPicPr>
              <a:picLocks noChangeAspect="1"/>
            </p:cNvPicPr>
            <p:nvPr/>
          </p:nvPicPr>
          <p:blipFill rotWithShape="1">
            <a:blip r:embed="rId6"/>
            <a:srcRect l="10060" t="14509" r="10060" b="38478"/>
            <a:stretch/>
          </p:blipFill>
          <p:spPr>
            <a:xfrm>
              <a:off x="2807104" y="1955662"/>
              <a:ext cx="751614" cy="476388"/>
            </a:xfrm>
            <a:prstGeom prst="rect">
              <a:avLst/>
            </a:prstGeom>
            <a:ln>
              <a:noFill/>
            </a:ln>
          </p:spPr>
        </p:pic>
        <p:sp>
          <p:nvSpPr>
            <p:cNvPr id="167" name="Rectangle 166">
              <a:extLst>
                <a:ext uri="{FF2B5EF4-FFF2-40B4-BE49-F238E27FC236}">
                  <a16:creationId xmlns:a16="http://schemas.microsoft.com/office/drawing/2014/main" id="{9A023068-6D07-74EA-0972-32E92CED7F18}"/>
                </a:ext>
              </a:extLst>
            </p:cNvPr>
            <p:cNvSpPr>
              <a:spLocks/>
            </p:cNvSpPr>
            <p:nvPr/>
          </p:nvSpPr>
          <p:spPr>
            <a:xfrm>
              <a:off x="2705408" y="2479856"/>
              <a:ext cx="955006"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spAutoFit/>
            </a:bodyPr>
            <a:lstStyle/>
            <a:p>
              <a:pPr marL="0" marR="0" lvl="0" indent="0" algn="ctr"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1" i="0" u="none" strike="noStrike" kern="1200" cap="none" spc="0" normalizeH="0" baseline="0" noProof="0" dirty="0">
                  <a:ln>
                    <a:noFill/>
                  </a:ln>
                  <a:solidFill>
                    <a:schemeClr val="tx1"/>
                  </a:solidFill>
                  <a:effectLst/>
                  <a:uLnTx/>
                  <a:uFillTx/>
                  <a:latin typeface="Avenir Next LT Pro" panose="020B0504020202020204"/>
                  <a:ea typeface="+mn-ea"/>
                  <a:cs typeface="Arial" panose="020B0604020202020204" pitchFamily="34" charset="0"/>
                </a:rPr>
                <a:t>Degraded </a:t>
              </a:r>
            </a:p>
            <a:p>
              <a:pPr marL="0" marR="0" lvl="0" indent="0" algn="ctr"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1" i="0" u="none" strike="noStrike" kern="1200" cap="none" spc="0" normalizeH="0" baseline="0" noProof="0" dirty="0">
                  <a:ln>
                    <a:noFill/>
                  </a:ln>
                  <a:solidFill>
                    <a:schemeClr val="tx1"/>
                  </a:solidFill>
                  <a:effectLst/>
                  <a:uLnTx/>
                  <a:uFillTx/>
                  <a:latin typeface="Avenir Next LT Pro" panose="020B0504020202020204"/>
                  <a:ea typeface="+mn-ea"/>
                  <a:cs typeface="Arial" panose="020B0604020202020204" pitchFamily="34" charset="0"/>
                </a:rPr>
                <a:t>ecosystems</a:t>
              </a:r>
            </a:p>
          </p:txBody>
        </p:sp>
      </p:grpSp>
      <p:grpSp>
        <p:nvGrpSpPr>
          <p:cNvPr id="170" name="Group 169">
            <a:extLst>
              <a:ext uri="{FF2B5EF4-FFF2-40B4-BE49-F238E27FC236}">
                <a16:creationId xmlns:a16="http://schemas.microsoft.com/office/drawing/2014/main" id="{92DD632B-8136-6618-5FF4-66DB5737B0E2}"/>
              </a:ext>
            </a:extLst>
          </p:cNvPr>
          <p:cNvGrpSpPr/>
          <p:nvPr/>
        </p:nvGrpSpPr>
        <p:grpSpPr>
          <a:xfrm>
            <a:off x="4961345" y="839248"/>
            <a:ext cx="1589010" cy="1630130"/>
            <a:chOff x="5558399" y="913175"/>
            <a:chExt cx="1060098" cy="1060094"/>
          </a:xfrm>
        </p:grpSpPr>
        <p:grpSp>
          <p:nvGrpSpPr>
            <p:cNvPr id="171" name="Group 170">
              <a:extLst>
                <a:ext uri="{FF2B5EF4-FFF2-40B4-BE49-F238E27FC236}">
                  <a16:creationId xmlns:a16="http://schemas.microsoft.com/office/drawing/2014/main" id="{51DA85CD-25DB-9AB0-8F0C-66B0999E3A35}"/>
                </a:ext>
              </a:extLst>
            </p:cNvPr>
            <p:cNvGrpSpPr/>
            <p:nvPr/>
          </p:nvGrpSpPr>
          <p:grpSpPr>
            <a:xfrm>
              <a:off x="5558399" y="913175"/>
              <a:ext cx="1060098" cy="1060094"/>
              <a:chOff x="2833864" y="3891542"/>
              <a:chExt cx="811242" cy="811240"/>
            </a:xfrm>
          </p:grpSpPr>
          <p:sp>
            <p:nvSpPr>
              <p:cNvPr id="174" name="Oval 173">
                <a:extLst>
                  <a:ext uri="{FF2B5EF4-FFF2-40B4-BE49-F238E27FC236}">
                    <a16:creationId xmlns:a16="http://schemas.microsoft.com/office/drawing/2014/main" id="{EF9EC2EF-6ACA-E912-14BE-F3C4C03C3CCF}"/>
                  </a:ext>
                </a:extLst>
              </p:cNvPr>
              <p:cNvSpPr>
                <a:spLocks noChangeAspect="1"/>
              </p:cNvSpPr>
              <p:nvPr/>
            </p:nvSpPr>
            <p:spPr>
              <a:xfrm>
                <a:off x="2833864"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Helvetica" pitchFamily="2" charset="0"/>
                </a:endParaRPr>
              </a:p>
            </p:txBody>
          </p:sp>
          <p:sp>
            <p:nvSpPr>
              <p:cNvPr id="175" name="Arc 174">
                <a:extLst>
                  <a:ext uri="{FF2B5EF4-FFF2-40B4-BE49-F238E27FC236}">
                    <a16:creationId xmlns:a16="http://schemas.microsoft.com/office/drawing/2014/main" id="{3982F1DB-ACA8-37B3-ACEE-CF20C96DF817}"/>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424242"/>
                  </a:solidFill>
                  <a:effectLst/>
                  <a:uLnTx/>
                  <a:uFillTx/>
                  <a:latin typeface="Helvetica" pitchFamily="2" charset="0"/>
                </a:endParaRPr>
              </a:p>
            </p:txBody>
          </p:sp>
        </p:grpSp>
        <p:sp>
          <p:nvSpPr>
            <p:cNvPr id="172" name="Rectangle 171">
              <a:extLst>
                <a:ext uri="{FF2B5EF4-FFF2-40B4-BE49-F238E27FC236}">
                  <a16:creationId xmlns:a16="http://schemas.microsoft.com/office/drawing/2014/main" id="{D0706544-1A31-0BD4-E632-36570FA499E1}"/>
                </a:ext>
              </a:extLst>
            </p:cNvPr>
            <p:cNvSpPr>
              <a:spLocks/>
            </p:cNvSpPr>
            <p:nvPr/>
          </p:nvSpPr>
          <p:spPr>
            <a:xfrm>
              <a:off x="5579535" y="1483142"/>
              <a:ext cx="101782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marL="0" marR="0" lvl="0" indent="0" algn="ctr" defTabSz="914342"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tx1"/>
                  </a:solidFill>
                  <a:effectLst/>
                  <a:uLnTx/>
                  <a:uFillTx/>
                  <a:latin typeface="Avenir Next LT Pro" panose="020B0504020202020204" pitchFamily="34" charset="0"/>
                </a:rPr>
                <a:t>Regenerative landscapes &amp; resilient </a:t>
              </a:r>
              <a:r>
                <a:rPr lang="en-GB" sz="1000" b="1" dirty="0">
                  <a:solidFill>
                    <a:schemeClr val="tx1"/>
                  </a:solidFill>
                  <a:latin typeface="Avenir Next LT Pro" panose="020B0504020202020204" pitchFamily="34" charset="0"/>
                </a:rPr>
                <a:t>c</a:t>
              </a:r>
              <a:r>
                <a:rPr kumimoji="0" lang="en-GB" sz="1000" b="1" i="0" u="none" strike="noStrike" kern="1200" cap="none" spc="0" normalizeH="0" baseline="0" noProof="0" dirty="0" err="1">
                  <a:ln>
                    <a:noFill/>
                  </a:ln>
                  <a:solidFill>
                    <a:schemeClr val="tx1"/>
                  </a:solidFill>
                  <a:effectLst/>
                  <a:uLnTx/>
                  <a:uFillTx/>
                  <a:latin typeface="Avenir Next LT Pro" panose="020B0504020202020204" pitchFamily="34" charset="0"/>
                </a:rPr>
                <a:t>ommunities</a:t>
              </a:r>
              <a:endParaRPr kumimoji="0" lang="en-GB" sz="1000" b="1" i="0" u="none" strike="noStrike" kern="1200" cap="none" spc="0" normalizeH="0" baseline="0" noProof="0" dirty="0">
                <a:ln>
                  <a:noFill/>
                </a:ln>
                <a:solidFill>
                  <a:schemeClr val="tx1"/>
                </a:solidFill>
                <a:effectLst/>
                <a:uLnTx/>
                <a:uFillTx/>
                <a:latin typeface="Avenir Next LT Pro" panose="020B0504020202020204" pitchFamily="34" charset="0"/>
              </a:endParaRPr>
            </a:p>
          </p:txBody>
        </p:sp>
        <p:pic>
          <p:nvPicPr>
            <p:cNvPr id="173" name="Picture 172">
              <a:extLst>
                <a:ext uri="{FF2B5EF4-FFF2-40B4-BE49-F238E27FC236}">
                  <a16:creationId xmlns:a16="http://schemas.microsoft.com/office/drawing/2014/main" id="{D7F8F4DD-CE70-D25F-AFCB-70405885B342}"/>
                </a:ext>
              </a:extLst>
            </p:cNvPr>
            <p:cNvPicPr>
              <a:picLocks noChangeAspect="1"/>
            </p:cNvPicPr>
            <p:nvPr/>
          </p:nvPicPr>
          <p:blipFill>
            <a:blip r:embed="rId7"/>
            <a:stretch>
              <a:fillRect/>
            </a:stretch>
          </p:blipFill>
          <p:spPr>
            <a:xfrm>
              <a:off x="5674173" y="1077678"/>
              <a:ext cx="828550" cy="385704"/>
            </a:xfrm>
            <a:prstGeom prst="rect">
              <a:avLst/>
            </a:prstGeom>
          </p:spPr>
        </p:pic>
      </p:grpSp>
      <p:grpSp>
        <p:nvGrpSpPr>
          <p:cNvPr id="176" name="Group 175">
            <a:extLst>
              <a:ext uri="{FF2B5EF4-FFF2-40B4-BE49-F238E27FC236}">
                <a16:creationId xmlns:a16="http://schemas.microsoft.com/office/drawing/2014/main" id="{B0D7F58D-8968-2AC4-BFE1-34AEB02CDBB6}"/>
              </a:ext>
            </a:extLst>
          </p:cNvPr>
          <p:cNvGrpSpPr/>
          <p:nvPr/>
        </p:nvGrpSpPr>
        <p:grpSpPr>
          <a:xfrm>
            <a:off x="7249989" y="2924035"/>
            <a:ext cx="1060098" cy="1060094"/>
            <a:chOff x="6966952" y="1857541"/>
            <a:chExt cx="1060098" cy="1060094"/>
          </a:xfrm>
        </p:grpSpPr>
        <p:grpSp>
          <p:nvGrpSpPr>
            <p:cNvPr id="177" name="Group 176">
              <a:extLst>
                <a:ext uri="{FF2B5EF4-FFF2-40B4-BE49-F238E27FC236}">
                  <a16:creationId xmlns:a16="http://schemas.microsoft.com/office/drawing/2014/main" id="{8C14AFA5-A487-BCDF-E067-88978DB36355}"/>
                </a:ext>
              </a:extLst>
            </p:cNvPr>
            <p:cNvGrpSpPr/>
            <p:nvPr/>
          </p:nvGrpSpPr>
          <p:grpSpPr>
            <a:xfrm>
              <a:off x="6966952" y="1857541"/>
              <a:ext cx="1060098" cy="1060094"/>
              <a:chOff x="2833864" y="3891542"/>
              <a:chExt cx="811242" cy="811240"/>
            </a:xfrm>
          </p:grpSpPr>
          <p:sp>
            <p:nvSpPr>
              <p:cNvPr id="181" name="Oval 180">
                <a:extLst>
                  <a:ext uri="{FF2B5EF4-FFF2-40B4-BE49-F238E27FC236}">
                    <a16:creationId xmlns:a16="http://schemas.microsoft.com/office/drawing/2014/main" id="{85F111F8-51D2-B045-96A3-0B0DC974F752}"/>
                  </a:ext>
                </a:extLst>
              </p:cNvPr>
              <p:cNvSpPr>
                <a:spLocks noChangeAspect="1"/>
              </p:cNvSpPr>
              <p:nvPr/>
            </p:nvSpPr>
            <p:spPr>
              <a:xfrm>
                <a:off x="2833864"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Helvetica" pitchFamily="2" charset="0"/>
                </a:endParaRPr>
              </a:p>
            </p:txBody>
          </p:sp>
          <p:sp>
            <p:nvSpPr>
              <p:cNvPr id="182" name="Arc 181">
                <a:extLst>
                  <a:ext uri="{FF2B5EF4-FFF2-40B4-BE49-F238E27FC236}">
                    <a16:creationId xmlns:a16="http://schemas.microsoft.com/office/drawing/2014/main" id="{7A808CA5-0840-76FB-6E8E-99D550340FA5}"/>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424242"/>
                  </a:solidFill>
                  <a:effectLst/>
                  <a:uLnTx/>
                  <a:uFillTx/>
                  <a:latin typeface="Helvetica" pitchFamily="2" charset="0"/>
                </a:endParaRPr>
              </a:p>
            </p:txBody>
          </p:sp>
        </p:grpSp>
        <p:grpSp>
          <p:nvGrpSpPr>
            <p:cNvPr id="178" name="Group 177">
              <a:extLst>
                <a:ext uri="{FF2B5EF4-FFF2-40B4-BE49-F238E27FC236}">
                  <a16:creationId xmlns:a16="http://schemas.microsoft.com/office/drawing/2014/main" id="{67C7FC4D-67E9-1521-8CC8-CCF5A552458C}"/>
                </a:ext>
              </a:extLst>
            </p:cNvPr>
            <p:cNvGrpSpPr/>
            <p:nvPr/>
          </p:nvGrpSpPr>
          <p:grpSpPr>
            <a:xfrm>
              <a:off x="7020435" y="2042082"/>
              <a:ext cx="932812" cy="660532"/>
              <a:chOff x="6980621" y="1844853"/>
              <a:chExt cx="1030581" cy="729763"/>
            </a:xfrm>
          </p:grpSpPr>
          <p:pic>
            <p:nvPicPr>
              <p:cNvPr id="179" name="Picture 178">
                <a:extLst>
                  <a:ext uri="{FF2B5EF4-FFF2-40B4-BE49-F238E27FC236}">
                    <a16:creationId xmlns:a16="http://schemas.microsoft.com/office/drawing/2014/main" id="{CEBB5E5B-DF12-F41C-413D-348B84F8AE41}"/>
                  </a:ext>
                </a:extLst>
              </p:cNvPr>
              <p:cNvPicPr>
                <a:picLocks noChangeAspect="1"/>
              </p:cNvPicPr>
              <p:nvPr/>
            </p:nvPicPr>
            <p:blipFill>
              <a:blip r:embed="rId8"/>
              <a:stretch>
                <a:fillRect/>
              </a:stretch>
            </p:blipFill>
            <p:spPr>
              <a:xfrm>
                <a:off x="6980621" y="1844853"/>
                <a:ext cx="1030581" cy="729763"/>
              </a:xfrm>
              <a:prstGeom prst="rect">
                <a:avLst/>
              </a:prstGeom>
            </p:spPr>
          </p:pic>
          <p:pic>
            <p:nvPicPr>
              <p:cNvPr id="180" name="Picture 179">
                <a:extLst>
                  <a:ext uri="{FF2B5EF4-FFF2-40B4-BE49-F238E27FC236}">
                    <a16:creationId xmlns:a16="http://schemas.microsoft.com/office/drawing/2014/main" id="{29EC5682-10FB-CD85-D339-BE01B50DEAC6}"/>
                  </a:ext>
                </a:extLst>
              </p:cNvPr>
              <p:cNvPicPr>
                <a:picLocks noChangeAspect="1"/>
              </p:cNvPicPr>
              <p:nvPr/>
            </p:nvPicPr>
            <p:blipFill>
              <a:blip r:embed="rId9"/>
              <a:stretch>
                <a:fillRect/>
              </a:stretch>
            </p:blipFill>
            <p:spPr>
              <a:xfrm>
                <a:off x="7188064" y="2041222"/>
                <a:ext cx="587650" cy="433082"/>
              </a:xfrm>
              <a:prstGeom prst="rect">
                <a:avLst/>
              </a:prstGeom>
            </p:spPr>
          </p:pic>
        </p:grpSp>
      </p:grpSp>
      <p:grpSp>
        <p:nvGrpSpPr>
          <p:cNvPr id="190" name="Group 189">
            <a:extLst>
              <a:ext uri="{FF2B5EF4-FFF2-40B4-BE49-F238E27FC236}">
                <a16:creationId xmlns:a16="http://schemas.microsoft.com/office/drawing/2014/main" id="{27B9939E-DE97-ADFE-F601-2DBC76A8D5AC}"/>
              </a:ext>
            </a:extLst>
          </p:cNvPr>
          <p:cNvGrpSpPr/>
          <p:nvPr/>
        </p:nvGrpSpPr>
        <p:grpSpPr>
          <a:xfrm>
            <a:off x="5414125" y="4607282"/>
            <a:ext cx="1060098" cy="1109169"/>
            <a:chOff x="9485271" y="2844803"/>
            <a:chExt cx="1060098" cy="1109169"/>
          </a:xfrm>
        </p:grpSpPr>
        <p:grpSp>
          <p:nvGrpSpPr>
            <p:cNvPr id="191" name="Group 190">
              <a:extLst>
                <a:ext uri="{FF2B5EF4-FFF2-40B4-BE49-F238E27FC236}">
                  <a16:creationId xmlns:a16="http://schemas.microsoft.com/office/drawing/2014/main" id="{5419AFC2-0573-A3F6-D0C8-15A5AE52920E}"/>
                </a:ext>
              </a:extLst>
            </p:cNvPr>
            <p:cNvGrpSpPr/>
            <p:nvPr/>
          </p:nvGrpSpPr>
          <p:grpSpPr>
            <a:xfrm>
              <a:off x="9485271" y="2893878"/>
              <a:ext cx="1060098" cy="1060094"/>
              <a:chOff x="2833864" y="3891542"/>
              <a:chExt cx="811242" cy="811240"/>
            </a:xfrm>
          </p:grpSpPr>
          <p:sp>
            <p:nvSpPr>
              <p:cNvPr id="193" name="Oval 192">
                <a:extLst>
                  <a:ext uri="{FF2B5EF4-FFF2-40B4-BE49-F238E27FC236}">
                    <a16:creationId xmlns:a16="http://schemas.microsoft.com/office/drawing/2014/main" id="{889BE655-ECF3-38AE-6E7A-F42A35D0FEB9}"/>
                  </a:ext>
                </a:extLst>
              </p:cNvPr>
              <p:cNvSpPr>
                <a:spLocks noChangeAspect="1"/>
              </p:cNvSpPr>
              <p:nvPr/>
            </p:nvSpPr>
            <p:spPr>
              <a:xfrm>
                <a:off x="2833864"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Helvetica" pitchFamily="2" charset="0"/>
                </a:endParaRPr>
              </a:p>
            </p:txBody>
          </p:sp>
          <p:sp>
            <p:nvSpPr>
              <p:cNvPr id="194" name="Arc 193">
                <a:extLst>
                  <a:ext uri="{FF2B5EF4-FFF2-40B4-BE49-F238E27FC236}">
                    <a16:creationId xmlns:a16="http://schemas.microsoft.com/office/drawing/2014/main" id="{9A0AF019-4D9A-5101-E189-2AD9BC404C5F}"/>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424242"/>
                  </a:solidFill>
                  <a:effectLst/>
                  <a:uLnTx/>
                  <a:uFillTx/>
                  <a:latin typeface="Helvetica" pitchFamily="2" charset="0"/>
                </a:endParaRPr>
              </a:p>
            </p:txBody>
          </p:sp>
        </p:grpSp>
        <p:pic>
          <p:nvPicPr>
            <p:cNvPr id="192" name="Picture 191">
              <a:extLst>
                <a:ext uri="{FF2B5EF4-FFF2-40B4-BE49-F238E27FC236}">
                  <a16:creationId xmlns:a16="http://schemas.microsoft.com/office/drawing/2014/main" id="{BF6C7E2D-80DC-B1FF-9163-F229F3FE292D}"/>
                </a:ext>
              </a:extLst>
            </p:cNvPr>
            <p:cNvPicPr>
              <a:picLocks noChangeAspect="1"/>
            </p:cNvPicPr>
            <p:nvPr/>
          </p:nvPicPr>
          <p:blipFill>
            <a:blip r:embed="rId10"/>
            <a:stretch>
              <a:fillRect/>
            </a:stretch>
          </p:blipFill>
          <p:spPr>
            <a:xfrm>
              <a:off x="9663271" y="2844803"/>
              <a:ext cx="767599" cy="1005844"/>
            </a:xfrm>
            <a:prstGeom prst="rect">
              <a:avLst/>
            </a:prstGeom>
          </p:spPr>
        </p:pic>
      </p:grpSp>
      <p:sp>
        <p:nvSpPr>
          <p:cNvPr id="195" name="TextBox 194">
            <a:extLst>
              <a:ext uri="{FF2B5EF4-FFF2-40B4-BE49-F238E27FC236}">
                <a16:creationId xmlns:a16="http://schemas.microsoft.com/office/drawing/2014/main" id="{E40A256D-975B-E836-B732-DAC1BDB393B6}"/>
              </a:ext>
            </a:extLst>
          </p:cNvPr>
          <p:cNvSpPr txBox="1"/>
          <p:nvPr/>
        </p:nvSpPr>
        <p:spPr>
          <a:xfrm>
            <a:off x="1409445" y="3454082"/>
            <a:ext cx="1773798" cy="338554"/>
          </a:xfrm>
          <a:prstGeom prst="rect">
            <a:avLst/>
          </a:prstGeom>
          <a:noFill/>
        </p:spPr>
        <p:txBody>
          <a:bodyPr wrap="square" lIns="0" tIns="0" rIns="0" bIns="0" rtlCol="0">
            <a:spAutoFit/>
          </a:bodyPr>
          <a:lstStyle>
            <a:defPPr>
              <a:defRPr lang="en-US"/>
            </a:defPPr>
            <a:lvl1pPr marR="0" lvl="0" indent="0" defTabSz="914342" fontAlgn="auto">
              <a:lnSpc>
                <a:spcPct val="100000"/>
              </a:lnSpc>
              <a:spcBef>
                <a:spcPts val="0"/>
              </a:spcBef>
              <a:spcAft>
                <a:spcPts val="0"/>
              </a:spcAft>
              <a:buClrTx/>
              <a:buSzTx/>
              <a:buFont typeface="Arial" panose="020B0604020202020204" pitchFamily="34" charset="0"/>
              <a:buNone/>
              <a:tabLst/>
              <a:defRPr kumimoji="0" sz="1100" b="0" i="0" u="none" strike="noStrike" cap="none" spc="0" normalizeH="0" baseline="0">
                <a:ln>
                  <a:noFill/>
                </a:ln>
                <a:effectLst/>
                <a:uLnTx/>
                <a:uFillTx/>
                <a:latin typeface="Avenir Next LT Pro" panose="020B0504020202020204"/>
                <a:cs typeface="Arial" panose="020B0604020202020204" pitchFamily="34" charset="0"/>
              </a:defRPr>
            </a:lvl1pPr>
          </a:lstStyle>
          <a:p>
            <a:pPr algn="r"/>
            <a:r>
              <a:rPr lang="en-GB" dirty="0"/>
              <a:t>Tourism, finance, insurances, cities</a:t>
            </a:r>
          </a:p>
        </p:txBody>
      </p:sp>
      <p:grpSp>
        <p:nvGrpSpPr>
          <p:cNvPr id="196" name="Group 195">
            <a:extLst>
              <a:ext uri="{FF2B5EF4-FFF2-40B4-BE49-F238E27FC236}">
                <a16:creationId xmlns:a16="http://schemas.microsoft.com/office/drawing/2014/main" id="{65B002EC-7408-E4B2-5ED3-AD5787C60CD6}"/>
              </a:ext>
            </a:extLst>
          </p:cNvPr>
          <p:cNvGrpSpPr/>
          <p:nvPr/>
        </p:nvGrpSpPr>
        <p:grpSpPr>
          <a:xfrm>
            <a:off x="3411725" y="2841248"/>
            <a:ext cx="1179402" cy="1252319"/>
            <a:chOff x="3572272" y="3472189"/>
            <a:chExt cx="1179402" cy="1252319"/>
          </a:xfrm>
        </p:grpSpPr>
        <p:grpSp>
          <p:nvGrpSpPr>
            <p:cNvPr id="197" name="Group 196">
              <a:extLst>
                <a:ext uri="{FF2B5EF4-FFF2-40B4-BE49-F238E27FC236}">
                  <a16:creationId xmlns:a16="http://schemas.microsoft.com/office/drawing/2014/main" id="{DED30B33-5C5B-8506-9237-9A223264BDAB}"/>
                </a:ext>
              </a:extLst>
            </p:cNvPr>
            <p:cNvGrpSpPr/>
            <p:nvPr/>
          </p:nvGrpSpPr>
          <p:grpSpPr>
            <a:xfrm>
              <a:off x="3572272" y="3472189"/>
              <a:ext cx="1179402" cy="1195930"/>
              <a:chOff x="6141242" y="4743807"/>
              <a:chExt cx="900265" cy="883574"/>
            </a:xfrm>
          </p:grpSpPr>
          <p:sp>
            <p:nvSpPr>
              <p:cNvPr id="204" name="Oval 203">
                <a:extLst>
                  <a:ext uri="{FF2B5EF4-FFF2-40B4-BE49-F238E27FC236}">
                    <a16:creationId xmlns:a16="http://schemas.microsoft.com/office/drawing/2014/main" id="{E8090199-83B0-AEFF-D5F7-98183AF073CB}"/>
                  </a:ext>
                </a:extLst>
              </p:cNvPr>
              <p:cNvSpPr/>
              <p:nvPr/>
            </p:nvSpPr>
            <p:spPr>
              <a:xfrm>
                <a:off x="6143636" y="4743807"/>
                <a:ext cx="897871" cy="878366"/>
              </a:xfrm>
              <a:prstGeom prst="ellipse">
                <a:avLst/>
              </a:prstGeom>
              <a:solidFill>
                <a:srgbClr val="FFFFFF">
                  <a:alpha val="50000"/>
                </a:srgbClr>
              </a:solidFill>
              <a:ln w="10795" cap="flat" cmpd="sng" algn="ctr">
                <a:solidFill>
                  <a:srgbClr val="072A3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venir Next LT Pro"/>
                  <a:ea typeface="+mn-ea"/>
                  <a:cs typeface="+mn-cs"/>
                </a:endParaRPr>
              </a:p>
            </p:txBody>
          </p:sp>
          <p:grpSp>
            <p:nvGrpSpPr>
              <p:cNvPr id="205" name="Group 204">
                <a:extLst>
                  <a:ext uri="{FF2B5EF4-FFF2-40B4-BE49-F238E27FC236}">
                    <a16:creationId xmlns:a16="http://schemas.microsoft.com/office/drawing/2014/main" id="{D4E49CEC-4BFF-EE54-4069-38C027C3FC1A}"/>
                  </a:ext>
                </a:extLst>
              </p:cNvPr>
              <p:cNvGrpSpPr/>
              <p:nvPr/>
            </p:nvGrpSpPr>
            <p:grpSpPr>
              <a:xfrm>
                <a:off x="6141242" y="4753260"/>
                <a:ext cx="897871" cy="874121"/>
                <a:chOff x="7227961" y="1095533"/>
                <a:chExt cx="3821461" cy="3704594"/>
              </a:xfrm>
            </p:grpSpPr>
            <p:grpSp>
              <p:nvGrpSpPr>
                <p:cNvPr id="206" name="Group 205">
                  <a:extLst>
                    <a:ext uri="{FF2B5EF4-FFF2-40B4-BE49-F238E27FC236}">
                      <a16:creationId xmlns:a16="http://schemas.microsoft.com/office/drawing/2014/main" id="{4BBC9D1D-E097-1583-DAAF-5A3EC5CFFAEA}"/>
                    </a:ext>
                  </a:extLst>
                </p:cNvPr>
                <p:cNvGrpSpPr/>
                <p:nvPr/>
              </p:nvGrpSpPr>
              <p:grpSpPr>
                <a:xfrm>
                  <a:off x="7227961" y="1095533"/>
                  <a:ext cx="3821461" cy="3704594"/>
                  <a:chOff x="7227961" y="1095533"/>
                  <a:chExt cx="3821461" cy="3704594"/>
                </a:xfrm>
              </p:grpSpPr>
              <p:sp>
                <p:nvSpPr>
                  <p:cNvPr id="208" name="Circle: Hollow 207">
                    <a:extLst>
                      <a:ext uri="{FF2B5EF4-FFF2-40B4-BE49-F238E27FC236}">
                        <a16:creationId xmlns:a16="http://schemas.microsoft.com/office/drawing/2014/main" id="{23D68DF5-CC9D-C611-FD7C-75A0DF302723}"/>
                      </a:ext>
                    </a:extLst>
                  </p:cNvPr>
                  <p:cNvSpPr/>
                  <p:nvPr/>
                </p:nvSpPr>
                <p:spPr>
                  <a:xfrm>
                    <a:off x="7227961" y="1095533"/>
                    <a:ext cx="3821461" cy="3704594"/>
                  </a:xfrm>
                  <a:prstGeom prst="donut">
                    <a:avLst>
                      <a:gd name="adj" fmla="val 2148"/>
                    </a:avLst>
                  </a:prstGeom>
                  <a:solidFill>
                    <a:srgbClr val="E4F0EB">
                      <a:lumMod val="2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72A31"/>
                      </a:solidFill>
                      <a:effectLst/>
                      <a:uLnTx/>
                      <a:uFillTx/>
                      <a:latin typeface="Avenir Next LT Pro"/>
                      <a:ea typeface="+mn-ea"/>
                      <a:cs typeface="+mn-cs"/>
                    </a:endParaRPr>
                  </a:p>
                </p:txBody>
              </p:sp>
              <p:sp>
                <p:nvSpPr>
                  <p:cNvPr id="209" name="Circle: Hollow 208">
                    <a:extLst>
                      <a:ext uri="{FF2B5EF4-FFF2-40B4-BE49-F238E27FC236}">
                        <a16:creationId xmlns:a16="http://schemas.microsoft.com/office/drawing/2014/main" id="{E7E1F636-4CBF-BD41-A402-F2C8B1B28CC8}"/>
                      </a:ext>
                    </a:extLst>
                  </p:cNvPr>
                  <p:cNvSpPr/>
                  <p:nvPr/>
                </p:nvSpPr>
                <p:spPr>
                  <a:xfrm>
                    <a:off x="7309272" y="1143752"/>
                    <a:ext cx="3679200" cy="3564000"/>
                  </a:xfrm>
                  <a:prstGeom prst="donut">
                    <a:avLst>
                      <a:gd name="adj" fmla="val 2148"/>
                    </a:avLst>
                  </a:prstGeom>
                  <a:solidFill>
                    <a:srgbClr val="6CB690">
                      <a:lumMod val="75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72A31"/>
                      </a:solidFill>
                      <a:effectLst/>
                      <a:uLnTx/>
                      <a:uFillTx/>
                      <a:latin typeface="Avenir Next LT Pro"/>
                      <a:ea typeface="+mn-ea"/>
                      <a:cs typeface="+mn-cs"/>
                    </a:endParaRPr>
                  </a:p>
                </p:txBody>
              </p:sp>
            </p:grpSp>
            <p:sp>
              <p:nvSpPr>
                <p:cNvPr id="207" name="Circle: Hollow 206">
                  <a:extLst>
                    <a:ext uri="{FF2B5EF4-FFF2-40B4-BE49-F238E27FC236}">
                      <a16:creationId xmlns:a16="http://schemas.microsoft.com/office/drawing/2014/main" id="{14104126-3D10-6D1F-DF6C-983922CC4FAA}"/>
                    </a:ext>
                  </a:extLst>
                </p:cNvPr>
                <p:cNvSpPr/>
                <p:nvPr/>
              </p:nvSpPr>
              <p:spPr>
                <a:xfrm>
                  <a:off x="7377952" y="1211448"/>
                  <a:ext cx="3535200" cy="3420000"/>
                </a:xfrm>
                <a:prstGeom prst="donut">
                  <a:avLst>
                    <a:gd name="adj" fmla="val 2148"/>
                  </a:avLst>
                </a:prstGeom>
                <a:solidFill>
                  <a:srgbClr val="6CB690">
                    <a:lumMod val="40000"/>
                    <a:lumOff val="60000"/>
                  </a:srgbClr>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72A31"/>
                    </a:solidFill>
                    <a:effectLst/>
                    <a:uLnTx/>
                    <a:uFillTx/>
                    <a:latin typeface="Avenir Next LT Pro"/>
                    <a:ea typeface="+mn-ea"/>
                    <a:cs typeface="+mn-cs"/>
                  </a:endParaRPr>
                </a:p>
              </p:txBody>
            </p:sp>
          </p:grpSp>
        </p:grpSp>
        <p:sp>
          <p:nvSpPr>
            <p:cNvPr id="198" name="Isosceles Triangle 197">
              <a:extLst>
                <a:ext uri="{FF2B5EF4-FFF2-40B4-BE49-F238E27FC236}">
                  <a16:creationId xmlns:a16="http://schemas.microsoft.com/office/drawing/2014/main" id="{6278921B-78BB-6DC9-5C0D-1099580953F5}"/>
                </a:ext>
              </a:extLst>
            </p:cNvPr>
            <p:cNvSpPr/>
            <p:nvPr/>
          </p:nvSpPr>
          <p:spPr>
            <a:xfrm rot="6973123">
              <a:off x="4462139" y="3611619"/>
              <a:ext cx="144860" cy="61867"/>
            </a:xfrm>
            <a:prstGeom prst="triangle">
              <a:avLst>
                <a:gd name="adj" fmla="val 50000"/>
              </a:avLst>
            </a:prstGeom>
            <a:solidFill>
              <a:schemeClr val="bg1"/>
            </a:solidFill>
            <a:ln w="10795" cap="flat" cmpd="sng" algn="ctr">
              <a:noFill/>
              <a:prstDash val="solid"/>
            </a:ln>
            <a:effectLst>
              <a:outerShdw blurRad="63500" sx="102000" sy="102000" algn="ctr" rotWithShape="0">
                <a:prstClr val="black">
                  <a:alpha val="40000"/>
                </a:prstClr>
              </a:outerShdw>
            </a:effectLst>
          </p:spPr>
          <p:txBody>
            <a:bodyPr rtlCol="0" anchor="ctr"/>
            <a:lstStyle/>
            <a:p>
              <a:pPr algn="ctr"/>
              <a:endParaRPr lang="en-GB" sz="1000" kern="0">
                <a:solidFill>
                  <a:srgbClr val="FFFFFF"/>
                </a:solidFill>
                <a:latin typeface="Avenir Next LT Pro"/>
              </a:endParaRPr>
            </a:p>
          </p:txBody>
        </p:sp>
        <p:grpSp>
          <p:nvGrpSpPr>
            <p:cNvPr id="199" name="Group 198">
              <a:extLst>
                <a:ext uri="{FF2B5EF4-FFF2-40B4-BE49-F238E27FC236}">
                  <a16:creationId xmlns:a16="http://schemas.microsoft.com/office/drawing/2014/main" id="{0E2D297C-F3AB-5D75-FAC8-B0F8CD096F99}"/>
                </a:ext>
              </a:extLst>
            </p:cNvPr>
            <p:cNvGrpSpPr/>
            <p:nvPr/>
          </p:nvGrpSpPr>
          <p:grpSpPr>
            <a:xfrm>
              <a:off x="3680066" y="3760099"/>
              <a:ext cx="1006847" cy="649848"/>
              <a:chOff x="3680066" y="3760099"/>
              <a:chExt cx="1006847" cy="649848"/>
            </a:xfrm>
          </p:grpSpPr>
          <p:pic>
            <p:nvPicPr>
              <p:cNvPr id="202" name="Picture 201">
                <a:extLst>
                  <a:ext uri="{FF2B5EF4-FFF2-40B4-BE49-F238E27FC236}">
                    <a16:creationId xmlns:a16="http://schemas.microsoft.com/office/drawing/2014/main" id="{A6CDDCC4-D629-F0E0-DE2B-B62B0D1C2EF1}"/>
                  </a:ext>
                </a:extLst>
              </p:cNvPr>
              <p:cNvPicPr>
                <a:picLocks noChangeAspect="1"/>
              </p:cNvPicPr>
              <p:nvPr/>
            </p:nvPicPr>
            <p:blipFill>
              <a:blip r:embed="rId7"/>
              <a:stretch>
                <a:fillRect/>
              </a:stretch>
            </p:blipFill>
            <p:spPr>
              <a:xfrm>
                <a:off x="3680066" y="3793904"/>
                <a:ext cx="1006847" cy="551646"/>
              </a:xfrm>
              <a:prstGeom prst="rect">
                <a:avLst/>
              </a:prstGeom>
            </p:spPr>
          </p:pic>
          <p:pic>
            <p:nvPicPr>
              <p:cNvPr id="203" name="Picture 202">
                <a:extLst>
                  <a:ext uri="{FF2B5EF4-FFF2-40B4-BE49-F238E27FC236}">
                    <a16:creationId xmlns:a16="http://schemas.microsoft.com/office/drawing/2014/main" id="{650665E3-370A-686D-543C-F7A534335BA8}"/>
                  </a:ext>
                </a:extLst>
              </p:cNvPr>
              <p:cNvPicPr>
                <a:picLocks noChangeAspect="1"/>
              </p:cNvPicPr>
              <p:nvPr/>
            </p:nvPicPr>
            <p:blipFill>
              <a:blip r:embed="rId11"/>
              <a:stretch>
                <a:fillRect/>
              </a:stretch>
            </p:blipFill>
            <p:spPr>
              <a:xfrm>
                <a:off x="3830956" y="3760099"/>
                <a:ext cx="649848" cy="649848"/>
              </a:xfrm>
              <a:prstGeom prst="rect">
                <a:avLst/>
              </a:prstGeom>
            </p:spPr>
          </p:pic>
        </p:grpSp>
        <p:sp>
          <p:nvSpPr>
            <p:cNvPr id="200" name="Isosceles Triangle 199">
              <a:extLst>
                <a:ext uri="{FF2B5EF4-FFF2-40B4-BE49-F238E27FC236}">
                  <a16:creationId xmlns:a16="http://schemas.microsoft.com/office/drawing/2014/main" id="{8739397E-5AB7-367B-35A3-A4D6A39ADB41}"/>
                </a:ext>
              </a:extLst>
            </p:cNvPr>
            <p:cNvSpPr/>
            <p:nvPr/>
          </p:nvSpPr>
          <p:spPr>
            <a:xfrm rot="16200000">
              <a:off x="4080384" y="4621403"/>
              <a:ext cx="147758" cy="58452"/>
            </a:xfrm>
            <a:prstGeom prst="triangle">
              <a:avLst>
                <a:gd name="adj" fmla="val 50000"/>
              </a:avLst>
            </a:prstGeom>
            <a:solidFill>
              <a:schemeClr val="bg1"/>
            </a:solidFill>
            <a:ln w="10795" cap="flat" cmpd="sng" algn="ctr">
              <a:noFill/>
              <a:prstDash val="solid"/>
            </a:ln>
            <a:effectLst>
              <a:outerShdw blurRad="63500" sx="102000" sy="102000" algn="ctr" rotWithShape="0">
                <a:prstClr val="black">
                  <a:alpha val="40000"/>
                </a:prstClr>
              </a:outerShdw>
            </a:effectLst>
          </p:spPr>
          <p:txBody>
            <a:bodyPr rtlCol="0" anchor="ctr"/>
            <a:lstStyle/>
            <a:p>
              <a:pPr algn="ctr"/>
              <a:endParaRPr lang="en-GB" sz="1000" kern="0">
                <a:solidFill>
                  <a:srgbClr val="FFFFFF"/>
                </a:solidFill>
                <a:latin typeface="Avenir Next LT Pro"/>
              </a:endParaRPr>
            </a:p>
          </p:txBody>
        </p:sp>
        <p:sp>
          <p:nvSpPr>
            <p:cNvPr id="201" name="Isosceles Triangle 200">
              <a:extLst>
                <a:ext uri="{FF2B5EF4-FFF2-40B4-BE49-F238E27FC236}">
                  <a16:creationId xmlns:a16="http://schemas.microsoft.com/office/drawing/2014/main" id="{67533954-7CED-BD3F-99B7-509107361AB3}"/>
                </a:ext>
              </a:extLst>
            </p:cNvPr>
            <p:cNvSpPr/>
            <p:nvPr/>
          </p:nvSpPr>
          <p:spPr>
            <a:xfrm rot="2501332">
              <a:off x="3638626" y="3687628"/>
              <a:ext cx="147758" cy="58452"/>
            </a:xfrm>
            <a:prstGeom prst="triangle">
              <a:avLst>
                <a:gd name="adj" fmla="val 50000"/>
              </a:avLst>
            </a:prstGeom>
            <a:solidFill>
              <a:schemeClr val="bg1"/>
            </a:solidFill>
            <a:ln w="10795" cap="flat" cmpd="sng" algn="ctr">
              <a:noFill/>
              <a:prstDash val="solid"/>
            </a:ln>
            <a:effectLst>
              <a:outerShdw blurRad="63500" sx="102000" sy="102000" algn="ctr" rotWithShape="0">
                <a:prstClr val="black">
                  <a:alpha val="40000"/>
                </a:prstClr>
              </a:outerShdw>
            </a:effectLst>
          </p:spPr>
          <p:txBody>
            <a:bodyPr rtlCol="0" anchor="ctr"/>
            <a:lstStyle/>
            <a:p>
              <a:pPr algn="ctr"/>
              <a:endParaRPr lang="en-GB" sz="1000" kern="0">
                <a:solidFill>
                  <a:srgbClr val="FFFFFF"/>
                </a:solidFill>
                <a:latin typeface="Avenir Next LT Pro"/>
              </a:endParaRPr>
            </a:p>
          </p:txBody>
        </p:sp>
      </p:grpSp>
      <p:sp>
        <p:nvSpPr>
          <p:cNvPr id="210" name="TextBox 209">
            <a:extLst>
              <a:ext uri="{FF2B5EF4-FFF2-40B4-BE49-F238E27FC236}">
                <a16:creationId xmlns:a16="http://schemas.microsoft.com/office/drawing/2014/main" id="{F4BEFB1E-9BCA-C0F5-1ADF-34E39439582C}"/>
              </a:ext>
            </a:extLst>
          </p:cNvPr>
          <p:cNvSpPr txBox="1"/>
          <p:nvPr/>
        </p:nvSpPr>
        <p:spPr>
          <a:xfrm>
            <a:off x="3194774" y="1685587"/>
            <a:ext cx="907993" cy="184666"/>
          </a:xfrm>
          <a:prstGeom prst="rect">
            <a:avLst/>
          </a:prstGeom>
          <a:noFill/>
        </p:spPr>
        <p:txBody>
          <a:bodyPr wrap="square" lIns="0" tIns="0" rIns="0" bIns="0" rtlCol="0">
            <a:spAutoFit/>
          </a:bodyPr>
          <a:lstStyle>
            <a:defPPr>
              <a:defRPr lang="en-US"/>
            </a:defPPr>
            <a:lvl1pPr marR="0" lvl="0" indent="0" defTabSz="914342" fontAlgn="auto">
              <a:lnSpc>
                <a:spcPct val="100000"/>
              </a:lnSpc>
              <a:spcBef>
                <a:spcPts val="0"/>
              </a:spcBef>
              <a:spcAft>
                <a:spcPts val="0"/>
              </a:spcAft>
              <a:buClrTx/>
              <a:buSzTx/>
              <a:buFont typeface="Arial" panose="020B0604020202020204" pitchFamily="34" charset="0"/>
              <a:buNone/>
              <a:tabLst/>
              <a:defRPr kumimoji="0" sz="1100" b="0" i="0" u="none" strike="noStrike" cap="none" spc="0" normalizeH="0" baseline="0">
                <a:ln>
                  <a:noFill/>
                </a:ln>
                <a:effectLst/>
                <a:uLnTx/>
                <a:uFillTx/>
                <a:latin typeface="Avenir Next LT Pro" panose="020B0504020202020204"/>
                <a:cs typeface="Arial" panose="020B0604020202020204" pitchFamily="34" charset="0"/>
              </a:defRPr>
            </a:lvl1pPr>
          </a:lstStyle>
          <a:p>
            <a:pPr algn="r"/>
            <a:r>
              <a:rPr lang="en-GB" sz="1200" b="1" dirty="0">
                <a:solidFill>
                  <a:srgbClr val="C00000"/>
                </a:solidFill>
              </a:rPr>
              <a:t>Biodiversity</a:t>
            </a:r>
          </a:p>
        </p:txBody>
      </p:sp>
      <p:sp>
        <p:nvSpPr>
          <p:cNvPr id="211" name="Rectangle 210">
            <a:extLst>
              <a:ext uri="{FF2B5EF4-FFF2-40B4-BE49-F238E27FC236}">
                <a16:creationId xmlns:a16="http://schemas.microsoft.com/office/drawing/2014/main" id="{B640F586-D3F0-B40B-9BE3-9D9E34B4E0CE}"/>
              </a:ext>
            </a:extLst>
          </p:cNvPr>
          <p:cNvSpPr>
            <a:spLocks/>
          </p:cNvSpPr>
          <p:nvPr/>
        </p:nvSpPr>
        <p:spPr>
          <a:xfrm>
            <a:off x="4356291" y="2532791"/>
            <a:ext cx="1273470" cy="369332"/>
          </a:xfrm>
          <a:prstGeom prst="rect">
            <a:avLst/>
          </a:prstGeom>
          <a:noFill/>
        </p:spPr>
        <p:txBody>
          <a:bodyPr wrap="square" lIns="0" tIns="0" rIns="0" bIns="0" rtlCol="0">
            <a:spAutoFit/>
          </a:bodyPr>
          <a:lstStyle/>
          <a:p>
            <a:pPr algn="ctr" defTabSz="914342"/>
            <a:r>
              <a:rPr lang="en-GB" sz="1200" b="1" dirty="0">
                <a:solidFill>
                  <a:srgbClr val="C00000"/>
                </a:solidFill>
                <a:latin typeface="Avenir Next LT Pro" panose="020B0504020202020204"/>
                <a:cs typeface="Arial" panose="020B0604020202020204" pitchFamily="34" charset="0"/>
              </a:rPr>
              <a:t>Science-based</a:t>
            </a:r>
          </a:p>
          <a:p>
            <a:pPr algn="ctr" defTabSz="914342"/>
            <a:r>
              <a:rPr lang="en-GB" sz="1200" b="1" dirty="0">
                <a:solidFill>
                  <a:srgbClr val="C00000"/>
                </a:solidFill>
                <a:latin typeface="Avenir Next LT Pro" panose="020B0504020202020204"/>
                <a:cs typeface="Arial" panose="020B0604020202020204" pitchFamily="34" charset="0"/>
              </a:rPr>
              <a:t>Principles</a:t>
            </a:r>
          </a:p>
        </p:txBody>
      </p:sp>
      <p:sp>
        <p:nvSpPr>
          <p:cNvPr id="213" name="Rectangle 212">
            <a:extLst>
              <a:ext uri="{FF2B5EF4-FFF2-40B4-BE49-F238E27FC236}">
                <a16:creationId xmlns:a16="http://schemas.microsoft.com/office/drawing/2014/main" id="{E7B81FB5-C29B-ABDA-7E14-F8A413ED9427}"/>
              </a:ext>
            </a:extLst>
          </p:cNvPr>
          <p:cNvSpPr>
            <a:spLocks/>
          </p:cNvSpPr>
          <p:nvPr/>
        </p:nvSpPr>
        <p:spPr>
          <a:xfrm>
            <a:off x="1764750" y="3023453"/>
            <a:ext cx="1490793" cy="369332"/>
          </a:xfrm>
          <a:prstGeom prst="rect">
            <a:avLst/>
          </a:prstGeom>
          <a:noFill/>
        </p:spPr>
        <p:txBody>
          <a:bodyPr wrap="none" lIns="0" tIns="0" rIns="0" bIns="0" rtlCol="0">
            <a:spAutoFit/>
          </a:bodyPr>
          <a:lstStyle/>
          <a:p>
            <a:pPr algn="r" defTabSz="914342"/>
            <a:r>
              <a:rPr lang="en-GB" sz="1200" b="1" dirty="0">
                <a:solidFill>
                  <a:schemeClr val="tx1"/>
                </a:solidFill>
                <a:latin typeface="Avenir Next LT Pro" panose="020B0504020202020204"/>
                <a:cs typeface="Arial" panose="020B0604020202020204" pitchFamily="34" charset="0"/>
              </a:rPr>
              <a:t>Third-sectors </a:t>
            </a:r>
          </a:p>
          <a:p>
            <a:pPr algn="r" defTabSz="914342"/>
            <a:r>
              <a:rPr lang="en-GB" sz="1200" b="1" dirty="0">
                <a:solidFill>
                  <a:schemeClr val="tx1"/>
                </a:solidFill>
                <a:latin typeface="Avenir Next LT Pro" panose="020B0504020202020204"/>
                <a:cs typeface="Arial" panose="020B0604020202020204" pitchFamily="34" charset="0"/>
              </a:rPr>
              <a:t>and final consumers</a:t>
            </a:r>
          </a:p>
        </p:txBody>
      </p:sp>
      <p:sp>
        <p:nvSpPr>
          <p:cNvPr id="2" name="TextBox 1">
            <a:extLst>
              <a:ext uri="{FF2B5EF4-FFF2-40B4-BE49-F238E27FC236}">
                <a16:creationId xmlns:a16="http://schemas.microsoft.com/office/drawing/2014/main" id="{8C2BAA77-E8FF-E338-5DB6-2A88D60D49D1}"/>
              </a:ext>
            </a:extLst>
          </p:cNvPr>
          <p:cNvSpPr txBox="1"/>
          <p:nvPr/>
        </p:nvSpPr>
        <p:spPr>
          <a:xfrm>
            <a:off x="535517" y="6042437"/>
            <a:ext cx="2063015" cy="215444"/>
          </a:xfrm>
          <a:prstGeom prst="rect">
            <a:avLst/>
          </a:prstGeom>
          <a:noFill/>
        </p:spPr>
        <p:txBody>
          <a:bodyPr wrap="square" lIns="0" tIns="0" rIns="0" bIns="0" rtlCol="0">
            <a:spAutoFit/>
          </a:bodyPr>
          <a:lstStyle/>
          <a:p>
            <a:pPr algn="l"/>
            <a:r>
              <a:rPr lang="en-GB" sz="1400" b="1" dirty="0"/>
              <a:t>Ecosystem services</a:t>
            </a:r>
          </a:p>
        </p:txBody>
      </p:sp>
      <p:sp>
        <p:nvSpPr>
          <p:cNvPr id="3" name="TextBox 2">
            <a:extLst>
              <a:ext uri="{FF2B5EF4-FFF2-40B4-BE49-F238E27FC236}">
                <a16:creationId xmlns:a16="http://schemas.microsoft.com/office/drawing/2014/main" id="{F23286D4-B619-18E7-AE9B-9D5BA5298A89}"/>
              </a:ext>
            </a:extLst>
          </p:cNvPr>
          <p:cNvSpPr txBox="1"/>
          <p:nvPr/>
        </p:nvSpPr>
        <p:spPr>
          <a:xfrm>
            <a:off x="8437862" y="3085913"/>
            <a:ext cx="1141146" cy="184666"/>
          </a:xfrm>
          <a:prstGeom prst="rect">
            <a:avLst/>
          </a:prstGeom>
          <a:noFill/>
        </p:spPr>
        <p:txBody>
          <a:bodyPr wrap="none" lIns="0" tIns="0" rIns="0" bIns="0" rtlCol="0">
            <a:spAutoFit/>
          </a:bodyPr>
          <a:lstStyle>
            <a:defPPr>
              <a:defRPr lang="en-US"/>
            </a:defPPr>
            <a:lvl1pPr marR="0" lvl="0" indent="0" defTabSz="914342" fontAlgn="auto">
              <a:lnSpc>
                <a:spcPct val="100000"/>
              </a:lnSpc>
              <a:spcBef>
                <a:spcPts val="0"/>
              </a:spcBef>
              <a:spcAft>
                <a:spcPts val="0"/>
              </a:spcAft>
              <a:buClrTx/>
              <a:buSzTx/>
              <a:buFont typeface="Arial" panose="020B0604020202020204" pitchFamily="34" charset="0"/>
              <a:buNone/>
              <a:tabLst/>
              <a:defRPr kumimoji="0" sz="1000" b="1" i="0" u="none" strike="noStrike" cap="none" spc="0" normalizeH="0" baseline="0">
                <a:ln>
                  <a:noFill/>
                </a:ln>
                <a:effectLst/>
                <a:uLnTx/>
                <a:uFillTx/>
                <a:latin typeface="Avenir Next LT Pro" panose="020B0504020202020204"/>
                <a:cs typeface="Arial" panose="020B0604020202020204" pitchFamily="34" charset="0"/>
              </a:defRPr>
            </a:lvl1pPr>
          </a:lstStyle>
          <a:p>
            <a:r>
              <a:rPr lang="en-GB" sz="1200" dirty="0"/>
              <a:t>Primary sectors</a:t>
            </a:r>
          </a:p>
        </p:txBody>
      </p:sp>
      <p:sp>
        <p:nvSpPr>
          <p:cNvPr id="4" name="Rectangle 3">
            <a:extLst>
              <a:ext uri="{FF2B5EF4-FFF2-40B4-BE49-F238E27FC236}">
                <a16:creationId xmlns:a16="http://schemas.microsoft.com/office/drawing/2014/main" id="{59287A48-F4BC-03FB-FEC5-EDFBD5A24B79}"/>
              </a:ext>
            </a:extLst>
          </p:cNvPr>
          <p:cNvSpPr>
            <a:spLocks/>
          </p:cNvSpPr>
          <p:nvPr/>
        </p:nvSpPr>
        <p:spPr>
          <a:xfrm>
            <a:off x="5967117" y="2500111"/>
            <a:ext cx="1520222" cy="369332"/>
          </a:xfrm>
          <a:prstGeom prst="rect">
            <a:avLst/>
          </a:prstGeom>
          <a:noFill/>
        </p:spPr>
        <p:txBody>
          <a:bodyPr wrap="square" lIns="0" tIns="0" rIns="0" bIns="0" rtlCol="0">
            <a:spAutoFit/>
          </a:bodyPr>
          <a:lstStyle/>
          <a:p>
            <a:pPr algn="ctr" defTabSz="914342"/>
            <a:r>
              <a:rPr lang="en-GB" sz="1200" b="1" dirty="0">
                <a:solidFill>
                  <a:srgbClr val="C00000"/>
                </a:solidFill>
                <a:latin typeface="Avenir Next LT Pro" panose="020B0504020202020204"/>
                <a:cs typeface="Arial" panose="020B0604020202020204" pitchFamily="34" charset="0"/>
              </a:rPr>
              <a:t>Equitable “</a:t>
            </a:r>
            <a:r>
              <a:rPr lang="en-GB" sz="1200" b="1" dirty="0" err="1">
                <a:solidFill>
                  <a:srgbClr val="C00000"/>
                </a:solidFill>
                <a:latin typeface="Avenir Next LT Pro" panose="020B0504020202020204"/>
                <a:cs typeface="Arial" panose="020B0604020202020204" pitchFamily="34" charset="0"/>
              </a:rPr>
              <a:t>glocal</a:t>
            </a:r>
            <a:r>
              <a:rPr lang="en-GB" sz="1200" b="1" dirty="0">
                <a:solidFill>
                  <a:srgbClr val="C00000"/>
                </a:solidFill>
                <a:latin typeface="Avenir Next LT Pro" panose="020B0504020202020204"/>
                <a:cs typeface="Arial" panose="020B0604020202020204" pitchFamily="34" charset="0"/>
              </a:rPr>
              <a:t>” partnerships</a:t>
            </a:r>
          </a:p>
        </p:txBody>
      </p:sp>
      <p:sp>
        <p:nvSpPr>
          <p:cNvPr id="5" name="Rectangle 4">
            <a:extLst>
              <a:ext uri="{FF2B5EF4-FFF2-40B4-BE49-F238E27FC236}">
                <a16:creationId xmlns:a16="http://schemas.microsoft.com/office/drawing/2014/main" id="{FC2D05DC-CAD4-EC1B-2BED-7FD0E6A791D6}"/>
              </a:ext>
            </a:extLst>
          </p:cNvPr>
          <p:cNvSpPr>
            <a:spLocks/>
          </p:cNvSpPr>
          <p:nvPr/>
        </p:nvSpPr>
        <p:spPr>
          <a:xfrm>
            <a:off x="5188324" y="4059733"/>
            <a:ext cx="1547728" cy="369332"/>
          </a:xfrm>
          <a:prstGeom prst="rect">
            <a:avLst/>
          </a:prstGeom>
          <a:noFill/>
        </p:spPr>
        <p:txBody>
          <a:bodyPr wrap="square" lIns="0" tIns="0" rIns="0" bIns="0" rtlCol="0">
            <a:spAutoFit/>
          </a:bodyPr>
          <a:lstStyle/>
          <a:p>
            <a:pPr algn="ctr" defTabSz="914342"/>
            <a:r>
              <a:rPr lang="en-GB" sz="1200" b="1" dirty="0">
                <a:solidFill>
                  <a:srgbClr val="C00000"/>
                </a:solidFill>
                <a:latin typeface="Avenir Next LT Pro" panose="020B0504020202020204"/>
                <a:cs typeface="Arial" panose="020B0604020202020204" pitchFamily="34" charset="0"/>
              </a:rPr>
              <a:t>Landscape-to-value chain approaches</a:t>
            </a:r>
          </a:p>
        </p:txBody>
      </p:sp>
    </p:spTree>
    <p:extLst>
      <p:ext uri="{BB962C8B-B14F-4D97-AF65-F5344CB8AC3E}">
        <p14:creationId xmlns:p14="http://schemas.microsoft.com/office/powerpoint/2010/main" val="2621280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3B6E9-31FD-C73C-0C97-9B6988ED59E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E243F67-8378-290B-6B99-985CBF396A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think-cell data - do not delete" hidden="1">
                        <a:extLst>
                          <a:ext uri="{FF2B5EF4-FFF2-40B4-BE49-F238E27FC236}">
                            <a16:creationId xmlns:a16="http://schemas.microsoft.com/office/drawing/2014/main" id="{AE243F67-8378-290B-6B99-985CBF396A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0" name="Group 49">
            <a:extLst>
              <a:ext uri="{FF2B5EF4-FFF2-40B4-BE49-F238E27FC236}">
                <a16:creationId xmlns:a16="http://schemas.microsoft.com/office/drawing/2014/main" id="{697FAF3F-1233-52D5-D01B-650E3E4466FE}"/>
              </a:ext>
            </a:extLst>
          </p:cNvPr>
          <p:cNvGrpSpPr/>
          <p:nvPr/>
        </p:nvGrpSpPr>
        <p:grpSpPr>
          <a:xfrm>
            <a:off x="0" y="0"/>
            <a:ext cx="4920342" cy="6858000"/>
            <a:chOff x="0" y="0"/>
            <a:chExt cx="4920342" cy="6858000"/>
          </a:xfrm>
        </p:grpSpPr>
        <p:pic>
          <p:nvPicPr>
            <p:cNvPr id="9" name="Picture 8">
              <a:extLst>
                <a:ext uri="{FF2B5EF4-FFF2-40B4-BE49-F238E27FC236}">
                  <a16:creationId xmlns:a16="http://schemas.microsoft.com/office/drawing/2014/main" id="{D52F2FEF-3711-677A-16D9-F128F46B32D7}"/>
                </a:ext>
              </a:extLst>
            </p:cNvPr>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0" y="0"/>
              <a:ext cx="4920342" cy="6858000"/>
            </a:xfrm>
            <a:prstGeom prst="rect">
              <a:avLst/>
            </a:prstGeom>
          </p:spPr>
        </p:pic>
        <p:sp>
          <p:nvSpPr>
            <p:cNvPr id="10" name="Rectangle 9">
              <a:extLst>
                <a:ext uri="{FF2B5EF4-FFF2-40B4-BE49-F238E27FC236}">
                  <a16:creationId xmlns:a16="http://schemas.microsoft.com/office/drawing/2014/main" id="{621E571E-DA66-562F-0F6D-CF43C2B41DBF}"/>
                </a:ext>
              </a:extLst>
            </p:cNvPr>
            <p:cNvSpPr>
              <a:spLocks/>
            </p:cNvSpPr>
            <p:nvPr/>
          </p:nvSpPr>
          <p:spPr>
            <a:xfrm>
              <a:off x="0" y="0"/>
              <a:ext cx="4920342" cy="6858000"/>
            </a:xfrm>
            <a:prstGeom prst="rect">
              <a:avLst/>
            </a:prstGeom>
            <a:solidFill>
              <a:srgbClr val="031F35">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2700"/>
            </a:p>
          </p:txBody>
        </p:sp>
      </p:grpSp>
      <p:sp>
        <p:nvSpPr>
          <p:cNvPr id="14" name="Title 1">
            <a:extLst>
              <a:ext uri="{FF2B5EF4-FFF2-40B4-BE49-F238E27FC236}">
                <a16:creationId xmlns:a16="http://schemas.microsoft.com/office/drawing/2014/main" id="{41A0430A-0EBF-558D-E637-8D2334D23B8A}"/>
              </a:ext>
            </a:extLst>
          </p:cNvPr>
          <p:cNvSpPr>
            <a:spLocks noGrp="1"/>
          </p:cNvSpPr>
          <p:nvPr>
            <p:ph type="title"/>
          </p:nvPr>
        </p:nvSpPr>
        <p:spPr>
          <a:xfrm>
            <a:off x="179387" y="339846"/>
            <a:ext cx="11831639" cy="387798"/>
          </a:xfrm>
        </p:spPr>
        <p:txBody>
          <a:bodyPr vert="horz" lIns="0" tIns="0" rIns="0" bIns="0" rtlCol="0" anchor="ctr">
            <a:spAutoFit/>
          </a:bodyPr>
          <a:lstStyle/>
          <a:p>
            <a:r>
              <a:rPr lang="en-GB" sz="2800" b="1">
                <a:solidFill>
                  <a:schemeClr val="bg1"/>
                </a:solidFill>
                <a:latin typeface="Avenir Next LT Pro" panose="020B0504020202020204" pitchFamily="34" charset="0"/>
                <a:ea typeface="Tahoma" panose="020B0604030504040204" pitchFamily="34" charset="0"/>
                <a:cs typeface="Tahoma" panose="020B0604030504040204" pitchFamily="34" charset="0"/>
              </a:rPr>
              <a:t>Agenda</a:t>
            </a:r>
          </a:p>
        </p:txBody>
      </p:sp>
      <p:sp>
        <p:nvSpPr>
          <p:cNvPr id="6" name="Slide Number Placeholder 4">
            <a:extLst>
              <a:ext uri="{FF2B5EF4-FFF2-40B4-BE49-F238E27FC236}">
                <a16:creationId xmlns:a16="http://schemas.microsoft.com/office/drawing/2014/main" id="{1B7EEC2A-5858-F687-20D7-ACA58010F04B}"/>
              </a:ext>
            </a:extLst>
          </p:cNvPr>
          <p:cNvSpPr>
            <a:spLocks noGrp="1"/>
          </p:cNvSpPr>
          <p:nvPr>
            <p:ph type="sldNum" sz="quarter" idx="12"/>
          </p:nvPr>
        </p:nvSpPr>
        <p:spPr/>
        <p:txBody>
          <a:bodyPr/>
          <a:lstStyle/>
          <a:p>
            <a:fld id="{ABB6D191-819E-455F-BC39-F2381519C0C1}" type="slidenum">
              <a:rPr lang="en-GB" smtClean="0">
                <a:solidFill>
                  <a:schemeClr val="bg1"/>
                </a:solidFill>
              </a:rPr>
              <a:pPr/>
              <a:t>12</a:t>
            </a:fld>
            <a:endParaRPr lang="en-GB">
              <a:solidFill>
                <a:schemeClr val="bg1"/>
              </a:solidFill>
            </a:endParaRPr>
          </a:p>
        </p:txBody>
      </p:sp>
      <p:sp>
        <p:nvSpPr>
          <p:cNvPr id="29" name="Freeform: Shape 28">
            <a:extLst>
              <a:ext uri="{FF2B5EF4-FFF2-40B4-BE49-F238E27FC236}">
                <a16:creationId xmlns:a16="http://schemas.microsoft.com/office/drawing/2014/main" id="{A22D8871-0652-5C3F-E022-A2D90C723CFE}"/>
              </a:ext>
            </a:extLst>
          </p:cNvPr>
          <p:cNvSpPr>
            <a:spLocks/>
          </p:cNvSpPr>
          <p:nvPr/>
        </p:nvSpPr>
        <p:spPr>
          <a:xfrm>
            <a:off x="4920343" y="1140589"/>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altLang="ko-KR" sz="1200" b="1">
              <a:solidFill>
                <a:schemeClr val="bg1"/>
              </a:solidFill>
              <a:latin typeface="Helvetica" panose="020B0604020202020204" pitchFamily="34" charset="0"/>
              <a:cs typeface="Calibri" panose="020F0502020204030204" pitchFamily="34" charset="0"/>
            </a:endParaRPr>
          </a:p>
        </p:txBody>
      </p:sp>
      <p:sp>
        <p:nvSpPr>
          <p:cNvPr id="30" name="Freeform: Shape 29">
            <a:extLst>
              <a:ext uri="{FF2B5EF4-FFF2-40B4-BE49-F238E27FC236}">
                <a16:creationId xmlns:a16="http://schemas.microsoft.com/office/drawing/2014/main" id="{3CD91CCE-D218-2D8F-555B-A3C0FCFA1F62}"/>
              </a:ext>
            </a:extLst>
          </p:cNvPr>
          <p:cNvSpPr>
            <a:spLocks/>
          </p:cNvSpPr>
          <p:nvPr/>
        </p:nvSpPr>
        <p:spPr>
          <a:xfrm>
            <a:off x="4920343" y="2850468"/>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rgbClr val="227C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solidFill>
                <a:schemeClr val="tx1"/>
              </a:solidFill>
            </a:endParaRPr>
          </a:p>
        </p:txBody>
      </p:sp>
      <p:sp>
        <p:nvSpPr>
          <p:cNvPr id="31" name="Freeform: Shape 30">
            <a:extLst>
              <a:ext uri="{FF2B5EF4-FFF2-40B4-BE49-F238E27FC236}">
                <a16:creationId xmlns:a16="http://schemas.microsoft.com/office/drawing/2014/main" id="{119CCE3C-23D4-6FFA-BBC5-21E257B476C8}"/>
              </a:ext>
            </a:extLst>
          </p:cNvPr>
          <p:cNvSpPr>
            <a:spLocks/>
          </p:cNvSpPr>
          <p:nvPr/>
        </p:nvSpPr>
        <p:spPr>
          <a:xfrm>
            <a:off x="4920343" y="4560346"/>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altLang="ko-KR" sz="1200" b="1">
              <a:solidFill>
                <a:schemeClr val="bg1"/>
              </a:solidFill>
              <a:latin typeface="Helvetica" panose="020B060402020202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0D130849-5827-5420-B070-B5774DBFB05A}"/>
              </a:ext>
            </a:extLst>
          </p:cNvPr>
          <p:cNvSpPr txBox="1">
            <a:spLocks/>
          </p:cNvSpPr>
          <p:nvPr/>
        </p:nvSpPr>
        <p:spPr>
          <a:xfrm>
            <a:off x="5358260" y="3372218"/>
            <a:ext cx="5061140" cy="307777"/>
          </a:xfrm>
          <a:prstGeom prst="rect">
            <a:avLst/>
          </a:prstGeom>
          <a:noFill/>
        </p:spPr>
        <p:txBody>
          <a:bodyPr wrap="square" lIns="0" tIns="0" rIns="0" bIns="0" rtlCol="0" anchor="ctr">
            <a:spAutoFit/>
          </a:bodyPr>
          <a:lstStyle>
            <a:defPPr>
              <a:defRPr lang="en-US"/>
            </a:defPPr>
            <a:lvl1pPr>
              <a:defRPr sz="2000" b="1">
                <a:solidFill>
                  <a:schemeClr val="bg1"/>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latin typeface="Avenir Next LT Pro" panose="020B0504020202020204" pitchFamily="34" charset="0"/>
              </a:rPr>
              <a:t>Approach and activities</a:t>
            </a:r>
          </a:p>
        </p:txBody>
      </p:sp>
      <p:sp>
        <p:nvSpPr>
          <p:cNvPr id="17" name="TextBox 16">
            <a:extLst>
              <a:ext uri="{FF2B5EF4-FFF2-40B4-BE49-F238E27FC236}">
                <a16:creationId xmlns:a16="http://schemas.microsoft.com/office/drawing/2014/main" id="{D295FA11-4EBF-B864-93CA-45F784F18730}"/>
              </a:ext>
            </a:extLst>
          </p:cNvPr>
          <p:cNvSpPr txBox="1">
            <a:spLocks/>
          </p:cNvSpPr>
          <p:nvPr/>
        </p:nvSpPr>
        <p:spPr>
          <a:xfrm>
            <a:off x="5358260" y="1662339"/>
            <a:ext cx="5061140" cy="307777"/>
          </a:xfrm>
          <a:prstGeom prst="rect">
            <a:avLst/>
          </a:prstGeom>
          <a:noFill/>
        </p:spPr>
        <p:txBody>
          <a:bodyPr wrap="square" lIns="0" tIns="0" rIns="0" bIns="0" rtlCol="0" anchor="ctr">
            <a:spAutoFit/>
          </a:bodyPr>
          <a:lstStyle>
            <a:defPPr>
              <a:defRPr lang="en-US"/>
            </a:defPPr>
            <a:lvl1pPr>
              <a:defRPr sz="2000" b="1">
                <a:solidFill>
                  <a:schemeClr val="bg1">
                    <a:lumMod val="75000"/>
                  </a:schemeClr>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latin typeface="Avenir Next LT Pro" panose="020B0504020202020204" pitchFamily="34" charset="0"/>
              </a:rPr>
              <a:t>Vision and background</a:t>
            </a:r>
          </a:p>
        </p:txBody>
      </p:sp>
      <p:sp>
        <p:nvSpPr>
          <p:cNvPr id="2" name="TextBox 1">
            <a:extLst>
              <a:ext uri="{FF2B5EF4-FFF2-40B4-BE49-F238E27FC236}">
                <a16:creationId xmlns:a16="http://schemas.microsoft.com/office/drawing/2014/main" id="{635442E5-B442-1B4B-E84B-0298784831BB}"/>
              </a:ext>
            </a:extLst>
          </p:cNvPr>
          <p:cNvSpPr txBox="1">
            <a:spLocks/>
          </p:cNvSpPr>
          <p:nvPr/>
        </p:nvSpPr>
        <p:spPr>
          <a:xfrm>
            <a:off x="5358260" y="5049809"/>
            <a:ext cx="4735484" cy="307777"/>
          </a:xfrm>
          <a:prstGeom prst="rect">
            <a:avLst/>
          </a:prstGeom>
          <a:noFill/>
        </p:spPr>
        <p:txBody>
          <a:bodyPr wrap="square" lIns="0" tIns="0" rIns="0" bIns="0" rtlCol="0" anchor="ctr">
            <a:spAutoFit/>
          </a:bodyPr>
          <a:lstStyle>
            <a:defPPr>
              <a:defRPr lang="en-US"/>
            </a:defPPr>
            <a:lvl1pPr>
              <a:defRPr sz="1400" b="1">
                <a:solidFill>
                  <a:srgbClr val="031F35"/>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2000" dirty="0">
                <a:solidFill>
                  <a:schemeClr val="bg1">
                    <a:lumMod val="75000"/>
                  </a:schemeClr>
                </a:solidFill>
                <a:latin typeface="Avenir Next LT Pro"/>
                <a:ea typeface="Verdana"/>
              </a:rPr>
              <a:t>Governance</a:t>
            </a:r>
            <a:endParaRPr lang="en-US" dirty="0">
              <a:solidFill>
                <a:schemeClr val="bg1">
                  <a:lumMod val="75000"/>
                </a:schemeClr>
              </a:solidFill>
            </a:endParaRPr>
          </a:p>
        </p:txBody>
      </p:sp>
      <p:sp>
        <p:nvSpPr>
          <p:cNvPr id="19" name="Oval 18">
            <a:extLst>
              <a:ext uri="{FF2B5EF4-FFF2-40B4-BE49-F238E27FC236}">
                <a16:creationId xmlns:a16="http://schemas.microsoft.com/office/drawing/2014/main" id="{BAEC3929-AF2F-2C61-5BA6-1EEA355DAEE5}"/>
              </a:ext>
            </a:extLst>
          </p:cNvPr>
          <p:cNvSpPr>
            <a:spLocks/>
          </p:cNvSpPr>
          <p:nvPr/>
        </p:nvSpPr>
        <p:spPr>
          <a:xfrm>
            <a:off x="4663828" y="3273262"/>
            <a:ext cx="497790" cy="505690"/>
          </a:xfrm>
          <a:prstGeom prst="ellipse">
            <a:avLst/>
          </a:prstGeom>
          <a:solidFill>
            <a:srgbClr val="227C9D"/>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solidFill>
                  <a:schemeClr val="bg1"/>
                </a:solidFill>
                <a:latin typeface="Helvetica" panose="020B0604020202020204" pitchFamily="34" charset="0"/>
                <a:cs typeface="Helvetica" panose="020B0604020202020204" pitchFamily="34" charset="0"/>
              </a:rPr>
              <a:t>2</a:t>
            </a:r>
          </a:p>
        </p:txBody>
      </p:sp>
      <p:sp>
        <p:nvSpPr>
          <p:cNvPr id="13" name="Oval 12">
            <a:extLst>
              <a:ext uri="{FF2B5EF4-FFF2-40B4-BE49-F238E27FC236}">
                <a16:creationId xmlns:a16="http://schemas.microsoft.com/office/drawing/2014/main" id="{9EDD5F72-8254-996B-F46B-E9B3CF6F874D}"/>
              </a:ext>
            </a:extLst>
          </p:cNvPr>
          <p:cNvSpPr>
            <a:spLocks/>
          </p:cNvSpPr>
          <p:nvPr/>
        </p:nvSpPr>
        <p:spPr>
          <a:xfrm>
            <a:off x="4663828" y="1563383"/>
            <a:ext cx="497790" cy="505690"/>
          </a:xfrm>
          <a:prstGeom prst="ellipse">
            <a:avLst/>
          </a:prstGeom>
          <a:solidFill>
            <a:schemeClr val="bg1">
              <a:lumMod val="75000"/>
            </a:schemeClr>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solidFill>
                  <a:schemeClr val="bg1"/>
                </a:solidFill>
                <a:latin typeface="Helvetica" panose="020B0604020202020204" pitchFamily="34" charset="0"/>
                <a:cs typeface="Helvetica" panose="020B0604020202020204" pitchFamily="34" charset="0"/>
              </a:rPr>
              <a:t>1</a:t>
            </a:r>
          </a:p>
        </p:txBody>
      </p:sp>
      <p:sp>
        <p:nvSpPr>
          <p:cNvPr id="3" name="Oval 2">
            <a:extLst>
              <a:ext uri="{FF2B5EF4-FFF2-40B4-BE49-F238E27FC236}">
                <a16:creationId xmlns:a16="http://schemas.microsoft.com/office/drawing/2014/main" id="{BB939D5E-571E-006D-F754-E653C99A4146}"/>
              </a:ext>
            </a:extLst>
          </p:cNvPr>
          <p:cNvSpPr>
            <a:spLocks/>
          </p:cNvSpPr>
          <p:nvPr/>
        </p:nvSpPr>
        <p:spPr>
          <a:xfrm>
            <a:off x="4679068" y="4983140"/>
            <a:ext cx="497790" cy="505690"/>
          </a:xfrm>
          <a:prstGeom prst="ellipse">
            <a:avLst/>
          </a:prstGeom>
          <a:solidFill>
            <a:schemeClr val="bg1">
              <a:lumMod val="75000"/>
            </a:schemeClr>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solidFill>
                  <a:schemeClr val="bg1"/>
                </a:solidFill>
                <a:latin typeface="Helvetica" panose="020B0604020202020204" pitchFamily="34" charset="0"/>
                <a:cs typeface="Helvetica" panose="020B0604020202020204" pitchFamily="34" charset="0"/>
              </a:rPr>
              <a:t>3</a:t>
            </a:r>
            <a:endParaRPr lang="en-GB" sz="2000" b="1">
              <a:ln>
                <a:noFill/>
              </a:ln>
              <a:solidFill>
                <a:schemeClr val="bg1"/>
              </a:solidFill>
              <a:latin typeface="Helvetica" panose="020B0604020202020204" pitchFamily="34" charset="0"/>
              <a:cs typeface="Helvetica" panose="020B0604020202020204" pitchFamily="34" charset="0"/>
            </a:endParaRPr>
          </a:p>
        </p:txBody>
      </p:sp>
      <p:pic>
        <p:nvPicPr>
          <p:cNvPr id="40" name="Graphic 39">
            <a:extLst>
              <a:ext uri="{FF2B5EF4-FFF2-40B4-BE49-F238E27FC236}">
                <a16:creationId xmlns:a16="http://schemas.microsoft.com/office/drawing/2014/main" id="{1700848C-5BFD-B84F-C3EB-3E0088787B56}"/>
              </a:ext>
            </a:extLst>
          </p:cNvPr>
          <p:cNvPicPr>
            <a:picLocks noChangeAspect="1"/>
          </p:cNvPicPr>
          <p:nvPr/>
        </p:nvPicPr>
        <p:blipFill>
          <a:blip r:embed="rId7">
            <a:extLst>
              <a:ext uri="{96DAC541-7B7A-43D3-8B79-37D633B846F1}">
                <asvg:svgBlip xmlns:asvg="http://schemas.microsoft.com/office/drawing/2016/SVG/main" r:embed="rId8"/>
              </a:ext>
            </a:extLst>
          </a:blip>
          <a:srcRect l="47489" b="7081"/>
          <a:stretch>
            <a:fillRect/>
          </a:stretch>
        </p:blipFill>
        <p:spPr>
          <a:xfrm>
            <a:off x="0" y="1229087"/>
            <a:ext cx="3171048" cy="5628913"/>
          </a:xfrm>
          <a:custGeom>
            <a:avLst/>
            <a:gdLst>
              <a:gd name="connsiteX0" fmla="*/ 0 w 3171048"/>
              <a:gd name="connsiteY0" fmla="*/ 0 h 5628913"/>
              <a:gd name="connsiteX1" fmla="*/ 3171048 w 3171048"/>
              <a:gd name="connsiteY1" fmla="*/ 0 h 5628913"/>
              <a:gd name="connsiteX2" fmla="*/ 3171048 w 3171048"/>
              <a:gd name="connsiteY2" fmla="*/ 5628913 h 5628913"/>
              <a:gd name="connsiteX3" fmla="*/ 0 w 3171048"/>
              <a:gd name="connsiteY3" fmla="*/ 5628913 h 5628913"/>
            </a:gdLst>
            <a:ahLst/>
            <a:cxnLst>
              <a:cxn ang="0">
                <a:pos x="connsiteX0" y="connsiteY0"/>
              </a:cxn>
              <a:cxn ang="0">
                <a:pos x="connsiteX1" y="connsiteY1"/>
              </a:cxn>
              <a:cxn ang="0">
                <a:pos x="connsiteX2" y="connsiteY2"/>
              </a:cxn>
              <a:cxn ang="0">
                <a:pos x="connsiteX3" y="connsiteY3"/>
              </a:cxn>
            </a:cxnLst>
            <a:rect l="l" t="t" r="r" b="b"/>
            <a:pathLst>
              <a:path w="3171048" h="5628913">
                <a:moveTo>
                  <a:pt x="0" y="0"/>
                </a:moveTo>
                <a:lnTo>
                  <a:pt x="3171048" y="0"/>
                </a:lnTo>
                <a:lnTo>
                  <a:pt x="3171048" y="5628913"/>
                </a:lnTo>
                <a:lnTo>
                  <a:pt x="0" y="5628913"/>
                </a:lnTo>
                <a:close/>
              </a:path>
            </a:pathLst>
          </a:custGeom>
        </p:spPr>
      </p:pic>
      <p:sp>
        <p:nvSpPr>
          <p:cNvPr id="12" name="Oval 11">
            <a:extLst>
              <a:ext uri="{FF2B5EF4-FFF2-40B4-BE49-F238E27FC236}">
                <a16:creationId xmlns:a16="http://schemas.microsoft.com/office/drawing/2014/main" id="{6E1CCC3B-ACC4-0DA6-0FB0-818F2D1208EF}"/>
              </a:ext>
            </a:extLst>
          </p:cNvPr>
          <p:cNvSpPr>
            <a:spLocks noChangeAspect="1"/>
          </p:cNvSpPr>
          <p:nvPr/>
        </p:nvSpPr>
        <p:spPr>
          <a:xfrm>
            <a:off x="10549539" y="1391959"/>
            <a:ext cx="848537" cy="848536"/>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15" name="Arc 14">
            <a:extLst>
              <a:ext uri="{FF2B5EF4-FFF2-40B4-BE49-F238E27FC236}">
                <a16:creationId xmlns:a16="http://schemas.microsoft.com/office/drawing/2014/main" id="{29C0520E-9AEA-1994-65D3-BC561EA27BAE}"/>
              </a:ext>
            </a:extLst>
          </p:cNvPr>
          <p:cNvSpPr>
            <a:spLocks noChangeAspect="1"/>
          </p:cNvSpPr>
          <p:nvPr/>
        </p:nvSpPr>
        <p:spPr>
          <a:xfrm>
            <a:off x="10549539" y="1392424"/>
            <a:ext cx="847610" cy="847609"/>
          </a:xfrm>
          <a:prstGeom prst="arc">
            <a:avLst/>
          </a:prstGeom>
          <a:noFill/>
          <a:ln w="28575" cap="rnd" cmpd="sng" algn="ctr">
            <a:solidFill>
              <a:srgbClr val="FFC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16" name="Graphic 15">
            <a:extLst>
              <a:ext uri="{FF2B5EF4-FFF2-40B4-BE49-F238E27FC236}">
                <a16:creationId xmlns:a16="http://schemas.microsoft.com/office/drawing/2014/main" id="{EBBC1671-B99D-DE34-A823-7528BB4A66C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89615" y="1532035"/>
            <a:ext cx="568383" cy="568382"/>
          </a:xfrm>
          <a:prstGeom prst="rect">
            <a:avLst/>
          </a:prstGeom>
        </p:spPr>
      </p:pic>
      <p:pic>
        <p:nvPicPr>
          <p:cNvPr id="11" name="Graphic 10">
            <a:extLst>
              <a:ext uri="{FF2B5EF4-FFF2-40B4-BE49-F238E27FC236}">
                <a16:creationId xmlns:a16="http://schemas.microsoft.com/office/drawing/2014/main" id="{490C52C8-578B-A1C0-29BB-128D08953EE4}"/>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10729433" y="1571852"/>
            <a:ext cx="488748" cy="488750"/>
          </a:xfrm>
          <a:prstGeom prst="rect">
            <a:avLst/>
          </a:prstGeom>
        </p:spPr>
      </p:pic>
      <p:sp>
        <p:nvSpPr>
          <p:cNvPr id="22" name="Oval 21">
            <a:extLst>
              <a:ext uri="{FF2B5EF4-FFF2-40B4-BE49-F238E27FC236}">
                <a16:creationId xmlns:a16="http://schemas.microsoft.com/office/drawing/2014/main" id="{D0973DCA-C2DE-6E3D-3936-F368FD19B52B}"/>
              </a:ext>
            </a:extLst>
          </p:cNvPr>
          <p:cNvSpPr>
            <a:spLocks noChangeAspect="1"/>
          </p:cNvSpPr>
          <p:nvPr/>
        </p:nvSpPr>
        <p:spPr>
          <a:xfrm>
            <a:off x="10549539" y="3101838"/>
            <a:ext cx="848537" cy="848536"/>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24" name="Arc 23">
            <a:extLst>
              <a:ext uri="{FF2B5EF4-FFF2-40B4-BE49-F238E27FC236}">
                <a16:creationId xmlns:a16="http://schemas.microsoft.com/office/drawing/2014/main" id="{2ABC9189-7766-C2E1-86C2-D343EEF06342}"/>
              </a:ext>
            </a:extLst>
          </p:cNvPr>
          <p:cNvSpPr>
            <a:spLocks noChangeAspect="1"/>
          </p:cNvSpPr>
          <p:nvPr/>
        </p:nvSpPr>
        <p:spPr>
          <a:xfrm>
            <a:off x="10549539" y="3102303"/>
            <a:ext cx="847610" cy="847609"/>
          </a:xfrm>
          <a:prstGeom prst="arc">
            <a:avLst/>
          </a:prstGeom>
          <a:noFill/>
          <a:ln w="28575" cap="rnd" cmpd="sng" algn="ctr">
            <a:solidFill>
              <a:srgbClr val="FFC000"/>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25" name="Graphic 24">
            <a:extLst>
              <a:ext uri="{FF2B5EF4-FFF2-40B4-BE49-F238E27FC236}">
                <a16:creationId xmlns:a16="http://schemas.microsoft.com/office/drawing/2014/main" id="{D33326A7-C3D8-BF3E-20A7-7EF02355757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89615" y="3241914"/>
            <a:ext cx="568383" cy="568382"/>
          </a:xfrm>
          <a:prstGeom prst="rect">
            <a:avLst/>
          </a:prstGeom>
        </p:spPr>
      </p:pic>
      <p:pic>
        <p:nvPicPr>
          <p:cNvPr id="21" name="Graphic 20">
            <a:extLst>
              <a:ext uri="{FF2B5EF4-FFF2-40B4-BE49-F238E27FC236}">
                <a16:creationId xmlns:a16="http://schemas.microsoft.com/office/drawing/2014/main" id="{5F7AE6C9-33C0-6B67-27BF-FAB9B20EFAEC}"/>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10729433" y="3281731"/>
            <a:ext cx="488748" cy="488750"/>
          </a:xfrm>
          <a:prstGeom prst="rect">
            <a:avLst/>
          </a:prstGeom>
        </p:spPr>
      </p:pic>
      <p:sp>
        <p:nvSpPr>
          <p:cNvPr id="32" name="Oval 31">
            <a:extLst>
              <a:ext uri="{FF2B5EF4-FFF2-40B4-BE49-F238E27FC236}">
                <a16:creationId xmlns:a16="http://schemas.microsoft.com/office/drawing/2014/main" id="{3389570F-D7C8-AE13-4857-6F6B6CB6C247}"/>
              </a:ext>
            </a:extLst>
          </p:cNvPr>
          <p:cNvSpPr>
            <a:spLocks noChangeAspect="1"/>
          </p:cNvSpPr>
          <p:nvPr/>
        </p:nvSpPr>
        <p:spPr>
          <a:xfrm>
            <a:off x="10549539" y="4811716"/>
            <a:ext cx="848537" cy="848536"/>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33" name="Arc 32">
            <a:extLst>
              <a:ext uri="{FF2B5EF4-FFF2-40B4-BE49-F238E27FC236}">
                <a16:creationId xmlns:a16="http://schemas.microsoft.com/office/drawing/2014/main" id="{8DBF4ABA-C73E-73D5-1821-9358C3C1A2B9}"/>
              </a:ext>
            </a:extLst>
          </p:cNvPr>
          <p:cNvSpPr>
            <a:spLocks noChangeAspect="1"/>
          </p:cNvSpPr>
          <p:nvPr/>
        </p:nvSpPr>
        <p:spPr>
          <a:xfrm>
            <a:off x="10549539" y="4812181"/>
            <a:ext cx="847610" cy="847609"/>
          </a:xfrm>
          <a:prstGeom prst="arc">
            <a:avLst/>
          </a:prstGeom>
          <a:noFill/>
          <a:ln w="28575" cap="rnd" cmpd="sng" algn="ctr">
            <a:solidFill>
              <a:srgbClr val="FFC000"/>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34" name="Graphic 33">
            <a:extLst>
              <a:ext uri="{FF2B5EF4-FFF2-40B4-BE49-F238E27FC236}">
                <a16:creationId xmlns:a16="http://schemas.microsoft.com/office/drawing/2014/main" id="{C3F07904-7CDA-CAB7-A74D-E4CAFE5FA3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89615" y="4951792"/>
            <a:ext cx="568383" cy="568382"/>
          </a:xfrm>
          <a:prstGeom prst="rect">
            <a:avLst/>
          </a:prstGeom>
        </p:spPr>
      </p:pic>
      <p:pic>
        <p:nvPicPr>
          <p:cNvPr id="28" name="Graphic 27">
            <a:extLst>
              <a:ext uri="{FF2B5EF4-FFF2-40B4-BE49-F238E27FC236}">
                <a16:creationId xmlns:a16="http://schemas.microsoft.com/office/drawing/2014/main" id="{0269E1F7-CA3C-F9F3-6ED4-F0B2DFBF6982}"/>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10729433" y="4991609"/>
            <a:ext cx="488748" cy="488750"/>
          </a:xfrm>
          <a:prstGeom prst="rect">
            <a:avLst/>
          </a:prstGeom>
        </p:spPr>
      </p:pic>
    </p:spTree>
    <p:extLst>
      <p:ext uri="{BB962C8B-B14F-4D97-AF65-F5344CB8AC3E}">
        <p14:creationId xmlns:p14="http://schemas.microsoft.com/office/powerpoint/2010/main" val="1197150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77C0B7F-CF70-581A-BE45-7014277F6D41}"/>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877C0B7F-CF70-581A-BE45-7014277F6D41}"/>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sp>
        <p:nvSpPr>
          <p:cNvPr id="3" name="Footer Placeholder 2">
            <a:extLst>
              <a:ext uri="{FF2B5EF4-FFF2-40B4-BE49-F238E27FC236}">
                <a16:creationId xmlns:a16="http://schemas.microsoft.com/office/drawing/2014/main" id="{C5C5B678-C655-C0B0-3B4D-739BCE0C8727}"/>
              </a:ext>
            </a:extLst>
          </p:cNvPr>
          <p:cNvSpPr txBox="1">
            <a:spLocks noGrp="1"/>
          </p:cNvSpPr>
          <p:nvPr>
            <p:ph type="ftr" sz="quarter" idx="9"/>
          </p:nvPr>
        </p:nvSpPr>
        <p:spPr>
          <a:xfrm>
            <a:off x="642795" y="6302337"/>
            <a:ext cx="9463189" cy="374693"/>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a:ln>
                  <a:noFill/>
                </a:ln>
                <a:solidFill>
                  <a:srgbClr val="898989"/>
                </a:solidFill>
                <a:effectLst/>
                <a:uLnTx/>
                <a:uFillTx/>
                <a:latin typeface="Avenir Next" pitchFamily="34"/>
                <a:ea typeface="+mn-ea"/>
                <a:cs typeface="+mn-cs"/>
              </a:rPr>
              <a:t>1</a:t>
            </a:r>
            <a:r>
              <a:rPr kumimoji="0" lang="en-GB" sz="1000" b="0" i="0" u="none" strike="noStrike" kern="1200" cap="none" spc="0" normalizeH="0" baseline="0" noProof="0" dirty="0">
                <a:ln>
                  <a:noFill/>
                </a:ln>
                <a:solidFill>
                  <a:srgbClr val="898989"/>
                </a:solidFill>
                <a:effectLst/>
                <a:uLnTx/>
                <a:uFillTx/>
                <a:latin typeface="Avenir Next" pitchFamily="34"/>
                <a:ea typeface="+mn-ea"/>
                <a:cs typeface="+mn-cs"/>
              </a:rPr>
              <a:t> See Principles in Appendix.</a:t>
            </a:r>
          </a:p>
        </p:txBody>
      </p:sp>
      <p:sp>
        <p:nvSpPr>
          <p:cNvPr id="5" name="Content Placeholder 2">
            <a:extLst>
              <a:ext uri="{FF2B5EF4-FFF2-40B4-BE49-F238E27FC236}">
                <a16:creationId xmlns:a16="http://schemas.microsoft.com/office/drawing/2014/main" id="{1CF3C786-282D-DA37-9AB9-82A52E56FEFD}"/>
              </a:ext>
            </a:extLst>
          </p:cNvPr>
          <p:cNvSpPr txBox="1"/>
          <p:nvPr/>
        </p:nvSpPr>
        <p:spPr>
          <a:xfrm>
            <a:off x="179386" y="1366981"/>
            <a:ext cx="11831641" cy="4761673"/>
          </a:xfrm>
          <a:prstGeom prst="rect">
            <a:avLst/>
          </a:prstGeom>
          <a:noFill/>
          <a:ln>
            <a:noFill/>
          </a:ln>
        </p:spPr>
        <p:txBody>
          <a:bodyPr vert="horz" wrap="square" lIns="91440" tIns="45720" rIns="91440" bIns="45720" anchor="ctr" anchorCtr="0" compatLnSpc="1">
            <a:noAutofit/>
          </a:bodyPr>
          <a:lstStyle/>
          <a:p>
            <a:pPr marR="0" lvl="0" algn="l" defTabSz="914400" rtl="0" eaLnBrk="1" fontAlgn="auto" latinLnBrk="0" hangingPunct="1">
              <a:lnSpc>
                <a:spcPct val="107000"/>
              </a:lnSpc>
              <a:spcBef>
                <a:spcPts val="1000"/>
              </a:spcBef>
              <a:spcAft>
                <a:spcPts val="800"/>
              </a:spcAft>
              <a:buClrTx/>
              <a:buSzPct val="100000"/>
              <a:tabLst/>
              <a:defRPr sz="1800" b="0" i="0" u="none" strike="noStrike" kern="0" cap="none" spc="0" baseline="0">
                <a:solidFill>
                  <a:srgbClr val="000000"/>
                </a:solidFill>
                <a:uFillTx/>
              </a:defRPr>
            </a:pPr>
            <a:r>
              <a:rPr kumimoji="0" lang="en-GB" sz="1800" b="1" i="0" u="none" strike="noStrike" kern="1200" cap="none" spc="0" normalizeH="0" baseline="0" noProof="0" dirty="0">
                <a:ln>
                  <a:noFill/>
                </a:ln>
                <a:solidFill>
                  <a:schemeClr val="tx2"/>
                </a:solidFill>
                <a:effectLst/>
                <a:uLnTx/>
                <a:uFillTx/>
                <a:latin typeface="Avenir Next LT Pro"/>
                <a:ea typeface="DengXian"/>
                <a:cs typeface="Helvetica"/>
              </a:rPr>
              <a:t>Activities</a:t>
            </a:r>
          </a:p>
          <a:p>
            <a:pPr marL="179707" marR="0" lvl="0" indent="-179707" algn="l" defTabSz="914400" rtl="0" eaLnBrk="1" fontAlgn="auto" latinLnBrk="0" hangingPunct="1">
              <a:lnSpc>
                <a:spcPct val="107000"/>
              </a:lnSpc>
              <a:spcBef>
                <a:spcPts val="1000"/>
              </a:spcBef>
              <a:spcAft>
                <a:spcPts val="800"/>
              </a:spcAft>
              <a:buClrTx/>
              <a:buSzPct val="100000"/>
              <a:buFont typeface="Wingdings" pitchFamily="2"/>
              <a:buChar char="§"/>
              <a:tabLst/>
              <a:defRPr sz="1800" b="0" i="0" u="none" strike="noStrike" kern="0" cap="none" spc="0" baseline="0">
                <a:solidFill>
                  <a:srgbClr val="000000"/>
                </a:solidFill>
                <a:uFillTx/>
              </a:defRPr>
            </a:pPr>
            <a:r>
              <a:rPr kumimoji="0" lang="en-GB" sz="1800" b="1" i="0" u="none" strike="noStrike" kern="1200" cap="none" spc="0" normalizeH="0" baseline="0" noProof="0" dirty="0">
                <a:ln>
                  <a:noFill/>
                </a:ln>
                <a:solidFill>
                  <a:srgbClr val="E2A21A"/>
                </a:solidFill>
                <a:effectLst/>
                <a:uLnTx/>
                <a:uFillTx/>
                <a:latin typeface="Avenir Next LT Pro"/>
                <a:ea typeface="DengXian"/>
                <a:cs typeface="Helvetica"/>
              </a:rPr>
              <a:t>Activating and demonstrating- </a:t>
            </a:r>
            <a:r>
              <a:rPr kumimoji="0" lang="en-GB" sz="1800" b="1" i="0" u="none" strike="noStrike" kern="1200" cap="none" spc="0" normalizeH="0" baseline="0" noProof="0" dirty="0">
                <a:ln>
                  <a:noFill/>
                </a:ln>
                <a:solidFill>
                  <a:schemeClr val="tx2"/>
                </a:solidFill>
                <a:effectLst/>
                <a:uLnTx/>
                <a:uFillTx/>
                <a:latin typeface="Avenir Next LT Pro"/>
                <a:ea typeface="DengXian"/>
                <a:cs typeface="Helvetica"/>
              </a:rPr>
              <a:t>Living Labs</a:t>
            </a:r>
            <a:br>
              <a:rPr kumimoji="0" lang="en-GB" sz="1800" b="0" i="0" u="none" strike="noStrike" kern="1200" cap="none" spc="0" normalizeH="0" baseline="0" noProof="0" dirty="0">
                <a:ln>
                  <a:noFill/>
                </a:ln>
                <a:solidFill>
                  <a:srgbClr val="000000"/>
                </a:solidFill>
                <a:effectLst/>
                <a:uLnTx/>
                <a:uFillTx/>
                <a:latin typeface="Avenir Next LT Pro" pitchFamily="34"/>
                <a:ea typeface="DengXian" pitchFamily="2"/>
                <a:cs typeface="Helvetica" pitchFamily="34"/>
              </a:rPr>
            </a:br>
            <a:r>
              <a:rPr kumimoji="0" lang="en-US" sz="1800" b="0" i="0" u="none" strike="noStrike" kern="1200" cap="none" spc="0" normalizeH="0" baseline="0" noProof="0" dirty="0">
                <a:ln>
                  <a:noFill/>
                </a:ln>
                <a:solidFill>
                  <a:srgbClr val="102436"/>
                </a:solidFill>
                <a:effectLst/>
                <a:uLnTx/>
                <a:uFillTx/>
                <a:latin typeface="Avenir Next LT Pro"/>
                <a:ea typeface="DengXian"/>
                <a:cs typeface="Helvetica"/>
              </a:rPr>
              <a:t>Blueprints for landscape restoration and circular bioeconomy value chain development, according to the CBA Principles</a:t>
            </a:r>
            <a:r>
              <a:rPr kumimoji="0" lang="en-GB" sz="1800" b="0" i="0" u="none" strike="noStrike" kern="1200" cap="none" spc="0" normalizeH="0" baseline="30000" noProof="0" dirty="0">
                <a:ln>
                  <a:noFill/>
                </a:ln>
                <a:solidFill>
                  <a:srgbClr val="102436"/>
                </a:solidFill>
                <a:effectLst/>
                <a:uLnTx/>
                <a:uFillTx/>
                <a:latin typeface="Avenir Next LT Pro"/>
                <a:ea typeface="DengXian"/>
                <a:cs typeface="Helvetica"/>
              </a:rPr>
              <a:t>1</a:t>
            </a:r>
            <a:endParaRPr kumimoji="0" lang="en-GB" sz="1800" b="0" i="0" u="none" strike="noStrike" kern="1200" cap="none" spc="0" normalizeH="0" baseline="0" noProof="0" dirty="0">
              <a:ln>
                <a:noFill/>
              </a:ln>
              <a:solidFill>
                <a:srgbClr val="000000"/>
              </a:solidFill>
              <a:effectLst/>
              <a:uLnTx/>
              <a:uFillTx/>
              <a:latin typeface="Avenir Next LT Pro" pitchFamily="34"/>
              <a:ea typeface="DengXian" pitchFamily="2"/>
              <a:cs typeface="Helvetica" pitchFamily="34"/>
            </a:endParaRPr>
          </a:p>
          <a:p>
            <a:pPr marL="179707" marR="0" lvl="0" indent="-179707" algn="l" defTabSz="914400" rtl="0" eaLnBrk="1" fontAlgn="auto" latinLnBrk="0" hangingPunct="1">
              <a:lnSpc>
                <a:spcPct val="107000"/>
              </a:lnSpc>
              <a:spcBef>
                <a:spcPts val="1000"/>
              </a:spcBef>
              <a:spcAft>
                <a:spcPts val="800"/>
              </a:spcAft>
              <a:buClrTx/>
              <a:buSzPct val="100000"/>
              <a:buFont typeface="Wingdings" pitchFamily="2"/>
              <a:buChar char="§"/>
              <a:tabLst/>
              <a:defRPr sz="1800" b="0" i="0" u="none" strike="noStrike" kern="0" cap="none" spc="0" baseline="0">
                <a:solidFill>
                  <a:srgbClr val="000000"/>
                </a:solidFill>
                <a:uFillTx/>
              </a:defRPr>
            </a:pPr>
            <a:r>
              <a:rPr kumimoji="0" lang="en-GB" sz="1800" b="1" i="0" u="none" strike="noStrike" kern="1200" cap="none" spc="0" normalizeH="0" baseline="0" noProof="0" dirty="0">
                <a:ln>
                  <a:noFill/>
                </a:ln>
                <a:solidFill>
                  <a:srgbClr val="E2A21A"/>
                </a:solidFill>
                <a:effectLst/>
                <a:uLnTx/>
                <a:uFillTx/>
                <a:latin typeface="Avenir Next LT Pro"/>
                <a:ea typeface="DengXian"/>
                <a:cs typeface="Helvetica"/>
              </a:rPr>
              <a:t>Advancing</a:t>
            </a:r>
            <a:r>
              <a:rPr kumimoji="0" lang="en-GB" sz="1800" b="1" i="0" u="none" strike="noStrike" kern="1200" cap="none" spc="0" normalizeH="0" noProof="0" dirty="0">
                <a:ln>
                  <a:noFill/>
                </a:ln>
                <a:solidFill>
                  <a:srgbClr val="E2A21A"/>
                </a:solidFill>
                <a:effectLst/>
                <a:uLnTx/>
                <a:uFillTx/>
                <a:latin typeface="Avenir Next LT Pro"/>
                <a:ea typeface="DengXian"/>
                <a:cs typeface="Helvetica"/>
              </a:rPr>
              <a:t> and sharing knowledge - </a:t>
            </a:r>
            <a:r>
              <a:rPr kumimoji="0" lang="en-GB" sz="1800" b="1" i="0" u="none" strike="noStrike" kern="1200" cap="none" spc="0" normalizeH="0" baseline="0" noProof="0" dirty="0">
                <a:ln>
                  <a:noFill/>
                </a:ln>
                <a:solidFill>
                  <a:schemeClr val="tx2"/>
                </a:solidFill>
                <a:effectLst/>
                <a:uLnTx/>
                <a:uFillTx/>
                <a:latin typeface="Avenir Next LT Pro"/>
                <a:ea typeface="DengXian"/>
                <a:cs typeface="Helvetica"/>
              </a:rPr>
              <a:t>Grants, Research and Technical Assistance</a:t>
            </a:r>
            <a:br>
              <a:rPr kumimoji="0" lang="en-GB" sz="1800" b="0" i="0" u="none" strike="noStrike" kern="1200" cap="none" spc="0" normalizeH="0" baseline="0" noProof="0" dirty="0">
                <a:ln>
                  <a:noFill/>
                </a:ln>
                <a:solidFill>
                  <a:srgbClr val="000000"/>
                </a:solidFill>
                <a:effectLst/>
                <a:uLnTx/>
                <a:uFillTx/>
                <a:latin typeface="Avenir Next LT Pro" pitchFamily="34"/>
                <a:ea typeface="DengXian" pitchFamily="2"/>
                <a:cs typeface="Helvetica" pitchFamily="34"/>
              </a:rPr>
            </a:br>
            <a:r>
              <a:rPr kumimoji="0" lang="en-GB" sz="1800" b="0" i="0" u="none" strike="noStrike" kern="1200" cap="none" spc="0" normalizeH="0" baseline="0" noProof="0" dirty="0">
                <a:ln>
                  <a:noFill/>
                </a:ln>
                <a:solidFill>
                  <a:srgbClr val="102436"/>
                </a:solidFill>
                <a:effectLst/>
                <a:uLnTx/>
                <a:uFillTx/>
                <a:latin typeface="Avenir Next LT Pro"/>
                <a:ea typeface="DengXian"/>
                <a:cs typeface="Helvetica"/>
              </a:rPr>
              <a:t>Implementing scientific research projects and capacity building and communication programs to support </a:t>
            </a:r>
            <a:r>
              <a:rPr lang="en-GB" dirty="0">
                <a:solidFill>
                  <a:srgbClr val="102436"/>
                </a:solidFill>
                <a:latin typeface="Avenir Next LT Pro"/>
                <a:ea typeface="DengXian"/>
                <a:cs typeface="Helvetica"/>
              </a:rPr>
              <a:t>public and private actors, especially</a:t>
            </a:r>
            <a:r>
              <a:rPr kumimoji="0" lang="en-GB" sz="1800" b="0" i="0" u="none" strike="noStrike" kern="1200" cap="none" spc="0" normalizeH="0" baseline="0" noProof="0" dirty="0">
                <a:ln>
                  <a:noFill/>
                </a:ln>
                <a:solidFill>
                  <a:srgbClr val="102436"/>
                </a:solidFill>
                <a:effectLst/>
                <a:uLnTx/>
                <a:uFillTx/>
                <a:latin typeface="Avenir Next LT Pro"/>
                <a:ea typeface="DengXian"/>
                <a:cs typeface="Helvetica"/>
              </a:rPr>
              <a:t> local communities and indigenous people, </a:t>
            </a:r>
            <a:r>
              <a:rPr kumimoji="0" lang="en-US" sz="1800" b="0" i="0" u="none" strike="noStrike" kern="1200" cap="none" spc="0" normalizeH="0" baseline="0" noProof="0" dirty="0">
                <a:ln>
                  <a:noFill/>
                </a:ln>
                <a:solidFill>
                  <a:srgbClr val="102436"/>
                </a:solidFill>
                <a:effectLst/>
                <a:uLnTx/>
                <a:uFillTx/>
                <a:latin typeface="Avenir Next LT Pro"/>
                <a:ea typeface="DengXian"/>
                <a:cs typeface="Helvetica"/>
              </a:rPr>
              <a:t>while advancing knowledge</a:t>
            </a:r>
            <a:endParaRPr kumimoji="0" lang="en-GB" sz="1800" b="0" i="0" u="none" strike="noStrike" kern="1200" cap="none" spc="0" normalizeH="0" baseline="0" noProof="0" dirty="0">
              <a:ln>
                <a:noFill/>
              </a:ln>
              <a:solidFill>
                <a:srgbClr val="000000"/>
              </a:solidFill>
              <a:effectLst/>
              <a:uLnTx/>
              <a:uFillTx/>
              <a:latin typeface="Avenir Next LT Pro"/>
              <a:ea typeface="DengXian"/>
              <a:cs typeface="Helvetica"/>
            </a:endParaRPr>
          </a:p>
          <a:p>
            <a:pPr marL="179707" lvl="0" indent="-179707">
              <a:lnSpc>
                <a:spcPct val="107000"/>
              </a:lnSpc>
              <a:spcBef>
                <a:spcPts val="1000"/>
              </a:spcBef>
              <a:spcAft>
                <a:spcPts val="800"/>
              </a:spcAft>
              <a:buSzPct val="100000"/>
              <a:buFont typeface="Wingdings" pitchFamily="2"/>
              <a:buChar char="§"/>
              <a:defRPr sz="1800" b="0" i="0" u="none" strike="noStrike" kern="0" cap="none" spc="0" baseline="0">
                <a:solidFill>
                  <a:srgbClr val="000000"/>
                </a:solidFill>
                <a:uFillTx/>
              </a:defRPr>
            </a:pPr>
            <a:r>
              <a:rPr lang="en-GB" b="1" dirty="0">
                <a:solidFill>
                  <a:srgbClr val="E2A21A"/>
                </a:solidFill>
                <a:latin typeface="Avenir Next LT Pro"/>
                <a:ea typeface="DengXian"/>
                <a:cs typeface="Helvetica"/>
              </a:rPr>
              <a:t>Connecting and facilitating -</a:t>
            </a:r>
            <a:r>
              <a:rPr lang="en-GB" b="1" dirty="0">
                <a:solidFill>
                  <a:schemeClr val="tx2"/>
                </a:solidFill>
                <a:latin typeface="Avenir Next LT Pro"/>
                <a:ea typeface="DengXian"/>
                <a:cs typeface="Helvetica"/>
              </a:rPr>
              <a:t>Networks </a:t>
            </a:r>
            <a:r>
              <a:rPr kumimoji="0" lang="en-GB" sz="1800" b="1" i="0" u="none" strike="noStrike" kern="1200" cap="none" spc="0" normalizeH="0" baseline="0" noProof="0" dirty="0">
                <a:ln>
                  <a:noFill/>
                </a:ln>
                <a:solidFill>
                  <a:schemeClr val="tx2"/>
                </a:solidFill>
                <a:effectLst/>
                <a:uLnTx/>
                <a:uFillTx/>
                <a:latin typeface="Avenir Next LT Pro"/>
                <a:ea typeface="DengXian"/>
                <a:cs typeface="Helvetica"/>
              </a:rPr>
              <a:t>&amp; Taskforces </a:t>
            </a:r>
            <a:br>
              <a:rPr kumimoji="0" lang="en-GB" sz="1800" b="0" i="0" u="none" strike="noStrike" kern="1200" cap="none" spc="0" normalizeH="0" baseline="0" noProof="0" dirty="0">
                <a:ln>
                  <a:noFill/>
                </a:ln>
                <a:solidFill>
                  <a:srgbClr val="000000"/>
                </a:solidFill>
                <a:effectLst/>
                <a:uLnTx/>
                <a:uFillTx/>
                <a:latin typeface="Avenir Next LT Pro" pitchFamily="34"/>
                <a:ea typeface="DengXian" pitchFamily="2"/>
                <a:cs typeface="Helvetica" pitchFamily="34"/>
              </a:rPr>
            </a:br>
            <a:r>
              <a:rPr kumimoji="0" lang="en-GB" sz="1800" b="0" i="0" u="none" strike="noStrike" kern="1200" cap="none" spc="0" normalizeH="0" baseline="0" noProof="0" dirty="0">
                <a:ln>
                  <a:noFill/>
                </a:ln>
                <a:solidFill>
                  <a:srgbClr val="102436"/>
                </a:solidFill>
                <a:effectLst/>
                <a:uLnTx/>
                <a:uFillTx/>
                <a:latin typeface="Avenir Next LT Pro"/>
                <a:ea typeface="DengXian"/>
                <a:cs typeface="Helvetica"/>
              </a:rPr>
              <a:t>Designing partnerships, projects and networks connecting relevant stakeholders to advance and scale up action on the ground on specific thematic areas (e.g., Wildfire Resilient Landscapes Network, Fashion, Health, etc)</a:t>
            </a:r>
            <a:endParaRPr kumimoji="0" lang="en-GB" sz="1800" b="0" i="0" u="none" strike="noStrike" kern="1200" cap="none" spc="0" normalizeH="0" baseline="0" noProof="0" dirty="0">
              <a:ln>
                <a:noFill/>
              </a:ln>
              <a:solidFill>
                <a:srgbClr val="000000"/>
              </a:solidFill>
              <a:effectLst/>
              <a:uLnTx/>
              <a:uFillTx/>
              <a:latin typeface="Avenir Next LT Pro"/>
              <a:ea typeface="DengXian"/>
              <a:cs typeface="Helvetica"/>
            </a:endParaRPr>
          </a:p>
        </p:txBody>
      </p:sp>
      <p:sp>
        <p:nvSpPr>
          <p:cNvPr id="7" name="Title 1">
            <a:extLst>
              <a:ext uri="{FF2B5EF4-FFF2-40B4-BE49-F238E27FC236}">
                <a16:creationId xmlns:a16="http://schemas.microsoft.com/office/drawing/2014/main" id="{1048255E-F8A7-9A1B-0DCF-062C2C2221B7}"/>
              </a:ext>
            </a:extLst>
          </p:cNvPr>
          <p:cNvSpPr txBox="1">
            <a:spLocks/>
          </p:cNvSpPr>
          <p:nvPr/>
        </p:nvSpPr>
        <p:spPr>
          <a:xfrm>
            <a:off x="179386" y="345639"/>
            <a:ext cx="11831641" cy="1270723"/>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a:lstStyle>
          <a:p>
            <a:pPr>
              <a:tabLst>
                <a:tab pos="10028233" algn="l"/>
              </a:tabLst>
            </a:pPr>
            <a:r>
              <a:rPr lang="en-GB" sz="3200" b="1" cap="none" dirty="0">
                <a:latin typeface="Avenir Next LT Pro"/>
              </a:rPr>
              <a:t>CBA, </a:t>
            </a:r>
            <a:r>
              <a:rPr lang="en-GB" b="1" cap="none" dirty="0">
                <a:latin typeface="Avenir Next LT Pro"/>
              </a:rPr>
              <a:t>a science-based, action-oriented, partnership-driven alliance to catalyse transformational change</a:t>
            </a:r>
          </a:p>
          <a:p>
            <a:pPr>
              <a:tabLst>
                <a:tab pos="10028233" algn="l"/>
              </a:tabLst>
            </a:pPr>
            <a:endParaRPr lang="en-GB" b="1" cap="none" dirty="0">
              <a:latin typeface="Avenir Next LT Pro"/>
            </a:endParaRPr>
          </a:p>
        </p:txBody>
      </p:sp>
    </p:spTree>
    <p:extLst>
      <p:ext uri="{BB962C8B-B14F-4D97-AF65-F5344CB8AC3E}">
        <p14:creationId xmlns:p14="http://schemas.microsoft.com/office/powerpoint/2010/main" val="165721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
                                            <p:txEl>
                                              <p:pRg st="3" end="3"/>
                                            </p:txEl>
                                          </p:spTgt>
                                        </p:tgtEl>
                                        <p:attrNameLst>
                                          <p:attrName>style.visibility</p:attrName>
                                        </p:attrNameLst>
                                      </p:cBhvr>
                                      <p:to>
                                        <p:strVal val="visible"/>
                                      </p:to>
                                    </p:set>
                                    <p:animEffect transition="in" filter="fade">
                                      <p:cBhvr>
                                        <p:cTn id="20"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B522E6A-6FD7-47A1-8DC7-3DE548947CE3}"/>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8B522E6A-6FD7-47A1-8DC7-3DE548947CE3}"/>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grpSp>
        <p:nvGrpSpPr>
          <p:cNvPr id="6" name="Group 25">
            <a:extLst>
              <a:ext uri="{FF2B5EF4-FFF2-40B4-BE49-F238E27FC236}">
                <a16:creationId xmlns:a16="http://schemas.microsoft.com/office/drawing/2014/main" id="{8103C031-B7E0-541E-A104-FFBB8A1A69E1}"/>
              </a:ext>
            </a:extLst>
          </p:cNvPr>
          <p:cNvGrpSpPr/>
          <p:nvPr/>
        </p:nvGrpSpPr>
        <p:grpSpPr>
          <a:xfrm>
            <a:off x="811904" y="1524899"/>
            <a:ext cx="10568188" cy="3919035"/>
            <a:chOff x="811904" y="1524899"/>
            <a:chExt cx="10568188" cy="3919035"/>
          </a:xfrm>
        </p:grpSpPr>
        <p:cxnSp>
          <p:nvCxnSpPr>
            <p:cNvPr id="7" name="Straight Connector 26">
              <a:extLst>
                <a:ext uri="{FF2B5EF4-FFF2-40B4-BE49-F238E27FC236}">
                  <a16:creationId xmlns:a16="http://schemas.microsoft.com/office/drawing/2014/main" id="{0D8628AC-DDBD-3268-4853-4FC771FA3158}"/>
                </a:ext>
              </a:extLst>
            </p:cNvPr>
            <p:cNvCxnSpPr/>
            <p:nvPr/>
          </p:nvCxnSpPr>
          <p:spPr>
            <a:xfrm>
              <a:off x="7897243" y="1525402"/>
              <a:ext cx="0" cy="3737875"/>
            </a:xfrm>
            <a:prstGeom prst="straightConnector1">
              <a:avLst/>
            </a:prstGeom>
            <a:noFill/>
            <a:ln w="19046" cap="flat">
              <a:solidFill>
                <a:srgbClr val="D9D9D9"/>
              </a:solidFill>
              <a:custDash>
                <a:ds d="800184" sp="100000"/>
              </a:custDash>
              <a:miter/>
            </a:ln>
          </p:spPr>
        </p:cxnSp>
        <p:cxnSp>
          <p:nvCxnSpPr>
            <p:cNvPr id="8" name="Straight Arrow Connector 27">
              <a:extLst>
                <a:ext uri="{FF2B5EF4-FFF2-40B4-BE49-F238E27FC236}">
                  <a16:creationId xmlns:a16="http://schemas.microsoft.com/office/drawing/2014/main" id="{CBCA2F87-C9B3-9040-D188-52A4E1A6434E}"/>
                </a:ext>
              </a:extLst>
            </p:cNvPr>
            <p:cNvCxnSpPr/>
            <p:nvPr/>
          </p:nvCxnSpPr>
          <p:spPr>
            <a:xfrm>
              <a:off x="811904" y="4101541"/>
              <a:ext cx="3205466" cy="0"/>
            </a:xfrm>
            <a:prstGeom prst="straightConnector1">
              <a:avLst/>
            </a:prstGeom>
            <a:noFill/>
            <a:ln w="6345" cap="flat">
              <a:solidFill>
                <a:srgbClr val="CB9317"/>
              </a:solidFill>
              <a:prstDash val="solid"/>
              <a:miter/>
              <a:headEnd type="arrow"/>
              <a:tailEnd type="arrow"/>
            </a:ln>
          </p:spPr>
        </p:cxnSp>
        <p:cxnSp>
          <p:nvCxnSpPr>
            <p:cNvPr id="9" name="Straight Arrow Connector 28">
              <a:extLst>
                <a:ext uri="{FF2B5EF4-FFF2-40B4-BE49-F238E27FC236}">
                  <a16:creationId xmlns:a16="http://schemas.microsoft.com/office/drawing/2014/main" id="{C0E5EA4A-922E-FDA4-2270-614F699A39D1}"/>
                </a:ext>
              </a:extLst>
            </p:cNvPr>
            <p:cNvCxnSpPr/>
            <p:nvPr/>
          </p:nvCxnSpPr>
          <p:spPr>
            <a:xfrm>
              <a:off x="4466981" y="4101541"/>
              <a:ext cx="3205456" cy="0"/>
            </a:xfrm>
            <a:prstGeom prst="straightConnector1">
              <a:avLst/>
            </a:prstGeom>
            <a:noFill/>
            <a:ln w="6345" cap="flat">
              <a:solidFill>
                <a:srgbClr val="CB9317"/>
              </a:solidFill>
              <a:prstDash val="solid"/>
              <a:miter/>
              <a:headEnd type="arrow"/>
              <a:tailEnd type="arrow"/>
            </a:ln>
          </p:spPr>
        </p:cxnSp>
        <p:cxnSp>
          <p:nvCxnSpPr>
            <p:cNvPr id="10" name="Straight Arrow Connector 29">
              <a:extLst>
                <a:ext uri="{FF2B5EF4-FFF2-40B4-BE49-F238E27FC236}">
                  <a16:creationId xmlns:a16="http://schemas.microsoft.com/office/drawing/2014/main" id="{037E92D4-B026-1391-9C3A-ED45ED227E71}"/>
                </a:ext>
              </a:extLst>
            </p:cNvPr>
            <p:cNvCxnSpPr/>
            <p:nvPr/>
          </p:nvCxnSpPr>
          <p:spPr>
            <a:xfrm>
              <a:off x="8122048" y="4101541"/>
              <a:ext cx="3205456" cy="0"/>
            </a:xfrm>
            <a:prstGeom prst="straightConnector1">
              <a:avLst/>
            </a:prstGeom>
            <a:noFill/>
            <a:ln w="6345" cap="flat">
              <a:solidFill>
                <a:srgbClr val="000000"/>
              </a:solidFill>
              <a:prstDash val="solid"/>
              <a:miter/>
              <a:headEnd type="arrow"/>
              <a:tailEnd type="arrow"/>
            </a:ln>
          </p:spPr>
        </p:cxnSp>
        <p:sp>
          <p:nvSpPr>
            <p:cNvPr id="11" name="Arrow: Circular 30">
              <a:extLst>
                <a:ext uri="{FF2B5EF4-FFF2-40B4-BE49-F238E27FC236}">
                  <a16:creationId xmlns:a16="http://schemas.microsoft.com/office/drawing/2014/main" id="{A6DBAE55-B8D6-A209-9AF8-00BFD1E76192}"/>
                </a:ext>
              </a:extLst>
            </p:cNvPr>
            <p:cNvSpPr/>
            <p:nvPr/>
          </p:nvSpPr>
          <p:spPr>
            <a:xfrm rot="663313">
              <a:off x="6766469" y="2772067"/>
              <a:ext cx="1616631" cy="1525895"/>
            </a:xfrm>
            <a:custGeom>
              <a:avLst/>
              <a:gdLst>
                <a:gd name="f0" fmla="val 10800000"/>
                <a:gd name="f1" fmla="val 5400000"/>
                <a:gd name="f2" fmla="val 180"/>
                <a:gd name="f3" fmla="val w"/>
                <a:gd name="f4" fmla="val h"/>
                <a:gd name="f5" fmla="val 0"/>
                <a:gd name="f6" fmla="val 1616636"/>
                <a:gd name="f7" fmla="val 1525894"/>
                <a:gd name="f8" fmla="+- 0 0 2573781"/>
                <a:gd name="f9" fmla="val 551502"/>
                <a:gd name="f10" fmla="val 167500"/>
                <a:gd name="f11" fmla="val 687315"/>
                <a:gd name="f12" fmla="val 641944"/>
                <a:gd name="f13" fmla="val 14800170"/>
                <a:gd name="f14" fmla="val 2870614"/>
                <a:gd name="f15" fmla="val 1154462"/>
                <a:gd name="f16" fmla="val 85209"/>
                <a:gd name="f17" fmla="val 1199045"/>
                <a:gd name="f18" fmla="val 319816"/>
                <a:gd name="f19" fmla="val 902170"/>
                <a:gd name="f20" fmla="val 371339"/>
                <a:gd name="f21" fmla="val 978111"/>
                <a:gd name="f22" fmla="val 285212"/>
                <a:gd name="f23" fmla="val 547848"/>
                <a:gd name="f24" fmla="val 502477"/>
                <a:gd name="f25" fmla="val 17373951"/>
                <a:gd name="f26" fmla="+- 0 0 -246"/>
                <a:gd name="f27" fmla="+- 0 0 -401"/>
                <a:gd name="f28" fmla="+- 0 0 -491"/>
                <a:gd name="f29" fmla="+- 0 0 -581"/>
                <a:gd name="f30" fmla="*/ f3 1 1616636"/>
                <a:gd name="f31" fmla="*/ f4 1 1525894"/>
                <a:gd name="f32" fmla="val f5"/>
                <a:gd name="f33" fmla="val f6"/>
                <a:gd name="f34" fmla="val f7"/>
                <a:gd name="f35" fmla="*/ f26 f0 1"/>
                <a:gd name="f36" fmla="*/ f27 f0 1"/>
                <a:gd name="f37" fmla="*/ f28 f0 1"/>
                <a:gd name="f38" fmla="*/ f29 f0 1"/>
                <a:gd name="f39" fmla="+- f34 0 f32"/>
                <a:gd name="f40" fmla="+- f33 0 f32"/>
                <a:gd name="f41" fmla="*/ f35 1 f2"/>
                <a:gd name="f42" fmla="*/ f36 1 f2"/>
                <a:gd name="f43" fmla="*/ f37 1 f2"/>
                <a:gd name="f44" fmla="*/ f38 1 f2"/>
                <a:gd name="f45" fmla="*/ f40 1 1616636"/>
                <a:gd name="f46" fmla="*/ f39 1 1525894"/>
                <a:gd name="f47" fmla="+- f41 0 f1"/>
                <a:gd name="f48" fmla="+- f42 0 f1"/>
                <a:gd name="f49" fmla="+- f43 0 f1"/>
                <a:gd name="f50" fmla="+- f44 0 f1"/>
                <a:gd name="f51" fmla="*/ 579145 1 f45"/>
                <a:gd name="f52" fmla="*/ 231592 1 f46"/>
                <a:gd name="f53" fmla="*/ 1154462 1 f45"/>
                <a:gd name="f54" fmla="*/ 85209 1 f46"/>
                <a:gd name="f55" fmla="*/ 1199045 1 f45"/>
                <a:gd name="f56" fmla="*/ 319816 1 f46"/>
                <a:gd name="f57" fmla="*/ 902170 1 f45"/>
                <a:gd name="f58" fmla="*/ 371339 1 f46"/>
                <a:gd name="f59" fmla="*/ 322313 1 f45"/>
                <a:gd name="f60" fmla="*/ 1294323 1 f45"/>
                <a:gd name="f61" fmla="*/ 309024 1 f46"/>
                <a:gd name="f62" fmla="*/ 1216870 1 f46"/>
                <a:gd name="f63" fmla="*/ f59 f30 1"/>
                <a:gd name="f64" fmla="*/ f60 f30 1"/>
                <a:gd name="f65" fmla="*/ f62 f31 1"/>
                <a:gd name="f66" fmla="*/ f61 f31 1"/>
                <a:gd name="f67" fmla="*/ f51 f30 1"/>
                <a:gd name="f68" fmla="*/ f52 f31 1"/>
                <a:gd name="f69" fmla="*/ f53 f30 1"/>
                <a:gd name="f70" fmla="*/ f54 f31 1"/>
                <a:gd name="f71" fmla="*/ f55 f30 1"/>
                <a:gd name="f72" fmla="*/ f56 f31 1"/>
                <a:gd name="f73" fmla="*/ f57 f30 1"/>
                <a:gd name="f74" fmla="*/ f58 f31 1"/>
              </a:gdLst>
              <a:ahLst/>
              <a:cxnLst>
                <a:cxn ang="3cd4">
                  <a:pos x="hc" y="t"/>
                </a:cxn>
                <a:cxn ang="0">
                  <a:pos x="r" y="vc"/>
                </a:cxn>
                <a:cxn ang="cd4">
                  <a:pos x="hc" y="b"/>
                </a:cxn>
                <a:cxn ang="cd2">
                  <a:pos x="l" y="vc"/>
                </a:cxn>
                <a:cxn ang="f47">
                  <a:pos x="f67" y="f68"/>
                </a:cxn>
                <a:cxn ang="f48">
                  <a:pos x="f69" y="f70"/>
                </a:cxn>
                <a:cxn ang="f49">
                  <a:pos x="f71" y="f72"/>
                </a:cxn>
                <a:cxn ang="f50">
                  <a:pos x="f73" y="f74"/>
                </a:cxn>
              </a:cxnLst>
              <a:rect l="f63" t="f66" r="f64" b="f65"/>
              <a:pathLst>
                <a:path w="1616636" h="1525894">
                  <a:moveTo>
                    <a:pt x="f9" y="f10"/>
                  </a:moveTo>
                  <a:arcTo wR="f11" hR="f12" stAng="f13" swAng="f14"/>
                  <a:lnTo>
                    <a:pt x="f15" y="f16"/>
                  </a:lnTo>
                  <a:lnTo>
                    <a:pt x="f17" y="f18"/>
                  </a:lnTo>
                  <a:lnTo>
                    <a:pt x="f19" y="f20"/>
                  </a:lnTo>
                  <a:lnTo>
                    <a:pt x="f21" y="f22"/>
                  </a:lnTo>
                  <a:arcTo wR="f23" hR="f24" stAng="f25" swAng="f8"/>
                  <a:close/>
                </a:path>
              </a:pathLst>
            </a:custGeom>
            <a:solidFill>
              <a:srgbClr val="8497B0"/>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600" b="0" i="0" u="none" strike="noStrike" kern="0" cap="none" spc="0" normalizeH="0" baseline="0" noProof="0">
                  <a:ln>
                    <a:noFill/>
                  </a:ln>
                  <a:solidFill>
                    <a:srgbClr val="FFFFFF"/>
                  </a:solidFill>
                  <a:effectLst/>
                  <a:uLnTx/>
                  <a:uFillTx/>
                  <a:latin typeface="Avenir Next" pitchFamily="34"/>
                  <a:ea typeface="+mn-ea"/>
                  <a:cs typeface="+mn-cs"/>
                </a:rPr>
                <a:t>?</a:t>
              </a:r>
            </a:p>
          </p:txBody>
        </p:sp>
        <p:sp>
          <p:nvSpPr>
            <p:cNvPr id="12" name="Rectangle: Rounded Corners 31">
              <a:extLst>
                <a:ext uri="{FF2B5EF4-FFF2-40B4-BE49-F238E27FC236}">
                  <a16:creationId xmlns:a16="http://schemas.microsoft.com/office/drawing/2014/main" id="{98D4162A-CCFB-C372-68FF-03AFDF521647}"/>
                </a:ext>
              </a:extLst>
            </p:cNvPr>
            <p:cNvSpPr/>
            <p:nvPr/>
          </p:nvSpPr>
          <p:spPr>
            <a:xfrm>
              <a:off x="4779367" y="2515048"/>
              <a:ext cx="2580683" cy="1019958"/>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13A63"/>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600" b="1" i="0" u="none" strike="noStrike" kern="0" cap="none" spc="0" normalizeH="0" baseline="0" noProof="0">
                  <a:ln>
                    <a:noFill/>
                  </a:ln>
                  <a:solidFill>
                    <a:srgbClr val="FFFFFF"/>
                  </a:solidFill>
                  <a:effectLst/>
                  <a:uLnTx/>
                  <a:uFillTx/>
                  <a:latin typeface="Avenir Next" pitchFamily="34"/>
                  <a:ea typeface="+mn-ea"/>
                  <a:cs typeface="Helvetica" pitchFamily="34"/>
                </a:rPr>
                <a:t>Regenerative Landscapes</a:t>
              </a:r>
            </a:p>
          </p:txBody>
        </p:sp>
        <p:sp>
          <p:nvSpPr>
            <p:cNvPr id="13" name="Rectangle: Rounded Corners 32">
              <a:extLst>
                <a:ext uri="{FF2B5EF4-FFF2-40B4-BE49-F238E27FC236}">
                  <a16:creationId xmlns:a16="http://schemas.microsoft.com/office/drawing/2014/main" id="{836477A1-D9E4-4819-CCBD-AE1A55DA665D}"/>
                </a:ext>
              </a:extLst>
            </p:cNvPr>
            <p:cNvSpPr/>
            <p:nvPr/>
          </p:nvSpPr>
          <p:spPr>
            <a:xfrm>
              <a:off x="8122048" y="2212482"/>
              <a:ext cx="3205456" cy="1625108"/>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031F35"/>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600" b="1" i="0" u="none" strike="noStrike" kern="0" cap="none" spc="0" normalizeH="0" baseline="0" noProof="0">
                  <a:ln>
                    <a:noFill/>
                  </a:ln>
                  <a:solidFill>
                    <a:srgbClr val="FFFFFF"/>
                  </a:solidFill>
                  <a:effectLst/>
                  <a:uLnTx/>
                  <a:uFillTx/>
                  <a:latin typeface="Avenir Next" pitchFamily="34"/>
                  <a:ea typeface="+mn-ea"/>
                  <a:cs typeface="Helvetica" pitchFamily="34"/>
                </a:rPr>
                <a:t>Sustainable Value Chains</a:t>
              </a:r>
            </a:p>
          </p:txBody>
        </p:sp>
        <p:sp>
          <p:nvSpPr>
            <p:cNvPr id="14" name="Rectangle: Rounded Corners 33">
              <a:extLst>
                <a:ext uri="{FF2B5EF4-FFF2-40B4-BE49-F238E27FC236}">
                  <a16:creationId xmlns:a16="http://schemas.microsoft.com/office/drawing/2014/main" id="{9A5FAF17-FFFB-2D67-C5B5-072CEE906524}"/>
                </a:ext>
              </a:extLst>
            </p:cNvPr>
            <p:cNvSpPr/>
            <p:nvPr/>
          </p:nvSpPr>
          <p:spPr>
            <a:xfrm>
              <a:off x="1555549" y="2748695"/>
              <a:ext cx="1718185" cy="552672"/>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227C9D"/>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600" b="1" i="0" u="none" strike="noStrike" kern="0" cap="none" spc="0" normalizeH="0" baseline="0" noProof="0">
                  <a:ln>
                    <a:noFill/>
                  </a:ln>
                  <a:solidFill>
                    <a:srgbClr val="FFFFFF"/>
                  </a:solidFill>
                  <a:effectLst/>
                  <a:uLnTx/>
                  <a:uFillTx/>
                  <a:latin typeface="Avenir Next" pitchFamily="34"/>
                  <a:ea typeface="+mn-ea"/>
                  <a:cs typeface="Helvetica" pitchFamily="34"/>
                </a:rPr>
                <a:t>Living Labs</a:t>
              </a:r>
            </a:p>
          </p:txBody>
        </p:sp>
        <p:sp>
          <p:nvSpPr>
            <p:cNvPr id="15" name="Arrow: Circular 34">
              <a:extLst>
                <a:ext uri="{FF2B5EF4-FFF2-40B4-BE49-F238E27FC236}">
                  <a16:creationId xmlns:a16="http://schemas.microsoft.com/office/drawing/2014/main" id="{161C7DCC-39A4-34E0-7DE3-D3D672B923D5}"/>
                </a:ext>
              </a:extLst>
            </p:cNvPr>
            <p:cNvSpPr/>
            <p:nvPr/>
          </p:nvSpPr>
          <p:spPr>
            <a:xfrm rot="371517">
              <a:off x="3098700" y="2746757"/>
              <a:ext cx="1616631" cy="1525895"/>
            </a:xfrm>
            <a:custGeom>
              <a:avLst/>
              <a:gdLst>
                <a:gd name="f0" fmla="val 10800000"/>
                <a:gd name="f1" fmla="val 5400000"/>
                <a:gd name="f2" fmla="val 180"/>
                <a:gd name="f3" fmla="val w"/>
                <a:gd name="f4" fmla="val h"/>
                <a:gd name="f5" fmla="val 0"/>
                <a:gd name="f6" fmla="val 1616636"/>
                <a:gd name="f7" fmla="val 1525894"/>
                <a:gd name="f8" fmla="+- 0 0 2707782"/>
                <a:gd name="f9" fmla="val 527956"/>
                <a:gd name="f10" fmla="val 176838"/>
                <a:gd name="f11" fmla="val 687315"/>
                <a:gd name="f12" fmla="val 641944"/>
                <a:gd name="f13" fmla="val 14666169"/>
                <a:gd name="f14" fmla="val 3004615"/>
                <a:gd name="f15" fmla="val 1154462"/>
                <a:gd name="f16" fmla="val 85209"/>
                <a:gd name="f17" fmla="val 1199045"/>
                <a:gd name="f18" fmla="val 319816"/>
                <a:gd name="f19" fmla="val 902170"/>
                <a:gd name="f20" fmla="val 371339"/>
                <a:gd name="f21" fmla="val 978111"/>
                <a:gd name="f22" fmla="val 285212"/>
                <a:gd name="f23" fmla="val 547848"/>
                <a:gd name="f24" fmla="val 502477"/>
                <a:gd name="f25" fmla="val 17373951"/>
                <a:gd name="f26" fmla="+- 0 0 -244"/>
                <a:gd name="f27" fmla="+- 0 0 -401"/>
                <a:gd name="f28" fmla="+- 0 0 -491"/>
                <a:gd name="f29" fmla="+- 0 0 -581"/>
                <a:gd name="f30" fmla="*/ f3 1 1616636"/>
                <a:gd name="f31" fmla="*/ f4 1 1525894"/>
                <a:gd name="f32" fmla="val f5"/>
                <a:gd name="f33" fmla="val f6"/>
                <a:gd name="f34" fmla="val f7"/>
                <a:gd name="f35" fmla="*/ f26 f0 1"/>
                <a:gd name="f36" fmla="*/ f27 f0 1"/>
                <a:gd name="f37" fmla="*/ f28 f0 1"/>
                <a:gd name="f38" fmla="*/ f29 f0 1"/>
                <a:gd name="f39" fmla="+- f34 0 f32"/>
                <a:gd name="f40" fmla="+- f33 0 f32"/>
                <a:gd name="f41" fmla="*/ f35 1 f2"/>
                <a:gd name="f42" fmla="*/ f36 1 f2"/>
                <a:gd name="f43" fmla="*/ f37 1 f2"/>
                <a:gd name="f44" fmla="*/ f38 1 f2"/>
                <a:gd name="f45" fmla="*/ f40 1 1616636"/>
                <a:gd name="f46" fmla="*/ f39 1 1525894"/>
                <a:gd name="f47" fmla="+- f41 0 f1"/>
                <a:gd name="f48" fmla="+- f42 0 f1"/>
                <a:gd name="f49" fmla="+- f43 0 f1"/>
                <a:gd name="f50" fmla="+- f44 0 f1"/>
                <a:gd name="f51" fmla="*/ 558080 1 f45"/>
                <a:gd name="f52" fmla="*/ 239814 1 f46"/>
                <a:gd name="f53" fmla="*/ 1154462 1 f45"/>
                <a:gd name="f54" fmla="*/ 85209 1 f46"/>
                <a:gd name="f55" fmla="*/ 1199045 1 f45"/>
                <a:gd name="f56" fmla="*/ 319816 1 f46"/>
                <a:gd name="f57" fmla="*/ 902170 1 f45"/>
                <a:gd name="f58" fmla="*/ 371339 1 f46"/>
                <a:gd name="f59" fmla="*/ 322313 1 f45"/>
                <a:gd name="f60" fmla="*/ 1294323 1 f45"/>
                <a:gd name="f61" fmla="*/ 309024 1 f46"/>
                <a:gd name="f62" fmla="*/ 1216870 1 f46"/>
                <a:gd name="f63" fmla="*/ f59 f30 1"/>
                <a:gd name="f64" fmla="*/ f60 f30 1"/>
                <a:gd name="f65" fmla="*/ f62 f31 1"/>
                <a:gd name="f66" fmla="*/ f61 f31 1"/>
                <a:gd name="f67" fmla="*/ f51 f30 1"/>
                <a:gd name="f68" fmla="*/ f52 f31 1"/>
                <a:gd name="f69" fmla="*/ f53 f30 1"/>
                <a:gd name="f70" fmla="*/ f54 f31 1"/>
                <a:gd name="f71" fmla="*/ f55 f30 1"/>
                <a:gd name="f72" fmla="*/ f56 f31 1"/>
                <a:gd name="f73" fmla="*/ f57 f30 1"/>
                <a:gd name="f74" fmla="*/ f58 f31 1"/>
              </a:gdLst>
              <a:ahLst/>
              <a:cxnLst>
                <a:cxn ang="3cd4">
                  <a:pos x="hc" y="t"/>
                </a:cxn>
                <a:cxn ang="0">
                  <a:pos x="r" y="vc"/>
                </a:cxn>
                <a:cxn ang="cd4">
                  <a:pos x="hc" y="b"/>
                </a:cxn>
                <a:cxn ang="cd2">
                  <a:pos x="l" y="vc"/>
                </a:cxn>
                <a:cxn ang="f47">
                  <a:pos x="f67" y="f68"/>
                </a:cxn>
                <a:cxn ang="f48">
                  <a:pos x="f69" y="f70"/>
                </a:cxn>
                <a:cxn ang="f49">
                  <a:pos x="f71" y="f72"/>
                </a:cxn>
                <a:cxn ang="f50">
                  <a:pos x="f73" y="f74"/>
                </a:cxn>
              </a:cxnLst>
              <a:rect l="f63" t="f66" r="f64" b="f65"/>
              <a:pathLst>
                <a:path w="1616636" h="1525894">
                  <a:moveTo>
                    <a:pt x="f9" y="f10"/>
                  </a:moveTo>
                  <a:arcTo wR="f11" hR="f12" stAng="f13" swAng="f14"/>
                  <a:lnTo>
                    <a:pt x="f15" y="f16"/>
                  </a:lnTo>
                  <a:lnTo>
                    <a:pt x="f17" y="f18"/>
                  </a:lnTo>
                  <a:lnTo>
                    <a:pt x="f19" y="f20"/>
                  </a:lnTo>
                  <a:lnTo>
                    <a:pt x="f21" y="f22"/>
                  </a:lnTo>
                  <a:arcTo wR="f23" hR="f24" stAng="f25" swAng="f8"/>
                  <a:close/>
                </a:path>
              </a:pathLst>
            </a:custGeom>
            <a:solidFill>
              <a:srgbClr val="8497B0"/>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600" b="0" i="0" u="none" strike="noStrike" kern="0" cap="none" spc="0" normalizeH="0" baseline="0" noProof="0">
                <a:ln>
                  <a:noFill/>
                </a:ln>
                <a:solidFill>
                  <a:srgbClr val="FFFFFF"/>
                </a:solidFill>
                <a:effectLst/>
                <a:uLnTx/>
                <a:uFillTx/>
                <a:latin typeface="Avenir Next" pitchFamily="34"/>
                <a:ea typeface="+mn-ea"/>
                <a:cs typeface="+mn-cs"/>
              </a:endParaRPr>
            </a:p>
          </p:txBody>
        </p:sp>
        <p:sp>
          <p:nvSpPr>
            <p:cNvPr id="16" name="Rectangle 35">
              <a:extLst>
                <a:ext uri="{FF2B5EF4-FFF2-40B4-BE49-F238E27FC236}">
                  <a16:creationId xmlns:a16="http://schemas.microsoft.com/office/drawing/2014/main" id="{F0EF1654-3820-CC32-17FC-3E1DB96AB092}"/>
                </a:ext>
              </a:extLst>
            </p:cNvPr>
            <p:cNvSpPr/>
            <p:nvPr/>
          </p:nvSpPr>
          <p:spPr>
            <a:xfrm>
              <a:off x="8564014" y="3978426"/>
              <a:ext cx="2321524" cy="246220"/>
            </a:xfrm>
            <a:prstGeom prst="rect">
              <a:avLst/>
            </a:prstGeom>
            <a:solidFill>
              <a:srgbClr val="FFFFFF"/>
            </a:solidFill>
            <a:ln>
              <a:noFill/>
              <a:prstDash val="solid"/>
            </a:ln>
          </p:spPr>
          <p:txBody>
            <a:bodyPr vert="horz" wrap="square" lIns="0" tIns="0" rIns="0" bIns="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600" b="1" i="0" u="none" strike="noStrike" kern="0" cap="none" spc="0" normalizeH="0" baseline="0" noProof="0">
                  <a:ln>
                    <a:noFill/>
                  </a:ln>
                  <a:solidFill>
                    <a:srgbClr val="000000"/>
                  </a:solidFill>
                  <a:effectLst/>
                  <a:uLnTx/>
                  <a:uFillTx/>
                  <a:latin typeface="Avenir Next" pitchFamily="34"/>
                  <a:ea typeface="+mn-ea"/>
                  <a:cs typeface="+mn-cs"/>
                </a:rPr>
                <a:t>Member Organisation</a:t>
              </a:r>
            </a:p>
          </p:txBody>
        </p:sp>
        <p:sp>
          <p:nvSpPr>
            <p:cNvPr id="17" name="Rectangle 36">
              <a:extLst>
                <a:ext uri="{FF2B5EF4-FFF2-40B4-BE49-F238E27FC236}">
                  <a16:creationId xmlns:a16="http://schemas.microsoft.com/office/drawing/2014/main" id="{49011B41-37C5-898B-B25A-3E61F1EF0264}"/>
                </a:ext>
              </a:extLst>
            </p:cNvPr>
            <p:cNvSpPr/>
            <p:nvPr/>
          </p:nvSpPr>
          <p:spPr>
            <a:xfrm>
              <a:off x="5270894" y="3978426"/>
              <a:ext cx="1597630" cy="246220"/>
            </a:xfrm>
            <a:prstGeom prst="rect">
              <a:avLst/>
            </a:prstGeom>
            <a:solidFill>
              <a:srgbClr val="FFFFFF"/>
            </a:solidFill>
            <a:ln>
              <a:noFill/>
              <a:prstDash val="solid"/>
            </a:ln>
          </p:spPr>
          <p:txBody>
            <a:bodyPr vert="horz" wrap="square" lIns="0" tIns="0" rIns="0" bIns="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600" b="1" i="0" u="none" strike="noStrike" kern="0" cap="none" spc="0" normalizeH="0" baseline="0" noProof="0">
                  <a:ln>
                    <a:noFill/>
                  </a:ln>
                  <a:solidFill>
                    <a:srgbClr val="CB9317"/>
                  </a:solidFill>
                  <a:effectLst/>
                  <a:uLnTx/>
                  <a:uFillTx/>
                  <a:latin typeface="Avenir Next" pitchFamily="34"/>
                  <a:ea typeface="+mn-ea"/>
                  <a:cs typeface="+mn-cs"/>
                </a:rPr>
                <a:t>CBA - Advisors</a:t>
              </a:r>
            </a:p>
          </p:txBody>
        </p:sp>
        <p:sp>
          <p:nvSpPr>
            <p:cNvPr id="18" name="TextBox 37">
              <a:extLst>
                <a:ext uri="{FF2B5EF4-FFF2-40B4-BE49-F238E27FC236}">
                  <a16:creationId xmlns:a16="http://schemas.microsoft.com/office/drawing/2014/main" id="{591799A2-7B34-9F24-3697-D00C94018313}"/>
                </a:ext>
              </a:extLst>
            </p:cNvPr>
            <p:cNvSpPr txBox="1"/>
            <p:nvPr/>
          </p:nvSpPr>
          <p:spPr>
            <a:xfrm>
              <a:off x="8122048" y="4329784"/>
              <a:ext cx="3205456" cy="1114150"/>
            </a:xfrm>
            <a:prstGeom prst="rect">
              <a:avLst/>
            </a:prstGeom>
            <a:noFill/>
            <a:ln>
              <a:noFill/>
            </a:ln>
          </p:spPr>
          <p:txBody>
            <a:bodyPr vert="horz" wrap="square" lIns="0" tIns="0" rIns="0" bIns="0" anchor="t" anchorCtr="1" compatLnSpc="1">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dirty="0">
                  <a:ln>
                    <a:noFill/>
                  </a:ln>
                  <a:solidFill>
                    <a:srgbClr val="000000"/>
                  </a:solidFill>
                  <a:effectLst/>
                  <a:uLnTx/>
                  <a:uFillTx/>
                  <a:latin typeface="Avenir Next LT Pro" pitchFamily="34"/>
                  <a:ea typeface="+mn-ea"/>
                  <a:cs typeface="+mn-cs"/>
                </a:rPr>
                <a:t>Commercially sustainable value chains</a:t>
              </a:r>
              <a:r>
                <a:rPr kumimoji="0" lang="en-US" sz="1600" b="0" i="0" u="none" strike="noStrike" kern="0" cap="none" spc="0" normalizeH="0" baseline="0" noProof="0" dirty="0">
                  <a:ln>
                    <a:noFill/>
                  </a:ln>
                  <a:solidFill>
                    <a:srgbClr val="000000"/>
                  </a:solidFill>
                  <a:effectLst/>
                  <a:uLnTx/>
                  <a:uFillTx/>
                  <a:latin typeface="Avenir Next LT Pro" pitchFamily="34"/>
                  <a:ea typeface="+mn-ea"/>
                  <a:cs typeface="+mn-cs"/>
                </a:rPr>
                <a:t> that can be integrated into corporate supply chains and are investable for capital market investors </a:t>
              </a:r>
              <a:endParaRPr kumimoji="0" lang="en-GB" sz="1600" b="0" i="0" u="none" strike="noStrike" kern="0" cap="none" spc="0" normalizeH="0" baseline="0" noProof="0" dirty="0">
                <a:ln>
                  <a:noFill/>
                </a:ln>
                <a:solidFill>
                  <a:srgbClr val="000000"/>
                </a:solidFill>
                <a:effectLst/>
                <a:uLnTx/>
                <a:uFillTx/>
                <a:latin typeface="Avenir Next LT Pro" pitchFamily="34"/>
                <a:ea typeface="+mn-ea"/>
                <a:cs typeface="+mn-cs"/>
              </a:endParaRPr>
            </a:p>
          </p:txBody>
        </p:sp>
        <p:sp>
          <p:nvSpPr>
            <p:cNvPr id="19" name="TextBox 38">
              <a:extLst>
                <a:ext uri="{FF2B5EF4-FFF2-40B4-BE49-F238E27FC236}">
                  <a16:creationId xmlns:a16="http://schemas.microsoft.com/office/drawing/2014/main" id="{C988D875-04F2-E27F-1031-6F0AB203103B}"/>
                </a:ext>
              </a:extLst>
            </p:cNvPr>
            <p:cNvSpPr txBox="1"/>
            <p:nvPr/>
          </p:nvSpPr>
          <p:spPr>
            <a:xfrm>
              <a:off x="4466981" y="4329784"/>
              <a:ext cx="3205456" cy="886401"/>
            </a:xfrm>
            <a:prstGeom prst="rect">
              <a:avLst/>
            </a:prstGeom>
            <a:noFill/>
            <a:ln>
              <a:noFill/>
            </a:ln>
          </p:spPr>
          <p:txBody>
            <a:bodyPr vert="horz" wrap="square" lIns="0" tIns="0" rIns="0" bIns="0" anchor="t" anchorCtr="1" compatLnSpc="1">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dirty="0">
                  <a:ln>
                    <a:noFill/>
                  </a:ln>
                  <a:solidFill>
                    <a:srgbClr val="000000"/>
                  </a:solidFill>
                  <a:effectLst/>
                  <a:uLnTx/>
                  <a:uFillTx/>
                  <a:latin typeface="Avenir Next LT Pro" pitchFamily="34"/>
                  <a:ea typeface="+mn-ea"/>
                  <a:cs typeface="+mn-cs"/>
                </a:rPr>
                <a:t>Successfully</a:t>
              </a:r>
              <a:r>
                <a:rPr kumimoji="0" lang="en-US" sz="1600" b="0" i="0" u="none" strike="noStrike" kern="0" cap="none" spc="0" normalizeH="0" baseline="0" noProof="0" dirty="0">
                  <a:ln>
                    <a:noFill/>
                  </a:ln>
                  <a:solidFill>
                    <a:srgbClr val="000000"/>
                  </a:solidFill>
                  <a:effectLst/>
                  <a:uLnTx/>
                  <a:uFillTx/>
                  <a:latin typeface="Avenir Next LT Pro" pitchFamily="34"/>
                  <a:ea typeface="+mn-ea"/>
                  <a:cs typeface="+mn-cs"/>
                </a:rPr>
                <a:t> </a:t>
              </a:r>
              <a:r>
                <a:rPr kumimoji="0" lang="en-US" sz="1600" b="1" i="0" u="none" strike="noStrike" kern="0" cap="none" spc="0" normalizeH="0" baseline="0" noProof="0" dirty="0">
                  <a:ln>
                    <a:noFill/>
                  </a:ln>
                  <a:solidFill>
                    <a:srgbClr val="000000"/>
                  </a:solidFill>
                  <a:effectLst/>
                  <a:uLnTx/>
                  <a:uFillTx/>
                  <a:latin typeface="Avenir Next LT Pro" pitchFamily="34"/>
                  <a:ea typeface="+mn-ea"/>
                  <a:cs typeface="+mn-cs"/>
                </a:rPr>
                <a:t>graduated</a:t>
              </a:r>
              <a:r>
                <a:rPr kumimoji="0" lang="en-US" sz="1600" b="0" i="0" u="none" strike="noStrike" kern="0" cap="none" spc="0" normalizeH="0" baseline="0" noProof="0" dirty="0">
                  <a:ln>
                    <a:noFill/>
                  </a:ln>
                  <a:solidFill>
                    <a:srgbClr val="000000"/>
                  </a:solidFill>
                  <a:effectLst/>
                  <a:uLnTx/>
                  <a:uFillTx/>
                  <a:latin typeface="Avenir Next LT Pro" pitchFamily="34"/>
                  <a:ea typeface="+mn-ea"/>
                  <a:cs typeface="+mn-cs"/>
                </a:rPr>
                <a:t> living lab projects that restore landscapes at scale and potentially generate commercial benefits</a:t>
              </a:r>
              <a:endParaRPr kumimoji="0" lang="en-GB" sz="1600" b="0" i="0" u="none" strike="noStrike" kern="0" cap="none" spc="0" normalizeH="0" baseline="0" noProof="0" dirty="0">
                <a:ln>
                  <a:noFill/>
                </a:ln>
                <a:solidFill>
                  <a:srgbClr val="000000"/>
                </a:solidFill>
                <a:effectLst/>
                <a:uLnTx/>
                <a:uFillTx/>
                <a:latin typeface="Avenir Next LT Pro" pitchFamily="34"/>
                <a:ea typeface="+mn-ea"/>
                <a:cs typeface="+mn-cs"/>
              </a:endParaRPr>
            </a:p>
          </p:txBody>
        </p:sp>
        <p:sp>
          <p:nvSpPr>
            <p:cNvPr id="20" name="TextBox 39">
              <a:extLst>
                <a:ext uri="{FF2B5EF4-FFF2-40B4-BE49-F238E27FC236}">
                  <a16:creationId xmlns:a16="http://schemas.microsoft.com/office/drawing/2014/main" id="{2E8F9B59-F40B-2EDF-495A-3388DA6CF0A7}"/>
                </a:ext>
              </a:extLst>
            </p:cNvPr>
            <p:cNvSpPr txBox="1"/>
            <p:nvPr/>
          </p:nvSpPr>
          <p:spPr>
            <a:xfrm>
              <a:off x="811904" y="4329784"/>
              <a:ext cx="3205456" cy="886397"/>
            </a:xfrm>
            <a:prstGeom prst="rect">
              <a:avLst/>
            </a:prstGeom>
            <a:noFill/>
            <a:ln>
              <a:noFill/>
            </a:ln>
          </p:spPr>
          <p:txBody>
            <a:bodyPr vert="horz" wrap="square" lIns="0" tIns="0" rIns="0" bIns="0" anchor="t" anchorCtr="1" compatLnSpc="1">
              <a:spAutoFit/>
            </a:bodyPr>
            <a:lstStyle/>
            <a:p>
              <a:pPr marL="0" marR="0" lvl="0" indent="0" algn="ctr" defTabSz="914400" rtl="0" eaLnBrk="1" fontAlgn="auto" latinLnBrk="0" hangingPunct="1">
                <a:lnSpc>
                  <a:spcPct val="90000"/>
                </a:lnSpc>
                <a:spcBef>
                  <a:spcPts val="1000"/>
                </a:spcBef>
                <a:spcAft>
                  <a:spcPts val="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dirty="0">
                  <a:ln>
                    <a:noFill/>
                  </a:ln>
                  <a:solidFill>
                    <a:srgbClr val="000000"/>
                  </a:solidFill>
                  <a:effectLst/>
                  <a:uLnTx/>
                  <a:uFillTx/>
                  <a:latin typeface="Avenir Next LT Pro" pitchFamily="34"/>
                  <a:ea typeface="+mn-ea"/>
                  <a:cs typeface="+mn-cs"/>
                </a:rPr>
                <a:t>Scientifically</a:t>
              </a:r>
              <a:r>
                <a:rPr kumimoji="0" lang="en-US" sz="1600" b="0" i="0" u="none" strike="noStrike" kern="0" cap="none" spc="0" normalizeH="0" baseline="0" noProof="0" dirty="0">
                  <a:ln>
                    <a:noFill/>
                  </a:ln>
                  <a:solidFill>
                    <a:srgbClr val="000000"/>
                  </a:solidFill>
                  <a:effectLst/>
                  <a:uLnTx/>
                  <a:uFillTx/>
                  <a:latin typeface="Avenir Next LT Pro" pitchFamily="34"/>
                  <a:ea typeface="+mn-ea"/>
                  <a:cs typeface="+mn-cs"/>
                </a:rPr>
                <a:t> </a:t>
              </a:r>
              <a:r>
                <a:rPr kumimoji="0" lang="en-US" sz="1600" b="1" i="0" u="none" strike="noStrike" kern="0" cap="none" spc="0" normalizeH="0" baseline="0" noProof="0" dirty="0">
                  <a:ln>
                    <a:noFill/>
                  </a:ln>
                  <a:solidFill>
                    <a:srgbClr val="000000"/>
                  </a:solidFill>
                  <a:effectLst/>
                  <a:uLnTx/>
                  <a:uFillTx/>
                  <a:latin typeface="Avenir Next LT Pro" pitchFamily="34"/>
                  <a:ea typeface="+mn-ea"/>
                  <a:cs typeface="+mn-cs"/>
                </a:rPr>
                <a:t>underpinned</a:t>
              </a:r>
              <a:r>
                <a:rPr kumimoji="0" lang="en-US" sz="1600" b="0" i="0" u="none" strike="noStrike" kern="0" cap="none" spc="0" normalizeH="0" baseline="0" noProof="0" dirty="0">
                  <a:ln>
                    <a:noFill/>
                  </a:ln>
                  <a:solidFill>
                    <a:srgbClr val="000000"/>
                  </a:solidFill>
                  <a:effectLst/>
                  <a:uLnTx/>
                  <a:uFillTx/>
                  <a:latin typeface="Avenir Next LT Pro" pitchFamily="34"/>
                  <a:ea typeface="+mn-ea"/>
                  <a:cs typeface="+mn-cs"/>
                </a:rPr>
                <a:t> labs to demonstrate landscape restoration and value-chain creation</a:t>
              </a:r>
              <a:endParaRPr kumimoji="0" lang="en-GB" sz="1600" b="0" i="0" u="none" strike="noStrike" kern="0" cap="none" spc="0" normalizeH="0" baseline="0" noProof="0" dirty="0">
                <a:ln>
                  <a:noFill/>
                </a:ln>
                <a:solidFill>
                  <a:srgbClr val="000000"/>
                </a:solidFill>
                <a:effectLst/>
                <a:uLnTx/>
                <a:uFillTx/>
                <a:latin typeface="Avenir Next LT Pro" pitchFamily="34"/>
                <a:ea typeface="+mn-ea"/>
                <a:cs typeface="+mn-cs"/>
              </a:endParaRPr>
            </a:p>
          </p:txBody>
        </p:sp>
        <p:sp>
          <p:nvSpPr>
            <p:cNvPr id="21" name="Rectangle 40">
              <a:extLst>
                <a:ext uri="{FF2B5EF4-FFF2-40B4-BE49-F238E27FC236}">
                  <a16:creationId xmlns:a16="http://schemas.microsoft.com/office/drawing/2014/main" id="{967059F0-A4C9-7072-FF20-2606B0C17B58}"/>
                </a:ext>
              </a:extLst>
            </p:cNvPr>
            <p:cNvSpPr/>
            <p:nvPr/>
          </p:nvSpPr>
          <p:spPr>
            <a:xfrm>
              <a:off x="1684251" y="3978426"/>
              <a:ext cx="1460772" cy="246220"/>
            </a:xfrm>
            <a:prstGeom prst="rect">
              <a:avLst/>
            </a:prstGeom>
            <a:solidFill>
              <a:srgbClr val="FFFFFF"/>
            </a:solidFill>
            <a:ln>
              <a:noFill/>
              <a:prstDash val="solid"/>
            </a:ln>
          </p:spPr>
          <p:txBody>
            <a:bodyPr vert="horz" wrap="square" lIns="0" tIns="0" rIns="0" bIns="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600" b="1" i="0" u="none" strike="noStrike" kern="0" cap="none" spc="0" normalizeH="0" baseline="0" noProof="0">
                  <a:ln>
                    <a:noFill/>
                  </a:ln>
                  <a:solidFill>
                    <a:srgbClr val="CB9317"/>
                  </a:solidFill>
                  <a:effectLst/>
                  <a:uLnTx/>
                  <a:uFillTx/>
                  <a:latin typeface="Avenir Next" pitchFamily="34"/>
                  <a:ea typeface="+mn-ea"/>
                  <a:cs typeface="+mn-cs"/>
                </a:rPr>
                <a:t>CBA Charity</a:t>
              </a:r>
            </a:p>
          </p:txBody>
        </p:sp>
        <p:sp>
          <p:nvSpPr>
            <p:cNvPr id="22" name="Rectangle 41">
              <a:extLst>
                <a:ext uri="{FF2B5EF4-FFF2-40B4-BE49-F238E27FC236}">
                  <a16:creationId xmlns:a16="http://schemas.microsoft.com/office/drawing/2014/main" id="{9139DFB6-6B8A-3807-B277-5DECDF64D7F8}"/>
                </a:ext>
              </a:extLst>
            </p:cNvPr>
            <p:cNvSpPr/>
            <p:nvPr/>
          </p:nvSpPr>
          <p:spPr>
            <a:xfrm>
              <a:off x="4926796" y="1524899"/>
              <a:ext cx="2285826" cy="307777"/>
            </a:xfrm>
            <a:prstGeom prst="rect">
              <a:avLst/>
            </a:prstGeom>
            <a:noFill/>
            <a:ln>
              <a:noFill/>
              <a:prstDash val="solid"/>
            </a:ln>
          </p:spPr>
          <p:txBody>
            <a:bodyPr vert="horz" wrap="square" lIns="0" tIns="0" rIns="0" bIns="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2000" b="1" i="0" u="none" strike="noStrike" kern="0" cap="none" spc="0" normalizeH="0" baseline="0" noProof="0">
                  <a:ln>
                    <a:noFill/>
                  </a:ln>
                  <a:solidFill>
                    <a:srgbClr val="013A63"/>
                  </a:solidFill>
                  <a:effectLst/>
                  <a:uLnTx/>
                  <a:uFillTx/>
                  <a:latin typeface="Avenir Next" pitchFamily="34"/>
                  <a:ea typeface="+mn-ea"/>
                  <a:cs typeface="+mn-cs"/>
                </a:rPr>
                <a:t>SCALING MODEL</a:t>
              </a:r>
            </a:p>
          </p:txBody>
        </p:sp>
        <p:sp>
          <p:nvSpPr>
            <p:cNvPr id="23" name="Rectangle 42">
              <a:extLst>
                <a:ext uri="{FF2B5EF4-FFF2-40B4-BE49-F238E27FC236}">
                  <a16:creationId xmlns:a16="http://schemas.microsoft.com/office/drawing/2014/main" id="{62C0B60B-01E8-7BF5-7BB1-DCDD1431BD7F}"/>
                </a:ext>
              </a:extLst>
            </p:cNvPr>
            <p:cNvSpPr/>
            <p:nvPr/>
          </p:nvSpPr>
          <p:spPr>
            <a:xfrm>
              <a:off x="811904" y="1925031"/>
              <a:ext cx="6985001" cy="129579"/>
            </a:xfrm>
            <a:prstGeom prst="rect">
              <a:avLst/>
            </a:prstGeom>
            <a:solidFill>
              <a:srgbClr val="44546A"/>
            </a:solidFill>
            <a:ln>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0" cap="none" spc="0" normalizeH="0" baseline="0" noProof="0">
                <a:ln>
                  <a:noFill/>
                </a:ln>
                <a:solidFill>
                  <a:srgbClr val="FFFFFF"/>
                </a:solidFill>
                <a:effectLst/>
                <a:uLnTx/>
                <a:uFillTx/>
                <a:latin typeface="Avenir Next" pitchFamily="34"/>
                <a:ea typeface="+mn-ea"/>
                <a:cs typeface="+mn-cs"/>
              </a:endParaRPr>
            </a:p>
          </p:txBody>
        </p:sp>
        <p:cxnSp>
          <p:nvCxnSpPr>
            <p:cNvPr id="24" name="Straight Arrow Connector 43">
              <a:extLst>
                <a:ext uri="{FF2B5EF4-FFF2-40B4-BE49-F238E27FC236}">
                  <a16:creationId xmlns:a16="http://schemas.microsoft.com/office/drawing/2014/main" id="{2F5EC64E-BC08-6DFB-52DC-F5CBF598ED02}"/>
                </a:ext>
              </a:extLst>
            </p:cNvPr>
            <p:cNvCxnSpPr/>
            <p:nvPr/>
          </p:nvCxnSpPr>
          <p:spPr>
            <a:xfrm>
              <a:off x="8032089" y="1989825"/>
              <a:ext cx="3348003" cy="0"/>
            </a:xfrm>
            <a:prstGeom prst="straightConnector1">
              <a:avLst/>
            </a:prstGeom>
            <a:noFill/>
            <a:ln w="76196" cap="flat">
              <a:solidFill>
                <a:srgbClr val="44546A"/>
              </a:solidFill>
              <a:custDash>
                <a:ds d="300016" sp="300016"/>
              </a:custDash>
              <a:miter/>
              <a:tailEnd type="arrow"/>
            </a:ln>
          </p:spPr>
        </p:cxnSp>
      </p:grpSp>
      <p:sp>
        <p:nvSpPr>
          <p:cNvPr id="4" name="Title 1">
            <a:extLst>
              <a:ext uri="{FF2B5EF4-FFF2-40B4-BE49-F238E27FC236}">
                <a16:creationId xmlns:a16="http://schemas.microsoft.com/office/drawing/2014/main" id="{F460C7C1-743A-E392-978A-14AD2DD6425C}"/>
              </a:ext>
            </a:extLst>
          </p:cNvPr>
          <p:cNvSpPr txBox="1">
            <a:spLocks/>
          </p:cNvSpPr>
          <p:nvPr/>
        </p:nvSpPr>
        <p:spPr>
          <a:xfrm>
            <a:off x="179386" y="179386"/>
            <a:ext cx="11831641" cy="708714"/>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a:lstStyle>
          <a:p>
            <a:pPr>
              <a:tabLst>
                <a:tab pos="10028233" algn="l"/>
              </a:tabLst>
            </a:pPr>
            <a:r>
              <a:rPr lang="en-GB" sz="3200" b="1" cap="none" dirty="0">
                <a:latin typeface="Avenir Next LT Pro"/>
              </a:rPr>
              <a:t>Living Lab Scaling Model</a:t>
            </a:r>
            <a:endParaRPr lang="en-GB" b="1" cap="none" dirty="0">
              <a:latin typeface="Avenir Next LT Pro"/>
            </a:endParaRPr>
          </a:p>
        </p:txBody>
      </p:sp>
    </p:spTree>
    <p:extLst>
      <p:ext uri="{BB962C8B-B14F-4D97-AF65-F5344CB8AC3E}">
        <p14:creationId xmlns:p14="http://schemas.microsoft.com/office/powerpoint/2010/main" val="936979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2B7404B-732E-30C3-9B4A-DFA7AB1782FC}"/>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A2B7404B-732E-30C3-9B4A-DFA7AB1782FC}"/>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pic>
        <p:nvPicPr>
          <p:cNvPr id="6" name="Picture 7" descr="A map of the world with different countries/regions&#10;&#10;Description automatically generated">
            <a:extLst>
              <a:ext uri="{FF2B5EF4-FFF2-40B4-BE49-F238E27FC236}">
                <a16:creationId xmlns:a16="http://schemas.microsoft.com/office/drawing/2014/main" id="{31B56F1F-FE5B-E0D6-040A-B1588111A15A}"/>
              </a:ext>
            </a:extLst>
          </p:cNvPr>
          <p:cNvPicPr>
            <a:picLocks noChangeAspect="1"/>
          </p:cNvPicPr>
          <p:nvPr/>
        </p:nvPicPr>
        <p:blipFill>
          <a:blip r:embed="rId5"/>
          <a:stretch>
            <a:fillRect/>
          </a:stretch>
        </p:blipFill>
        <p:spPr>
          <a:xfrm>
            <a:off x="1926777" y="882341"/>
            <a:ext cx="8338441" cy="5600754"/>
          </a:xfrm>
          <a:prstGeom prst="rect">
            <a:avLst/>
          </a:prstGeom>
          <a:noFill/>
          <a:ln>
            <a:noFill/>
          </a:ln>
        </p:spPr>
      </p:pic>
      <p:sp>
        <p:nvSpPr>
          <p:cNvPr id="4" name="Title 1">
            <a:extLst>
              <a:ext uri="{FF2B5EF4-FFF2-40B4-BE49-F238E27FC236}">
                <a16:creationId xmlns:a16="http://schemas.microsoft.com/office/drawing/2014/main" id="{F10C6FAC-B1F9-2A26-A1DF-B526121F516C}"/>
              </a:ext>
            </a:extLst>
          </p:cNvPr>
          <p:cNvSpPr txBox="1">
            <a:spLocks/>
          </p:cNvSpPr>
          <p:nvPr/>
        </p:nvSpPr>
        <p:spPr>
          <a:xfrm>
            <a:off x="179386" y="179386"/>
            <a:ext cx="11831641" cy="708714"/>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a:lstStyle>
          <a:p>
            <a:pPr>
              <a:tabLst>
                <a:tab pos="10028233" algn="l"/>
              </a:tabLst>
            </a:pPr>
            <a:r>
              <a:rPr lang="en-GB" b="1" cap="none" dirty="0">
                <a:latin typeface="Avenir Next LT Pro"/>
              </a:rPr>
              <a:t>Living Labs for Nature, People and Planet (2020-2023)</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7A65DED-7C13-84D7-15EB-7628B76C4C13}"/>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67A65DED-7C13-84D7-15EB-7628B76C4C13}"/>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sp>
        <p:nvSpPr>
          <p:cNvPr id="5" name="Rectangle 33">
            <a:extLst>
              <a:ext uri="{FF2B5EF4-FFF2-40B4-BE49-F238E27FC236}">
                <a16:creationId xmlns:a16="http://schemas.microsoft.com/office/drawing/2014/main" id="{AA2E68EC-8C9C-42D6-814D-B72DC0E67F5C}"/>
              </a:ext>
            </a:extLst>
          </p:cNvPr>
          <p:cNvSpPr/>
          <p:nvPr/>
        </p:nvSpPr>
        <p:spPr>
          <a:xfrm>
            <a:off x="6249201" y="2715246"/>
            <a:ext cx="5531790" cy="3293202"/>
          </a:xfrm>
          <a:prstGeom prst="rect">
            <a:avLst/>
          </a:prstGeom>
          <a:solidFill>
            <a:srgbClr val="FFFFFF"/>
          </a:solidFill>
          <a:ln w="12701" cap="flat">
            <a:solidFill>
              <a:srgbClr val="F7990F"/>
            </a:solidFill>
            <a:prstDash val="solid"/>
            <a:miter/>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1200" cap="none" spc="0" normalizeH="0" baseline="0" noProof="0">
              <a:ln>
                <a:noFill/>
              </a:ln>
              <a:solidFill>
                <a:srgbClr val="FFFFFF"/>
              </a:solidFill>
              <a:effectLst/>
              <a:uLnTx/>
              <a:uFillTx/>
              <a:latin typeface="Avenir Next LT Pro" pitchFamily="34"/>
              <a:ea typeface="+mn-ea"/>
              <a:cs typeface="Helvetica" pitchFamily="34"/>
            </a:endParaRPr>
          </a:p>
        </p:txBody>
      </p:sp>
      <p:sp>
        <p:nvSpPr>
          <p:cNvPr id="6" name="Rectangle: Top Corners Rounded 34">
            <a:extLst>
              <a:ext uri="{FF2B5EF4-FFF2-40B4-BE49-F238E27FC236}">
                <a16:creationId xmlns:a16="http://schemas.microsoft.com/office/drawing/2014/main" id="{E7453F98-F420-3C08-0A34-730AFEDE8EB8}"/>
              </a:ext>
            </a:extLst>
          </p:cNvPr>
          <p:cNvSpPr/>
          <p:nvPr/>
        </p:nvSpPr>
        <p:spPr>
          <a:xfrm>
            <a:off x="6249201" y="2632950"/>
            <a:ext cx="5531790" cy="82296"/>
          </a:xfrm>
          <a:custGeom>
            <a:avLst>
              <a:gd name="f9" fmla="val 50000"/>
              <a:gd name="f10" fmla="val 0"/>
            </a:avLst>
            <a:gdLst>
              <a:gd name="f2" fmla="val 10800000"/>
              <a:gd name="f3" fmla="val 5400000"/>
              <a:gd name="f4" fmla="val 16200000"/>
              <a:gd name="f5" fmla="val w"/>
              <a:gd name="f6" fmla="val h"/>
              <a:gd name="f7" fmla="val ss"/>
              <a:gd name="f8" fmla="val 0"/>
              <a:gd name="f9" fmla="val 50000"/>
              <a:gd name="f10" fmla="val 0"/>
              <a:gd name="f11" fmla="abs f5"/>
              <a:gd name="f12" fmla="abs f6"/>
              <a:gd name="f13" fmla="abs f7"/>
              <a:gd name="f14" fmla="val f8"/>
              <a:gd name="f15" fmla="val f9"/>
              <a:gd name="f16" fmla="val f10"/>
              <a:gd name="f17" fmla="?: f11 f5 1"/>
              <a:gd name="f18" fmla="?: f12 f6 1"/>
              <a:gd name="f19" fmla="?: f13 f7 1"/>
              <a:gd name="f20" fmla="*/ f17 1 21600"/>
              <a:gd name="f21" fmla="*/ f18 1 21600"/>
              <a:gd name="f22" fmla="*/ 21600 f17 1"/>
              <a:gd name="f23" fmla="*/ 21600 f18 1"/>
              <a:gd name="f24" fmla="min f21 f20"/>
              <a:gd name="f25" fmla="*/ f22 1 f19"/>
              <a:gd name="f26" fmla="*/ f23 1 f19"/>
              <a:gd name="f27" fmla="val f25"/>
              <a:gd name="f28" fmla="val f26"/>
              <a:gd name="f29" fmla="*/ f14 f24 1"/>
              <a:gd name="f30" fmla="+- f28 0 f14"/>
              <a:gd name="f31" fmla="+- f27 0 f14"/>
              <a:gd name="f32" fmla="*/ f27 f24 1"/>
              <a:gd name="f33" fmla="*/ f28 f24 1"/>
              <a:gd name="f34" fmla="min f31 f30"/>
              <a:gd name="f35" fmla="*/ f34 f15 1"/>
              <a:gd name="f36" fmla="*/ f34 f16 1"/>
              <a:gd name="f37" fmla="*/ f35 1 100000"/>
              <a:gd name="f38" fmla="*/ f36 1 100000"/>
              <a:gd name="f39" fmla="+- f27 0 f37"/>
              <a:gd name="f40" fmla="+- f28 0 f38"/>
              <a:gd name="f41" fmla="+- f37 0 f38"/>
              <a:gd name="f42" fmla="*/ f37 29289 1"/>
              <a:gd name="f43" fmla="*/ f38 29289 1"/>
              <a:gd name="f44" fmla="*/ f37 f24 1"/>
              <a:gd name="f45" fmla="*/ f38 f24 1"/>
              <a:gd name="f46" fmla="*/ f42 1 100000"/>
              <a:gd name="f47" fmla="*/ f43 1 100000"/>
              <a:gd name="f48" fmla="*/ f39 f24 1"/>
              <a:gd name="f49" fmla="*/ f40 f24 1"/>
              <a:gd name="f50" fmla="?: f41 f46 f47"/>
              <a:gd name="f51" fmla="+- f28 0 f47"/>
              <a:gd name="f52" fmla="*/ f46 f24 1"/>
              <a:gd name="f53" fmla="+- f27 0 f50"/>
              <a:gd name="f54" fmla="*/ f50 f24 1"/>
              <a:gd name="f55" fmla="*/ f51 f24 1"/>
              <a:gd name="f56" fmla="*/ f53 f24 1"/>
            </a:gdLst>
            <a:ahLst/>
            <a:cxnLst>
              <a:cxn ang="3cd4">
                <a:pos x="hc" y="t"/>
              </a:cxn>
              <a:cxn ang="0">
                <a:pos x="r" y="vc"/>
              </a:cxn>
              <a:cxn ang="cd4">
                <a:pos x="hc" y="b"/>
              </a:cxn>
              <a:cxn ang="cd2">
                <a:pos x="l" y="vc"/>
              </a:cxn>
            </a:cxnLst>
            <a:rect l="f54" t="f52" r="f56" b="f55"/>
            <a:pathLst>
              <a:path>
                <a:moveTo>
                  <a:pt x="f44" y="f29"/>
                </a:moveTo>
                <a:lnTo>
                  <a:pt x="f48" y="f29"/>
                </a:lnTo>
                <a:arcTo wR="f44" hR="f44" stAng="f4" swAng="f3"/>
                <a:lnTo>
                  <a:pt x="f32" y="f49"/>
                </a:lnTo>
                <a:arcTo wR="f45" hR="f45" stAng="f8" swAng="f3"/>
                <a:lnTo>
                  <a:pt x="f45" y="f33"/>
                </a:lnTo>
                <a:arcTo wR="f45" hR="f45" stAng="f3" swAng="f3"/>
                <a:lnTo>
                  <a:pt x="f29" y="f44"/>
                </a:lnTo>
                <a:arcTo wR="f44" hR="f44" stAng="f2" swAng="f3"/>
                <a:close/>
              </a:path>
            </a:pathLst>
          </a:custGeom>
          <a:solidFill>
            <a:srgbClr val="F7990F"/>
          </a:solidFill>
          <a:ln w="12701" cap="flat">
            <a:solidFill>
              <a:srgbClr val="F7990F"/>
            </a:solidFill>
            <a:prstDash val="solid"/>
            <a:miter/>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1200" cap="none" spc="0" normalizeH="0" baseline="0" noProof="0">
              <a:ln>
                <a:noFill/>
              </a:ln>
              <a:solidFill>
                <a:srgbClr val="FFFFFF"/>
              </a:solidFill>
              <a:effectLst/>
              <a:uLnTx/>
              <a:uFillTx/>
              <a:latin typeface="Avenir Next LT Pro" pitchFamily="34"/>
              <a:ea typeface="+mn-ea"/>
              <a:cs typeface="Helvetica" pitchFamily="34"/>
            </a:endParaRPr>
          </a:p>
        </p:txBody>
      </p:sp>
      <p:sp>
        <p:nvSpPr>
          <p:cNvPr id="7" name="Rectangle 35">
            <a:extLst>
              <a:ext uri="{FF2B5EF4-FFF2-40B4-BE49-F238E27FC236}">
                <a16:creationId xmlns:a16="http://schemas.microsoft.com/office/drawing/2014/main" id="{4D0EBB56-744C-6833-5929-AA73139CA00F}"/>
              </a:ext>
            </a:extLst>
          </p:cNvPr>
          <p:cNvSpPr/>
          <p:nvPr/>
        </p:nvSpPr>
        <p:spPr>
          <a:xfrm>
            <a:off x="6249201" y="6008449"/>
            <a:ext cx="5531790" cy="35999"/>
          </a:xfrm>
          <a:prstGeom prst="rect">
            <a:avLst/>
          </a:prstGeom>
          <a:solidFill>
            <a:srgbClr val="F7990F"/>
          </a:solidFill>
          <a:ln w="12701" cap="flat">
            <a:solidFill>
              <a:srgbClr val="F7990F"/>
            </a:solidFill>
            <a:prstDash val="solid"/>
            <a:miter/>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1200" cap="none" spc="0" normalizeH="0" baseline="0" noProof="0">
              <a:ln>
                <a:noFill/>
              </a:ln>
              <a:solidFill>
                <a:srgbClr val="FFFFFF"/>
              </a:solidFill>
              <a:effectLst/>
              <a:uLnTx/>
              <a:uFillTx/>
              <a:latin typeface="Avenir Next LT Pro" pitchFamily="34"/>
              <a:ea typeface="+mn-ea"/>
              <a:cs typeface="Helvetica" pitchFamily="34"/>
            </a:endParaRPr>
          </a:p>
        </p:txBody>
      </p:sp>
      <p:grpSp>
        <p:nvGrpSpPr>
          <p:cNvPr id="8" name="Group 32">
            <a:extLst>
              <a:ext uri="{FF2B5EF4-FFF2-40B4-BE49-F238E27FC236}">
                <a16:creationId xmlns:a16="http://schemas.microsoft.com/office/drawing/2014/main" id="{A01086E6-F296-20C1-633A-F7C385AB2CB2}"/>
              </a:ext>
            </a:extLst>
          </p:cNvPr>
          <p:cNvGrpSpPr/>
          <p:nvPr/>
        </p:nvGrpSpPr>
        <p:grpSpPr>
          <a:xfrm>
            <a:off x="411013" y="2632950"/>
            <a:ext cx="5684989" cy="3411498"/>
            <a:chOff x="411013" y="2632950"/>
            <a:chExt cx="5684989" cy="3411498"/>
          </a:xfrm>
        </p:grpSpPr>
        <p:sp>
          <p:nvSpPr>
            <p:cNvPr id="9" name="Arrow: Pentagon 28">
              <a:extLst>
                <a:ext uri="{FF2B5EF4-FFF2-40B4-BE49-F238E27FC236}">
                  <a16:creationId xmlns:a16="http://schemas.microsoft.com/office/drawing/2014/main" id="{C8EFEEAD-28B4-B6C5-58B4-A051814E6B78}"/>
                </a:ext>
              </a:extLst>
            </p:cNvPr>
            <p:cNvSpPr/>
            <p:nvPr/>
          </p:nvSpPr>
          <p:spPr>
            <a:xfrm>
              <a:off x="642704" y="2905615"/>
              <a:ext cx="5453298" cy="2866168"/>
            </a:xfrm>
            <a:custGeom>
              <a:avLst>
                <a:gd name="f8" fmla="val 20601"/>
              </a:avLst>
              <a:gdLst>
                <a:gd name="f1" fmla="val 10800000"/>
                <a:gd name="f2" fmla="val 5400000"/>
                <a:gd name="f3" fmla="val 180"/>
                <a:gd name="f4" fmla="val w"/>
                <a:gd name="f5" fmla="val h"/>
                <a:gd name="f6" fmla="val ss"/>
                <a:gd name="f7" fmla="val 0"/>
                <a:gd name="f8" fmla="val 20601"/>
                <a:gd name="f9" fmla="+- 0 0 -360"/>
                <a:gd name="f10" fmla="+- 0 0 -180"/>
                <a:gd name="f11" fmla="abs f4"/>
                <a:gd name="f12" fmla="abs f5"/>
                <a:gd name="f13" fmla="abs f6"/>
                <a:gd name="f14" fmla="val f7"/>
                <a:gd name="f15" fmla="val f8"/>
                <a:gd name="f16" fmla="*/ f9 f1 1"/>
                <a:gd name="f17" fmla="*/ f10 f1 1"/>
                <a:gd name="f18" fmla="?: f11 f4 1"/>
                <a:gd name="f19" fmla="?: f12 f5 1"/>
                <a:gd name="f20" fmla="?: f13 f6 1"/>
                <a:gd name="f21" fmla="*/ f16 1 f3"/>
                <a:gd name="f22" fmla="*/ f17 1 f3"/>
                <a:gd name="f23" fmla="*/ f18 1 21600"/>
                <a:gd name="f24" fmla="*/ f19 1 21600"/>
                <a:gd name="f25" fmla="*/ 21600 f18 1"/>
                <a:gd name="f26" fmla="*/ 21600 f19 1"/>
                <a:gd name="f27" fmla="+- f21 0 f2"/>
                <a:gd name="f28" fmla="+- f22 0 f2"/>
                <a:gd name="f29" fmla="min f24 f23"/>
                <a:gd name="f30" fmla="*/ f25 1 f20"/>
                <a:gd name="f31" fmla="*/ f26 1 f20"/>
                <a:gd name="f32" fmla="val f30"/>
                <a:gd name="f33" fmla="val f31"/>
                <a:gd name="f34" fmla="*/ f14 f29 1"/>
                <a:gd name="f35" fmla="+- f33 0 f14"/>
                <a:gd name="f36" fmla="+- f32 0 f14"/>
                <a:gd name="f37" fmla="*/ f33 f29 1"/>
                <a:gd name="f38" fmla="*/ f32 f29 1"/>
                <a:gd name="f39" fmla="*/ f35 1 2"/>
                <a:gd name="f40" fmla="min f36 f35"/>
                <a:gd name="f41" fmla="+- f14 f39 0"/>
                <a:gd name="f42" fmla="*/ f40 f15 1"/>
                <a:gd name="f43" fmla="*/ f42 1 100000"/>
                <a:gd name="f44" fmla="*/ f41 f29 1"/>
                <a:gd name="f45" fmla="+- f32 0 f43"/>
                <a:gd name="f46" fmla="+- f45 f32 0"/>
                <a:gd name="f47" fmla="*/ f45 1 2"/>
                <a:gd name="f48" fmla="*/ f45 f29 1"/>
                <a:gd name="f49" fmla="*/ f46 1 2"/>
                <a:gd name="f50" fmla="*/ f47 f29 1"/>
                <a:gd name="f51" fmla="*/ f49 f29 1"/>
              </a:gdLst>
              <a:ahLst/>
              <a:cxnLst>
                <a:cxn ang="3cd4">
                  <a:pos x="hc" y="t"/>
                </a:cxn>
                <a:cxn ang="0">
                  <a:pos x="r" y="vc"/>
                </a:cxn>
                <a:cxn ang="cd4">
                  <a:pos x="hc" y="b"/>
                </a:cxn>
                <a:cxn ang="cd2">
                  <a:pos x="l" y="vc"/>
                </a:cxn>
                <a:cxn ang="f27">
                  <a:pos x="f50" y="f34"/>
                </a:cxn>
                <a:cxn ang="f28">
                  <a:pos x="f50" y="f37"/>
                </a:cxn>
              </a:cxnLst>
              <a:rect l="f34" t="f34" r="f51" b="f37"/>
              <a:pathLst>
                <a:path>
                  <a:moveTo>
                    <a:pt x="f34" y="f34"/>
                  </a:moveTo>
                  <a:lnTo>
                    <a:pt x="f48" y="f34"/>
                  </a:lnTo>
                  <a:lnTo>
                    <a:pt x="f38" y="f44"/>
                  </a:lnTo>
                  <a:lnTo>
                    <a:pt x="f48" y="f37"/>
                  </a:lnTo>
                  <a:lnTo>
                    <a:pt x="f34" y="f37"/>
                  </a:lnTo>
                  <a:close/>
                </a:path>
              </a:pathLst>
            </a:custGeom>
            <a:solidFill>
              <a:srgbClr val="7F7F7F"/>
            </a:solidFill>
            <a:ln w="6345" cap="flat">
              <a:solidFill>
                <a:srgbClr val="7F7F7F"/>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1" i="0" u="none" strike="noStrike" kern="1200" cap="none" spc="0" normalizeH="0" baseline="0" noProof="0">
                <a:ln>
                  <a:noFill/>
                </a:ln>
                <a:solidFill>
                  <a:srgbClr val="FFFFFF"/>
                </a:solidFill>
                <a:effectLst/>
                <a:uLnTx/>
                <a:uFillTx/>
                <a:latin typeface="Avenir Next LT Pro" pitchFamily="34"/>
                <a:ea typeface="+mn-ea"/>
                <a:cs typeface="Helvetica" pitchFamily="34"/>
              </a:endParaRPr>
            </a:p>
          </p:txBody>
        </p:sp>
        <p:sp>
          <p:nvSpPr>
            <p:cNvPr id="10" name="Arrow: Pentagon 30">
              <a:extLst>
                <a:ext uri="{FF2B5EF4-FFF2-40B4-BE49-F238E27FC236}">
                  <a16:creationId xmlns:a16="http://schemas.microsoft.com/office/drawing/2014/main" id="{B94C68BC-5AC0-7794-FEDE-B8B8C37BDFB0}"/>
                </a:ext>
              </a:extLst>
            </p:cNvPr>
            <p:cNvSpPr/>
            <p:nvPr/>
          </p:nvSpPr>
          <p:spPr>
            <a:xfrm>
              <a:off x="411013" y="2632950"/>
              <a:ext cx="5453298" cy="3411498"/>
            </a:xfrm>
            <a:custGeom>
              <a:avLst>
                <a:gd name="f8" fmla="val 20601"/>
              </a:avLst>
              <a:gdLst>
                <a:gd name="f1" fmla="val 10800000"/>
                <a:gd name="f2" fmla="val 5400000"/>
                <a:gd name="f3" fmla="val 180"/>
                <a:gd name="f4" fmla="val w"/>
                <a:gd name="f5" fmla="val h"/>
                <a:gd name="f6" fmla="val ss"/>
                <a:gd name="f7" fmla="val 0"/>
                <a:gd name="f8" fmla="val 20601"/>
                <a:gd name="f9" fmla="+- 0 0 -360"/>
                <a:gd name="f10" fmla="+- 0 0 -180"/>
                <a:gd name="f11" fmla="abs f4"/>
                <a:gd name="f12" fmla="abs f5"/>
                <a:gd name="f13" fmla="abs f6"/>
                <a:gd name="f14" fmla="val f7"/>
                <a:gd name="f15" fmla="val f8"/>
                <a:gd name="f16" fmla="*/ f9 f1 1"/>
                <a:gd name="f17" fmla="*/ f10 f1 1"/>
                <a:gd name="f18" fmla="?: f11 f4 1"/>
                <a:gd name="f19" fmla="?: f12 f5 1"/>
                <a:gd name="f20" fmla="?: f13 f6 1"/>
                <a:gd name="f21" fmla="*/ f16 1 f3"/>
                <a:gd name="f22" fmla="*/ f17 1 f3"/>
                <a:gd name="f23" fmla="*/ f18 1 21600"/>
                <a:gd name="f24" fmla="*/ f19 1 21600"/>
                <a:gd name="f25" fmla="*/ 21600 f18 1"/>
                <a:gd name="f26" fmla="*/ 21600 f19 1"/>
                <a:gd name="f27" fmla="+- f21 0 f2"/>
                <a:gd name="f28" fmla="+- f22 0 f2"/>
                <a:gd name="f29" fmla="min f24 f23"/>
                <a:gd name="f30" fmla="*/ f25 1 f20"/>
                <a:gd name="f31" fmla="*/ f26 1 f20"/>
                <a:gd name="f32" fmla="val f30"/>
                <a:gd name="f33" fmla="val f31"/>
                <a:gd name="f34" fmla="*/ f14 f29 1"/>
                <a:gd name="f35" fmla="+- f33 0 f14"/>
                <a:gd name="f36" fmla="+- f32 0 f14"/>
                <a:gd name="f37" fmla="*/ f33 f29 1"/>
                <a:gd name="f38" fmla="*/ f32 f29 1"/>
                <a:gd name="f39" fmla="*/ f35 1 2"/>
                <a:gd name="f40" fmla="min f36 f35"/>
                <a:gd name="f41" fmla="+- f14 f39 0"/>
                <a:gd name="f42" fmla="*/ f40 f15 1"/>
                <a:gd name="f43" fmla="*/ f42 1 100000"/>
                <a:gd name="f44" fmla="*/ f41 f29 1"/>
                <a:gd name="f45" fmla="+- f32 0 f43"/>
                <a:gd name="f46" fmla="+- f45 f32 0"/>
                <a:gd name="f47" fmla="*/ f45 1 2"/>
                <a:gd name="f48" fmla="*/ f45 f29 1"/>
                <a:gd name="f49" fmla="*/ f46 1 2"/>
                <a:gd name="f50" fmla="*/ f47 f29 1"/>
                <a:gd name="f51" fmla="*/ f49 f29 1"/>
              </a:gdLst>
              <a:ahLst/>
              <a:cxnLst>
                <a:cxn ang="3cd4">
                  <a:pos x="hc" y="t"/>
                </a:cxn>
                <a:cxn ang="0">
                  <a:pos x="r" y="vc"/>
                </a:cxn>
                <a:cxn ang="cd4">
                  <a:pos x="hc" y="b"/>
                </a:cxn>
                <a:cxn ang="cd2">
                  <a:pos x="l" y="vc"/>
                </a:cxn>
                <a:cxn ang="f27">
                  <a:pos x="f50" y="f34"/>
                </a:cxn>
                <a:cxn ang="f28">
                  <a:pos x="f50" y="f37"/>
                </a:cxn>
              </a:cxnLst>
              <a:rect l="f34" t="f34" r="f51" b="f37"/>
              <a:pathLst>
                <a:path>
                  <a:moveTo>
                    <a:pt x="f34" y="f34"/>
                  </a:moveTo>
                  <a:lnTo>
                    <a:pt x="f48" y="f34"/>
                  </a:lnTo>
                  <a:lnTo>
                    <a:pt x="f38" y="f44"/>
                  </a:lnTo>
                  <a:lnTo>
                    <a:pt x="f48" y="f37"/>
                  </a:lnTo>
                  <a:lnTo>
                    <a:pt x="f34" y="f37"/>
                  </a:lnTo>
                  <a:close/>
                </a:path>
              </a:pathLst>
            </a:custGeom>
            <a:solidFill>
              <a:srgbClr val="BCBCBC"/>
            </a:solidFill>
            <a:ln w="6345" cap="flat">
              <a:solidFill>
                <a:srgbClr val="BCBCBC"/>
              </a:solidFill>
              <a:prstDash val="solid"/>
              <a:miter/>
            </a:ln>
          </p:spPr>
          <p:txBody>
            <a:bodyPr vert="horz" wrap="square" lIns="91440" tIns="45720" rIns="251999"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1" i="0" u="none" strike="noStrike" kern="1200" cap="none" spc="0" normalizeH="0" baseline="0" noProof="0">
                <a:ln>
                  <a:noFill/>
                </a:ln>
                <a:solidFill>
                  <a:srgbClr val="FFFFFF"/>
                </a:solidFill>
                <a:effectLst/>
                <a:uLnTx/>
                <a:uFillTx/>
                <a:latin typeface="Avenir Next LT Pro" pitchFamily="34"/>
                <a:ea typeface="+mn-ea"/>
                <a:cs typeface="Helvetica" pitchFamily="34"/>
              </a:endParaRPr>
            </a:p>
          </p:txBody>
        </p:sp>
      </p:grpSp>
      <p:sp>
        <p:nvSpPr>
          <p:cNvPr id="11" name="Rectangle: Rounded Corners 12">
            <a:extLst>
              <a:ext uri="{FF2B5EF4-FFF2-40B4-BE49-F238E27FC236}">
                <a16:creationId xmlns:a16="http://schemas.microsoft.com/office/drawing/2014/main" id="{47C81BCD-3EE1-89FF-A9B4-E33FE491988B}"/>
              </a:ext>
            </a:extLst>
          </p:cNvPr>
          <p:cNvSpPr/>
          <p:nvPr/>
        </p:nvSpPr>
        <p:spPr>
          <a:xfrm>
            <a:off x="411013" y="1074008"/>
            <a:ext cx="11369969" cy="1314742"/>
          </a:xfrm>
          <a:custGeom>
            <a:avLst>
              <a:gd name="f0" fmla="val 108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rgbClr val="ECECEC"/>
          </a:solidFill>
          <a:ln w="12701" cap="flat">
            <a:solidFill>
              <a:srgbClr val="ECECEC"/>
            </a:solidFill>
            <a:prstDash val="solid"/>
            <a:miter/>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1200" cap="none" spc="0" normalizeH="0" baseline="0" noProof="0">
              <a:ln>
                <a:noFill/>
              </a:ln>
              <a:solidFill>
                <a:srgbClr val="FFFFFF"/>
              </a:solidFill>
              <a:effectLst/>
              <a:uLnTx/>
              <a:uFillTx/>
              <a:latin typeface="Avenir Next LT Pro" pitchFamily="34"/>
              <a:ea typeface="+mn-ea"/>
              <a:cs typeface="Helvetica" pitchFamily="34"/>
            </a:endParaRPr>
          </a:p>
        </p:txBody>
      </p:sp>
      <p:pic>
        <p:nvPicPr>
          <p:cNvPr id="12" name="Graphic 14" descr="Bullseye outline">
            <a:extLst>
              <a:ext uri="{FF2B5EF4-FFF2-40B4-BE49-F238E27FC236}">
                <a16:creationId xmlns:a16="http://schemas.microsoft.com/office/drawing/2014/main" id="{CE1B678E-2AFF-FA86-07C2-71170DFFB9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7626" y="1316306"/>
            <a:ext cx="830147" cy="830147"/>
          </a:xfrm>
          <a:prstGeom prst="rect">
            <a:avLst/>
          </a:prstGeom>
          <a:noFill/>
          <a:ln>
            <a:noFill/>
          </a:ln>
        </p:spPr>
      </p:pic>
      <p:sp>
        <p:nvSpPr>
          <p:cNvPr id="13" name="TextBox 23">
            <a:extLst>
              <a:ext uri="{FF2B5EF4-FFF2-40B4-BE49-F238E27FC236}">
                <a16:creationId xmlns:a16="http://schemas.microsoft.com/office/drawing/2014/main" id="{67F4FC63-CB5B-716D-6B80-1352243F4898}"/>
              </a:ext>
            </a:extLst>
          </p:cNvPr>
          <p:cNvSpPr txBox="1"/>
          <p:nvPr/>
        </p:nvSpPr>
        <p:spPr>
          <a:xfrm>
            <a:off x="1707285" y="1315876"/>
            <a:ext cx="9777084" cy="830997"/>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sz="1800" b="0" i="0" u="none" strike="noStrike" kern="0" cap="none" spc="0" baseline="0">
                <a:solidFill>
                  <a:srgbClr val="000000"/>
                </a:solidFill>
                <a:uFillTx/>
              </a:defRPr>
            </a:pPr>
            <a:r>
              <a:rPr kumimoji="0" lang="en-US" sz="1800" b="1" i="0" u="none" strike="noStrike" kern="1200" cap="none" spc="0" normalizeH="0" baseline="0" noProof="0">
                <a:ln>
                  <a:noFill/>
                </a:ln>
                <a:solidFill>
                  <a:srgbClr val="000000"/>
                </a:solidFill>
                <a:effectLst/>
                <a:uLnTx/>
                <a:uFillTx/>
                <a:latin typeface="Avenir Next LT Pro" pitchFamily="34"/>
                <a:ea typeface="+mn-ea"/>
                <a:cs typeface="Helvetica" pitchFamily="34"/>
              </a:rPr>
              <a:t>Creating blueprints in two types of regenerative landscapes: (i) aiming to </a:t>
            </a:r>
            <a:r>
              <a:rPr kumimoji="0" lang="en-US" sz="1800" b="1" i="1" u="sng" strike="noStrike" kern="1200" cap="none" spc="0" normalizeH="0" baseline="0" noProof="0">
                <a:ln>
                  <a:noFill/>
                </a:ln>
                <a:solidFill>
                  <a:srgbClr val="000000"/>
                </a:solidFill>
                <a:effectLst/>
                <a:uLnTx/>
                <a:uFillTx/>
                <a:latin typeface="Avenir Next LT Pro" pitchFamily="34"/>
                <a:ea typeface="+mn-ea"/>
                <a:cs typeface="Helvetica" pitchFamily="34"/>
              </a:rPr>
              <a:t>protect areas </a:t>
            </a:r>
            <a:r>
              <a:rPr kumimoji="0" lang="en-US" sz="1800" b="1" i="0" u="none" strike="noStrike" kern="1200" cap="none" spc="0" normalizeH="0" baseline="0" noProof="0">
                <a:ln>
                  <a:noFill/>
                </a:ln>
                <a:solidFill>
                  <a:srgbClr val="000000"/>
                </a:solidFill>
                <a:effectLst/>
                <a:uLnTx/>
                <a:uFillTx/>
                <a:latin typeface="Avenir Next LT Pro" pitchFamily="34"/>
                <a:ea typeface="+mn-ea"/>
                <a:cs typeface="Helvetica" pitchFamily="34"/>
              </a:rPr>
              <a:t>of intact forest, and/or (ii) aiming to </a:t>
            </a:r>
            <a:r>
              <a:rPr kumimoji="0" lang="en-US" sz="1800" b="1" i="1" u="sng" strike="noStrike" kern="1200" cap="none" spc="0" normalizeH="0" baseline="0" noProof="0">
                <a:ln>
                  <a:noFill/>
                </a:ln>
                <a:solidFill>
                  <a:srgbClr val="000000"/>
                </a:solidFill>
                <a:effectLst/>
                <a:uLnTx/>
                <a:uFillTx/>
                <a:latin typeface="Avenir Next LT Pro" pitchFamily="34"/>
                <a:ea typeface="+mn-ea"/>
                <a:cs typeface="Helvetica" pitchFamily="34"/>
              </a:rPr>
              <a:t>restore and sustainably manage natural and semi-natural areas</a:t>
            </a:r>
            <a:r>
              <a:rPr kumimoji="0" lang="en-US" sz="1800" b="1" i="0" u="none" strike="noStrike" kern="1200" cap="none" spc="0" normalizeH="0" baseline="0" noProof="0">
                <a:ln>
                  <a:noFill/>
                </a:ln>
                <a:solidFill>
                  <a:srgbClr val="000000"/>
                </a:solidFill>
                <a:effectLst/>
                <a:uLnTx/>
                <a:uFillTx/>
                <a:latin typeface="Avenir Next LT Pro" pitchFamily="34"/>
                <a:ea typeface="+mn-ea"/>
                <a:cs typeface="Helvetica" pitchFamily="34"/>
              </a:rPr>
              <a:t> that have been degraded by extractive practices</a:t>
            </a:r>
          </a:p>
        </p:txBody>
      </p:sp>
      <p:sp>
        <p:nvSpPr>
          <p:cNvPr id="14" name="TextBox 19">
            <a:extLst>
              <a:ext uri="{FF2B5EF4-FFF2-40B4-BE49-F238E27FC236}">
                <a16:creationId xmlns:a16="http://schemas.microsoft.com/office/drawing/2014/main" id="{9E01DDAB-9F1F-8DF3-06E1-9BC9FB7AE6B4}"/>
              </a:ext>
            </a:extLst>
          </p:cNvPr>
          <p:cNvSpPr txBox="1"/>
          <p:nvPr/>
        </p:nvSpPr>
        <p:spPr>
          <a:xfrm>
            <a:off x="835148" y="4075672"/>
            <a:ext cx="4040312" cy="923333"/>
          </a:xfrm>
          <a:prstGeom prst="rect">
            <a:avLst/>
          </a:prstGeom>
          <a:noFill/>
          <a:ln>
            <a:noFill/>
          </a:ln>
        </p:spPr>
        <p:txBody>
          <a:bodyPr vert="horz" wrap="square" lIns="0" tIns="0" rIns="0" bIns="0" anchor="t" anchorCtr="1" compatLnSpc="1">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sz="1800" b="0" i="0" u="none" strike="noStrike" kern="0" cap="none" spc="0" baseline="0">
                <a:solidFill>
                  <a:srgbClr val="000000"/>
                </a:solidFill>
                <a:uFillTx/>
              </a:defRPr>
            </a:pPr>
            <a:r>
              <a:rPr kumimoji="0" lang="en-US" sz="2000" b="1" i="0" u="none" strike="noStrike" kern="1200" cap="none" spc="0" normalizeH="0" baseline="0" noProof="0" dirty="0">
                <a:ln>
                  <a:noFill/>
                </a:ln>
                <a:solidFill>
                  <a:srgbClr val="000000"/>
                </a:solidFill>
                <a:effectLst/>
                <a:uLnTx/>
                <a:uFillTx/>
                <a:latin typeface="Avenir Next LT Pro" pitchFamily="34"/>
                <a:ea typeface="+mn-ea"/>
                <a:cs typeface="Helvetica" pitchFamily="34"/>
              </a:rPr>
              <a:t>Nature-based Solutions</a:t>
            </a:r>
            <a:r>
              <a:rPr kumimoji="0" lang="en-US" sz="2000" b="0" i="0" u="none" strike="noStrike" kern="1200" cap="none" spc="0" normalizeH="0" baseline="0" noProof="0" dirty="0">
                <a:ln>
                  <a:noFill/>
                </a:ln>
                <a:solidFill>
                  <a:srgbClr val="000000"/>
                </a:solidFill>
                <a:effectLst/>
                <a:uLnTx/>
                <a:uFillTx/>
                <a:latin typeface="Avenir Next LT Pro" pitchFamily="34"/>
                <a:ea typeface="+mn-ea"/>
                <a:cs typeface="Helvetica" pitchFamily="34"/>
              </a:rPr>
              <a:t> (</a:t>
            </a:r>
            <a:r>
              <a:rPr kumimoji="0" lang="en-US" sz="2000" b="0" i="0" u="none" strike="noStrike" kern="1200" cap="none" spc="0" normalizeH="0" baseline="0" noProof="0" dirty="0" err="1">
                <a:ln>
                  <a:noFill/>
                </a:ln>
                <a:solidFill>
                  <a:srgbClr val="000000"/>
                </a:solidFill>
                <a:effectLst/>
                <a:uLnTx/>
                <a:uFillTx/>
                <a:latin typeface="Avenir Next LT Pro" pitchFamily="34"/>
                <a:ea typeface="+mn-ea"/>
                <a:cs typeface="Helvetica" pitchFamily="34"/>
              </a:rPr>
              <a:t>NbS</a:t>
            </a:r>
            <a:r>
              <a:rPr kumimoji="0" lang="en-US" sz="2000" b="0" i="0" u="none" strike="noStrike" kern="1200" cap="none" spc="0" normalizeH="0" baseline="0" noProof="0" dirty="0">
                <a:ln>
                  <a:noFill/>
                </a:ln>
                <a:solidFill>
                  <a:srgbClr val="000000"/>
                </a:solidFill>
                <a:effectLst/>
                <a:uLnTx/>
                <a:uFillTx/>
                <a:latin typeface="Avenir Next LT Pro" pitchFamily="34"/>
                <a:ea typeface="+mn-ea"/>
                <a:cs typeface="Helvetica" pitchFamily="34"/>
              </a:rPr>
              <a:t>) that rely on forests, trees and agroforestry systems </a:t>
            </a:r>
          </a:p>
        </p:txBody>
      </p:sp>
      <p:sp>
        <p:nvSpPr>
          <p:cNvPr id="15" name="TextBox 21">
            <a:extLst>
              <a:ext uri="{FF2B5EF4-FFF2-40B4-BE49-F238E27FC236}">
                <a16:creationId xmlns:a16="http://schemas.microsoft.com/office/drawing/2014/main" id="{8A75B009-B916-2E0B-DE95-5D94A777D96B}"/>
              </a:ext>
            </a:extLst>
          </p:cNvPr>
          <p:cNvSpPr txBox="1"/>
          <p:nvPr/>
        </p:nvSpPr>
        <p:spPr>
          <a:xfrm>
            <a:off x="6526520" y="4075672"/>
            <a:ext cx="4977143" cy="1538880"/>
          </a:xfrm>
          <a:prstGeom prst="rect">
            <a:avLst/>
          </a:prstGeom>
          <a:noFill/>
          <a:ln>
            <a:noFill/>
          </a:ln>
        </p:spPr>
        <p:txBody>
          <a:bodyPr vert="horz" wrap="square" lIns="0" tIns="0" rIns="0" bIns="0" anchor="t" anchorCtr="1" compatLnSpc="1">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sz="1800" b="0" i="0" u="none" strike="noStrike" kern="0" cap="none" spc="0" baseline="0">
                <a:solidFill>
                  <a:srgbClr val="000000"/>
                </a:solidFill>
                <a:uFillTx/>
              </a:defRPr>
            </a:pPr>
            <a:r>
              <a:rPr kumimoji="0" lang="en-US" sz="2000" b="0" i="0" u="none" strike="noStrike" kern="1200" cap="none" spc="0" normalizeH="0" baseline="0" noProof="0" dirty="0">
                <a:ln>
                  <a:noFill/>
                </a:ln>
                <a:solidFill>
                  <a:srgbClr val="000000"/>
                </a:solidFill>
                <a:effectLst/>
                <a:uLnTx/>
                <a:uFillTx/>
                <a:latin typeface="Avenir Next LT Pro" pitchFamily="34"/>
                <a:ea typeface="+mn-ea"/>
                <a:cs typeface="Helvetica" pitchFamily="34"/>
              </a:rPr>
              <a:t>Generating </a:t>
            </a:r>
            <a:r>
              <a:rPr kumimoji="0" lang="en-US" sz="2000" b="1" i="0" u="none" strike="noStrike" kern="1200" cap="none" spc="0" normalizeH="0" baseline="0" noProof="0" dirty="0">
                <a:ln>
                  <a:noFill/>
                </a:ln>
                <a:solidFill>
                  <a:srgbClr val="000000"/>
                </a:solidFill>
                <a:effectLst/>
                <a:uLnTx/>
                <a:uFillTx/>
                <a:latin typeface="Avenir Next LT Pro" pitchFamily="34"/>
                <a:ea typeface="+mn-ea"/>
                <a:cs typeface="Helvetica" pitchFamily="34"/>
              </a:rPr>
              <a:t>ecosystem services</a:t>
            </a:r>
            <a:r>
              <a:rPr kumimoji="0" lang="en-US" sz="2000" b="0" i="0" u="none" strike="noStrike" kern="1200" cap="none" spc="0" normalizeH="0" baseline="0" noProof="0" dirty="0">
                <a:ln>
                  <a:noFill/>
                </a:ln>
                <a:solidFill>
                  <a:srgbClr val="000000"/>
                </a:solidFill>
                <a:effectLst/>
                <a:uLnTx/>
                <a:uFillTx/>
                <a:latin typeface="Avenir Next LT Pro" pitchFamily="34"/>
                <a:ea typeface="+mn-ea"/>
                <a:cs typeface="Helvetica" pitchFamily="34"/>
              </a:rPr>
              <a:t> as basis for nature-positive value chains (food, </a:t>
            </a:r>
            <a:r>
              <a:rPr kumimoji="0" lang="en-GB" sz="2000" b="0" i="0" u="none" strike="noStrike" kern="1200" cap="none" spc="0" normalizeH="0" baseline="0" noProof="0" dirty="0">
                <a:ln>
                  <a:noFill/>
                </a:ln>
                <a:solidFill>
                  <a:srgbClr val="000000"/>
                </a:solidFill>
                <a:effectLst/>
                <a:uLnTx/>
                <a:uFillTx/>
                <a:latin typeface="Avenir Next LT Pro" pitchFamily="34"/>
                <a:ea typeface="+mn-ea"/>
                <a:cs typeface="Helvetica" pitchFamily="34"/>
              </a:rPr>
              <a:t>fibre</a:t>
            </a:r>
            <a:r>
              <a:rPr kumimoji="0" lang="en-US" sz="2000" b="0" i="0" u="none" strike="noStrike" kern="1200" cap="none" spc="0" normalizeH="0" baseline="0" noProof="0" dirty="0">
                <a:ln>
                  <a:noFill/>
                </a:ln>
                <a:solidFill>
                  <a:srgbClr val="000000"/>
                </a:solidFill>
                <a:effectLst/>
                <a:uLnTx/>
                <a:uFillTx/>
                <a:latin typeface="Avenir Next LT Pro" pitchFamily="34"/>
                <a:ea typeface="+mn-ea"/>
                <a:cs typeface="Helvetica" pitchFamily="34"/>
              </a:rPr>
              <a:t>, energy, medicines, carbon sequestration, water, etc.) while </a:t>
            </a:r>
            <a:r>
              <a:rPr kumimoji="0" lang="en-US" sz="2000" b="1" i="0" u="none" strike="noStrike" kern="1200" cap="none" spc="0" normalizeH="0" baseline="0" noProof="0" dirty="0">
                <a:ln>
                  <a:noFill/>
                </a:ln>
                <a:solidFill>
                  <a:srgbClr val="000000"/>
                </a:solidFill>
                <a:effectLst/>
                <a:uLnTx/>
                <a:uFillTx/>
                <a:latin typeface="Avenir Next LT Pro" pitchFamily="34"/>
                <a:ea typeface="+mn-ea"/>
                <a:cs typeface="Helvetica" pitchFamily="34"/>
              </a:rPr>
              <a:t>enhancing biodiversity</a:t>
            </a:r>
            <a:endParaRPr kumimoji="0" lang="en-US" sz="2000" b="0" i="0" u="none" strike="noStrike" kern="1200" cap="none" spc="0" normalizeH="0" baseline="0" noProof="0" dirty="0">
              <a:ln>
                <a:noFill/>
              </a:ln>
              <a:solidFill>
                <a:srgbClr val="000000"/>
              </a:solidFill>
              <a:effectLst/>
              <a:uLnTx/>
              <a:uFillTx/>
              <a:latin typeface="Avenir Next LT Pro" pitchFamily="34"/>
              <a:ea typeface="+mn-ea"/>
              <a:cs typeface="Helvetica" pitchFamily="34"/>
            </a:endParaRPr>
          </a:p>
        </p:txBody>
      </p:sp>
      <p:pic>
        <p:nvPicPr>
          <p:cNvPr id="16" name="Picture 47" descr="A screenshot of a mobile app&#10;&#10;Description automatically generated">
            <a:extLst>
              <a:ext uri="{FF2B5EF4-FFF2-40B4-BE49-F238E27FC236}">
                <a16:creationId xmlns:a16="http://schemas.microsoft.com/office/drawing/2014/main" id="{A2A01DB2-A900-52A7-5C2E-0E301C4ACC46}"/>
              </a:ext>
            </a:extLst>
          </p:cNvPr>
          <p:cNvPicPr>
            <a:picLocks noChangeAspect="1"/>
          </p:cNvPicPr>
          <p:nvPr/>
        </p:nvPicPr>
        <p:blipFill>
          <a:blip r:embed="rId7"/>
          <a:srcRect l="61357" t="78157" r="26349" b="11340"/>
          <a:stretch>
            <a:fillRect/>
          </a:stretch>
        </p:blipFill>
        <p:spPr>
          <a:xfrm>
            <a:off x="2410559" y="3154551"/>
            <a:ext cx="889482" cy="885120"/>
          </a:xfrm>
          <a:prstGeom prst="rect">
            <a:avLst/>
          </a:prstGeom>
          <a:noFill/>
          <a:ln>
            <a:noFill/>
          </a:ln>
        </p:spPr>
      </p:pic>
      <p:pic>
        <p:nvPicPr>
          <p:cNvPr id="17" name="Picture 48" descr="A screenshot of a mobile app&#10;&#10;Description automatically generated">
            <a:extLst>
              <a:ext uri="{FF2B5EF4-FFF2-40B4-BE49-F238E27FC236}">
                <a16:creationId xmlns:a16="http://schemas.microsoft.com/office/drawing/2014/main" id="{36C077E2-6281-F88E-9A63-9069518C11BF}"/>
              </a:ext>
            </a:extLst>
          </p:cNvPr>
          <p:cNvPicPr>
            <a:picLocks noChangeAspect="1"/>
          </p:cNvPicPr>
          <p:nvPr/>
        </p:nvPicPr>
        <p:blipFill>
          <a:blip r:embed="rId7"/>
          <a:srcRect l="61357" t="32564" r="26349" b="56933"/>
          <a:stretch>
            <a:fillRect/>
          </a:stretch>
        </p:blipFill>
        <p:spPr>
          <a:xfrm>
            <a:off x="8570351" y="3154551"/>
            <a:ext cx="889482" cy="885120"/>
          </a:xfrm>
          <a:prstGeom prst="rect">
            <a:avLst/>
          </a:prstGeom>
          <a:noFill/>
          <a:ln>
            <a:noFill/>
          </a:ln>
        </p:spPr>
      </p:pic>
      <p:sp>
        <p:nvSpPr>
          <p:cNvPr id="18" name="Title 1">
            <a:extLst>
              <a:ext uri="{FF2B5EF4-FFF2-40B4-BE49-F238E27FC236}">
                <a16:creationId xmlns:a16="http://schemas.microsoft.com/office/drawing/2014/main" id="{5D19C1DB-5AB8-E670-BA7C-96324C5105F6}"/>
              </a:ext>
            </a:extLst>
          </p:cNvPr>
          <p:cNvSpPr txBox="1">
            <a:spLocks/>
          </p:cNvSpPr>
          <p:nvPr/>
        </p:nvSpPr>
        <p:spPr>
          <a:xfrm>
            <a:off x="179386" y="179386"/>
            <a:ext cx="11831641" cy="708714"/>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a:lstStyle>
          <a:p>
            <a:pPr>
              <a:tabLst>
                <a:tab pos="10028233" algn="l"/>
              </a:tabLst>
            </a:pPr>
            <a:r>
              <a:rPr lang="en-GB" sz="3200" b="1" cap="none" dirty="0">
                <a:latin typeface="Avenir Next LT Pro"/>
              </a:rPr>
              <a:t>Focus Areas</a:t>
            </a:r>
            <a:endParaRPr lang="en-GB" b="1" cap="none" dirty="0">
              <a:latin typeface="Avenir Next LT Pro"/>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A6DA1E-0B3E-BC15-DD92-1BD23E6FBCDC}"/>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FDA6DA1E-0B3E-BC15-DD92-1BD23E6FBCDC}"/>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pic>
        <p:nvPicPr>
          <p:cNvPr id="3" name="Picture 19" descr="How agroforestry can help farmers adapt to climate change ...">
            <a:extLst>
              <a:ext uri="{FF2B5EF4-FFF2-40B4-BE49-F238E27FC236}">
                <a16:creationId xmlns:a16="http://schemas.microsoft.com/office/drawing/2014/main" id="{07AE76D0-A272-7798-0818-E1D6FD02F9D0}"/>
              </a:ext>
            </a:extLst>
          </p:cNvPr>
          <p:cNvPicPr>
            <a:picLocks noChangeAspect="1"/>
          </p:cNvPicPr>
          <p:nvPr/>
        </p:nvPicPr>
        <p:blipFill>
          <a:blip r:embed="rId5"/>
          <a:srcRect l="-271" t="103" r="271" b="28916"/>
          <a:stretch>
            <a:fillRect/>
          </a:stretch>
        </p:blipFill>
        <p:spPr>
          <a:xfrm flipH="1">
            <a:off x="8593823" y="1721394"/>
            <a:ext cx="2564069" cy="1213326"/>
          </a:xfrm>
          <a:prstGeom prst="rect">
            <a:avLst/>
          </a:prstGeom>
          <a:noFill/>
          <a:ln>
            <a:noFill/>
          </a:ln>
        </p:spPr>
      </p:pic>
      <p:pic>
        <p:nvPicPr>
          <p:cNvPr id="4" name="Picture 15" descr="Two New Reports Expose World's Largest Agribusiness For Massive  Deforestation and Land Grabbing in Brazil's Fragile Cerrado Region - One  Green Planet">
            <a:extLst>
              <a:ext uri="{FF2B5EF4-FFF2-40B4-BE49-F238E27FC236}">
                <a16:creationId xmlns:a16="http://schemas.microsoft.com/office/drawing/2014/main" id="{74C8D4A9-0851-79C2-036F-4538624F8B7B}"/>
              </a:ext>
            </a:extLst>
          </p:cNvPr>
          <p:cNvPicPr>
            <a:picLocks noChangeAspect="1"/>
          </p:cNvPicPr>
          <p:nvPr/>
        </p:nvPicPr>
        <p:blipFill>
          <a:blip r:embed="rId6"/>
          <a:srcRect l="14273" t="51865" r="38376" b="603"/>
          <a:stretch>
            <a:fillRect/>
          </a:stretch>
        </p:blipFill>
        <p:spPr>
          <a:xfrm>
            <a:off x="5487835" y="2047531"/>
            <a:ext cx="1799493" cy="886156"/>
          </a:xfrm>
          <a:prstGeom prst="rect">
            <a:avLst/>
          </a:prstGeom>
          <a:noFill/>
          <a:ln>
            <a:noFill/>
          </a:ln>
        </p:spPr>
      </p:pic>
      <p:pic>
        <p:nvPicPr>
          <p:cNvPr id="5" name="Picture 13" descr="Dry Pasture Royalty-Free Images, Stock Photos &amp; Pictures | Shutterstock">
            <a:extLst>
              <a:ext uri="{FF2B5EF4-FFF2-40B4-BE49-F238E27FC236}">
                <a16:creationId xmlns:a16="http://schemas.microsoft.com/office/drawing/2014/main" id="{3D0956DA-2DDE-424D-E4F5-B68B1C16452C}"/>
              </a:ext>
            </a:extLst>
          </p:cNvPr>
          <p:cNvPicPr>
            <a:picLocks noChangeAspect="1"/>
          </p:cNvPicPr>
          <p:nvPr/>
        </p:nvPicPr>
        <p:blipFill>
          <a:blip r:embed="rId7"/>
          <a:srcRect r="5671" b="8098"/>
          <a:stretch>
            <a:fillRect/>
          </a:stretch>
        </p:blipFill>
        <p:spPr>
          <a:xfrm>
            <a:off x="7287329" y="2058168"/>
            <a:ext cx="1251685" cy="875519"/>
          </a:xfrm>
          <a:prstGeom prst="rect">
            <a:avLst/>
          </a:prstGeom>
          <a:noFill/>
          <a:ln>
            <a:noFill/>
          </a:ln>
        </p:spPr>
      </p:pic>
      <p:pic>
        <p:nvPicPr>
          <p:cNvPr id="6" name="Picture 31" descr="river between trees under blue sky">
            <a:extLst>
              <a:ext uri="{FF2B5EF4-FFF2-40B4-BE49-F238E27FC236}">
                <a16:creationId xmlns:a16="http://schemas.microsoft.com/office/drawing/2014/main" id="{74B675CF-364F-EDC5-0A0D-C4F679717CCF}"/>
              </a:ext>
            </a:extLst>
          </p:cNvPr>
          <p:cNvPicPr>
            <a:picLocks noChangeAspect="1"/>
          </p:cNvPicPr>
          <p:nvPr/>
        </p:nvPicPr>
        <p:blipFill>
          <a:blip r:embed="rId8"/>
          <a:srcRect t="5523"/>
          <a:stretch>
            <a:fillRect/>
          </a:stretch>
        </p:blipFill>
        <p:spPr>
          <a:xfrm>
            <a:off x="536487" y="1425823"/>
            <a:ext cx="2613912" cy="1508906"/>
          </a:xfrm>
          <a:prstGeom prst="rect">
            <a:avLst/>
          </a:prstGeom>
          <a:noFill/>
          <a:ln>
            <a:noFill/>
          </a:ln>
        </p:spPr>
      </p:pic>
      <p:pic>
        <p:nvPicPr>
          <p:cNvPr id="7" name="Picture 18" descr="brown and green grass on brown soil">
            <a:extLst>
              <a:ext uri="{FF2B5EF4-FFF2-40B4-BE49-F238E27FC236}">
                <a16:creationId xmlns:a16="http://schemas.microsoft.com/office/drawing/2014/main" id="{0014D2EF-21BB-620A-D393-8AE9027A9151}"/>
              </a:ext>
            </a:extLst>
          </p:cNvPr>
          <p:cNvPicPr>
            <a:picLocks noChangeAspect="1"/>
          </p:cNvPicPr>
          <p:nvPr/>
        </p:nvPicPr>
        <p:blipFill>
          <a:blip r:embed="rId9"/>
          <a:srcRect l="15182" r="4755"/>
          <a:stretch>
            <a:fillRect/>
          </a:stretch>
        </p:blipFill>
        <p:spPr>
          <a:xfrm rot="16200004">
            <a:off x="3865501" y="1312385"/>
            <a:ext cx="949607" cy="2295060"/>
          </a:xfrm>
          <a:prstGeom prst="rect">
            <a:avLst/>
          </a:prstGeom>
          <a:noFill/>
          <a:ln>
            <a:noFill/>
          </a:ln>
        </p:spPr>
      </p:pic>
      <p:sp>
        <p:nvSpPr>
          <p:cNvPr id="9" name="Footer Placeholder 2">
            <a:extLst>
              <a:ext uri="{FF2B5EF4-FFF2-40B4-BE49-F238E27FC236}">
                <a16:creationId xmlns:a16="http://schemas.microsoft.com/office/drawing/2014/main" id="{62B834FD-E3FC-9451-E792-97A18D713ADF}"/>
              </a:ext>
            </a:extLst>
          </p:cNvPr>
          <p:cNvSpPr txBox="1">
            <a:spLocks noGrp="1"/>
          </p:cNvSpPr>
          <p:nvPr>
            <p:ph type="ftr" sz="quarter" idx="9"/>
          </p:nvPr>
        </p:nvSpPr>
        <p:spPr>
          <a:xfrm>
            <a:off x="642795" y="6302337"/>
            <a:ext cx="10291901" cy="374693"/>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venir Next LT Pro"/>
                <a:ea typeface="+mn-ea"/>
                <a:cs typeface="+mn-cs"/>
              </a:rPr>
              <a:t>The following are characterized by SBTN as high impact nature commodities Avocado, Banana, Cassava, Cattle, Cocoa, Coffee, Corn, Cotton, Goats, Oil palm, poultry, Pulp &amp; Paper, Rapeseed oil, Rice, Rubber, Swine, Soybean, Sugarcane, Seafood, Timber, Tobacco, Tree nuts, Wheat</a:t>
            </a:r>
          </a:p>
        </p:txBody>
      </p:sp>
      <p:grpSp>
        <p:nvGrpSpPr>
          <p:cNvPr id="11" name="Group 302">
            <a:extLst>
              <a:ext uri="{FF2B5EF4-FFF2-40B4-BE49-F238E27FC236}">
                <a16:creationId xmlns:a16="http://schemas.microsoft.com/office/drawing/2014/main" id="{542DA5F2-3CE6-3E62-40E2-EF65D07E556E}"/>
              </a:ext>
            </a:extLst>
          </p:cNvPr>
          <p:cNvGrpSpPr/>
          <p:nvPr/>
        </p:nvGrpSpPr>
        <p:grpSpPr>
          <a:xfrm>
            <a:off x="8404414" y="4482132"/>
            <a:ext cx="1529526" cy="402848"/>
            <a:chOff x="8404414" y="4482132"/>
            <a:chExt cx="1529526" cy="402848"/>
          </a:xfrm>
        </p:grpSpPr>
        <p:grpSp>
          <p:nvGrpSpPr>
            <p:cNvPr id="12" name="Group 319">
              <a:extLst>
                <a:ext uri="{FF2B5EF4-FFF2-40B4-BE49-F238E27FC236}">
                  <a16:creationId xmlns:a16="http://schemas.microsoft.com/office/drawing/2014/main" id="{58595C2B-518A-B58C-1068-7270B9BB1A7B}"/>
                </a:ext>
              </a:extLst>
            </p:cNvPr>
            <p:cNvGrpSpPr/>
            <p:nvPr/>
          </p:nvGrpSpPr>
          <p:grpSpPr>
            <a:xfrm>
              <a:off x="8404414" y="4482132"/>
              <a:ext cx="402848" cy="402848"/>
              <a:chOff x="8404414" y="4482132"/>
              <a:chExt cx="402848" cy="402848"/>
            </a:xfrm>
          </p:grpSpPr>
          <p:grpSp>
            <p:nvGrpSpPr>
              <p:cNvPr id="13" name="Group 322">
                <a:extLst>
                  <a:ext uri="{FF2B5EF4-FFF2-40B4-BE49-F238E27FC236}">
                    <a16:creationId xmlns:a16="http://schemas.microsoft.com/office/drawing/2014/main" id="{D22BC71E-BEBE-0473-C69A-7FA7E5FF5F3A}"/>
                  </a:ext>
                </a:extLst>
              </p:cNvPr>
              <p:cNvGrpSpPr/>
              <p:nvPr/>
            </p:nvGrpSpPr>
            <p:grpSpPr>
              <a:xfrm>
                <a:off x="8404414" y="4482132"/>
                <a:ext cx="402848" cy="402848"/>
                <a:chOff x="8404414" y="4482132"/>
                <a:chExt cx="402848" cy="402848"/>
              </a:xfrm>
            </p:grpSpPr>
            <p:sp>
              <p:nvSpPr>
                <p:cNvPr id="14" name="Oval 324">
                  <a:extLst>
                    <a:ext uri="{FF2B5EF4-FFF2-40B4-BE49-F238E27FC236}">
                      <a16:creationId xmlns:a16="http://schemas.microsoft.com/office/drawing/2014/main" id="{BD882F2F-6806-98F1-A4B8-CDAD8BFADBC2}"/>
                    </a:ext>
                  </a:extLst>
                </p:cNvPr>
                <p:cNvSpPr/>
                <p:nvPr/>
              </p:nvSpPr>
              <p:spPr>
                <a:xfrm>
                  <a:off x="8404414" y="4482132"/>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15" name="Arc 325">
                  <a:extLst>
                    <a:ext uri="{FF2B5EF4-FFF2-40B4-BE49-F238E27FC236}">
                      <a16:creationId xmlns:a16="http://schemas.microsoft.com/office/drawing/2014/main" id="{7530D39D-C505-5130-26A3-8A64D4AA8AC2}"/>
                    </a:ext>
                  </a:extLst>
                </p:cNvPr>
                <p:cNvSpPr/>
                <p:nvPr/>
              </p:nvSpPr>
              <p:spPr>
                <a:xfrm>
                  <a:off x="8404414" y="4482361"/>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16" name="Graphic 323">
                <a:extLst>
                  <a:ext uri="{FF2B5EF4-FFF2-40B4-BE49-F238E27FC236}">
                    <a16:creationId xmlns:a16="http://schemas.microsoft.com/office/drawing/2014/main" id="{5B10DAE7-9F14-DA72-5556-259C4199B1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70919" y="4548637"/>
                <a:ext cx="269839" cy="269839"/>
              </a:xfrm>
              <a:prstGeom prst="rect">
                <a:avLst/>
              </a:prstGeom>
              <a:noFill/>
              <a:ln>
                <a:noFill/>
              </a:ln>
            </p:spPr>
          </p:pic>
        </p:grpSp>
        <p:sp>
          <p:nvSpPr>
            <p:cNvPr id="17" name="TextBox 320">
              <a:extLst>
                <a:ext uri="{FF2B5EF4-FFF2-40B4-BE49-F238E27FC236}">
                  <a16:creationId xmlns:a16="http://schemas.microsoft.com/office/drawing/2014/main" id="{BCCDE145-EE7B-E7DF-72D9-442EA0E5C1E5}"/>
                </a:ext>
              </a:extLst>
            </p:cNvPr>
            <p:cNvSpPr txBox="1"/>
            <p:nvPr/>
          </p:nvSpPr>
          <p:spPr>
            <a:xfrm>
              <a:off x="8950348" y="4560451"/>
              <a:ext cx="983592"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a:ln>
                    <a:noFill/>
                  </a:ln>
                  <a:solidFill>
                    <a:srgbClr val="000000"/>
                  </a:solidFill>
                  <a:effectLst/>
                  <a:uLnTx/>
                  <a:uFillTx/>
                  <a:latin typeface="Avenir Next"/>
                  <a:ea typeface="+mn-ea"/>
                  <a:cs typeface="Helvetica"/>
                </a:rPr>
                <a:t>Timber</a:t>
              </a:r>
            </a:p>
          </p:txBody>
        </p:sp>
        <p:pic>
          <p:nvPicPr>
            <p:cNvPr id="18" name="Picture 50" descr="Timber icon">
              <a:extLst>
                <a:ext uri="{FF2B5EF4-FFF2-40B4-BE49-F238E27FC236}">
                  <a16:creationId xmlns:a16="http://schemas.microsoft.com/office/drawing/2014/main" id="{F563BC61-6A74-3E3C-51DE-93A84F2212E3}"/>
                </a:ext>
              </a:extLst>
            </p:cNvPr>
            <p:cNvPicPr>
              <a:picLocks noChangeAspect="1"/>
            </p:cNvPicPr>
            <p:nvPr/>
          </p:nvPicPr>
          <p:blipFill>
            <a:blip r:embed="rId12"/>
            <a:srcRect/>
            <a:stretch>
              <a:fillRect/>
            </a:stretch>
          </p:blipFill>
          <p:spPr>
            <a:xfrm>
              <a:off x="8460421" y="4538139"/>
              <a:ext cx="290843" cy="290843"/>
            </a:xfrm>
            <a:prstGeom prst="rect">
              <a:avLst/>
            </a:prstGeom>
            <a:noFill/>
            <a:ln>
              <a:noFill/>
            </a:ln>
          </p:spPr>
        </p:pic>
      </p:grpSp>
      <p:grpSp>
        <p:nvGrpSpPr>
          <p:cNvPr id="19" name="Group 303">
            <a:extLst>
              <a:ext uri="{FF2B5EF4-FFF2-40B4-BE49-F238E27FC236}">
                <a16:creationId xmlns:a16="http://schemas.microsoft.com/office/drawing/2014/main" id="{76F70B41-820D-C23D-9C1F-0F7478EB4CD6}"/>
              </a:ext>
            </a:extLst>
          </p:cNvPr>
          <p:cNvGrpSpPr/>
          <p:nvPr/>
        </p:nvGrpSpPr>
        <p:grpSpPr>
          <a:xfrm>
            <a:off x="5085426" y="4482132"/>
            <a:ext cx="1547201" cy="402848"/>
            <a:chOff x="5085426" y="4482132"/>
            <a:chExt cx="1547201" cy="402848"/>
          </a:xfrm>
        </p:grpSpPr>
        <p:grpSp>
          <p:nvGrpSpPr>
            <p:cNvPr id="20" name="Group 312">
              <a:extLst>
                <a:ext uri="{FF2B5EF4-FFF2-40B4-BE49-F238E27FC236}">
                  <a16:creationId xmlns:a16="http://schemas.microsoft.com/office/drawing/2014/main" id="{FD41EFDD-C48B-2FF1-4D61-795B802B18F7}"/>
                </a:ext>
              </a:extLst>
            </p:cNvPr>
            <p:cNvGrpSpPr/>
            <p:nvPr/>
          </p:nvGrpSpPr>
          <p:grpSpPr>
            <a:xfrm>
              <a:off x="5085426" y="4482132"/>
              <a:ext cx="402848" cy="402848"/>
              <a:chOff x="5085426" y="4482132"/>
              <a:chExt cx="402848" cy="402848"/>
            </a:xfrm>
          </p:grpSpPr>
          <p:grpSp>
            <p:nvGrpSpPr>
              <p:cNvPr id="21" name="Group 315">
                <a:extLst>
                  <a:ext uri="{FF2B5EF4-FFF2-40B4-BE49-F238E27FC236}">
                    <a16:creationId xmlns:a16="http://schemas.microsoft.com/office/drawing/2014/main" id="{0AD3B300-5611-4F65-E17D-6D0FCD319CD6}"/>
                  </a:ext>
                </a:extLst>
              </p:cNvPr>
              <p:cNvGrpSpPr/>
              <p:nvPr/>
            </p:nvGrpSpPr>
            <p:grpSpPr>
              <a:xfrm>
                <a:off x="5085426" y="4482132"/>
                <a:ext cx="402848" cy="402848"/>
                <a:chOff x="5085426" y="4482132"/>
                <a:chExt cx="402848" cy="402848"/>
              </a:xfrm>
            </p:grpSpPr>
            <p:sp>
              <p:nvSpPr>
                <p:cNvPr id="22" name="Oval 317">
                  <a:extLst>
                    <a:ext uri="{FF2B5EF4-FFF2-40B4-BE49-F238E27FC236}">
                      <a16:creationId xmlns:a16="http://schemas.microsoft.com/office/drawing/2014/main" id="{D6D3E35D-8CDE-56F1-41EA-26D944AF903B}"/>
                    </a:ext>
                  </a:extLst>
                </p:cNvPr>
                <p:cNvSpPr/>
                <p:nvPr/>
              </p:nvSpPr>
              <p:spPr>
                <a:xfrm>
                  <a:off x="5085426" y="4482132"/>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23" name="Arc 318">
                  <a:extLst>
                    <a:ext uri="{FF2B5EF4-FFF2-40B4-BE49-F238E27FC236}">
                      <a16:creationId xmlns:a16="http://schemas.microsoft.com/office/drawing/2014/main" id="{02F28566-26E5-9DA5-C05F-821036EF47E0}"/>
                    </a:ext>
                  </a:extLst>
                </p:cNvPr>
                <p:cNvSpPr/>
                <p:nvPr/>
              </p:nvSpPr>
              <p:spPr>
                <a:xfrm>
                  <a:off x="5085426" y="4482361"/>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24" name="Graphic 316">
                <a:extLst>
                  <a:ext uri="{FF2B5EF4-FFF2-40B4-BE49-F238E27FC236}">
                    <a16:creationId xmlns:a16="http://schemas.microsoft.com/office/drawing/2014/main" id="{7B87906F-A958-2D74-65D1-73AD11D051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51930" y="4548637"/>
                <a:ext cx="269839" cy="269839"/>
              </a:xfrm>
              <a:prstGeom prst="rect">
                <a:avLst/>
              </a:prstGeom>
              <a:noFill/>
              <a:ln>
                <a:noFill/>
              </a:ln>
            </p:spPr>
          </p:pic>
        </p:grpSp>
        <p:sp>
          <p:nvSpPr>
            <p:cNvPr id="25" name="TextBox 313">
              <a:extLst>
                <a:ext uri="{FF2B5EF4-FFF2-40B4-BE49-F238E27FC236}">
                  <a16:creationId xmlns:a16="http://schemas.microsoft.com/office/drawing/2014/main" id="{175B785E-B1E4-86F0-56B5-292ACD4F79FA}"/>
                </a:ext>
              </a:extLst>
            </p:cNvPr>
            <p:cNvSpPr txBox="1"/>
            <p:nvPr/>
          </p:nvSpPr>
          <p:spPr>
            <a:xfrm>
              <a:off x="5559369" y="4560451"/>
              <a:ext cx="1073258"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Avenir Next"/>
                  <a:ea typeface="+mn-ea"/>
                  <a:cs typeface="Helvetica"/>
                </a:rPr>
                <a:t>Rubber </a:t>
              </a:r>
            </a:p>
          </p:txBody>
        </p:sp>
        <p:pic>
          <p:nvPicPr>
            <p:cNvPr id="26" name="Picture 38" descr="Trees icon">
              <a:extLst>
                <a:ext uri="{FF2B5EF4-FFF2-40B4-BE49-F238E27FC236}">
                  <a16:creationId xmlns:a16="http://schemas.microsoft.com/office/drawing/2014/main" id="{F4623112-A843-645A-DB2C-B69A8DED57F1}"/>
                </a:ext>
              </a:extLst>
            </p:cNvPr>
            <p:cNvPicPr>
              <a:picLocks noChangeAspect="1"/>
            </p:cNvPicPr>
            <p:nvPr/>
          </p:nvPicPr>
          <p:blipFill>
            <a:blip r:embed="rId13"/>
            <a:srcRect/>
            <a:stretch>
              <a:fillRect/>
            </a:stretch>
          </p:blipFill>
          <p:spPr>
            <a:xfrm>
              <a:off x="5159044" y="4580823"/>
              <a:ext cx="216987" cy="216987"/>
            </a:xfrm>
            <a:prstGeom prst="rect">
              <a:avLst/>
            </a:prstGeom>
            <a:noFill/>
            <a:ln>
              <a:noFill/>
            </a:ln>
          </p:spPr>
        </p:pic>
      </p:grpSp>
      <p:sp>
        <p:nvSpPr>
          <p:cNvPr id="27" name="Arrow: Pentagon 168">
            <a:extLst>
              <a:ext uri="{FF2B5EF4-FFF2-40B4-BE49-F238E27FC236}">
                <a16:creationId xmlns:a16="http://schemas.microsoft.com/office/drawing/2014/main" id="{FC90E148-C06A-29DE-C9DF-AFBEFB3FCE33}"/>
              </a:ext>
            </a:extLst>
          </p:cNvPr>
          <p:cNvSpPr/>
          <p:nvPr/>
        </p:nvSpPr>
        <p:spPr>
          <a:xfrm>
            <a:off x="3234552" y="3359222"/>
            <a:ext cx="8140939" cy="357630"/>
          </a:xfrm>
          <a:custGeom>
            <a:avLst>
              <a:gd name="f8" fmla="val 50000"/>
            </a:avLst>
            <a:gdLst>
              <a:gd name="f1" fmla="val 10800000"/>
              <a:gd name="f2" fmla="val 5400000"/>
              <a:gd name="f3" fmla="val 180"/>
              <a:gd name="f4" fmla="val w"/>
              <a:gd name="f5" fmla="val h"/>
              <a:gd name="f6" fmla="val ss"/>
              <a:gd name="f7" fmla="val 0"/>
              <a:gd name="f8" fmla="val 50000"/>
              <a:gd name="f9" fmla="+- 0 0 -360"/>
              <a:gd name="f10" fmla="+- 0 0 -180"/>
              <a:gd name="f11" fmla="abs f4"/>
              <a:gd name="f12" fmla="abs f5"/>
              <a:gd name="f13" fmla="abs f6"/>
              <a:gd name="f14" fmla="val f7"/>
              <a:gd name="f15" fmla="val f8"/>
              <a:gd name="f16" fmla="*/ f9 f1 1"/>
              <a:gd name="f17" fmla="*/ f10 f1 1"/>
              <a:gd name="f18" fmla="?: f11 f4 1"/>
              <a:gd name="f19" fmla="?: f12 f5 1"/>
              <a:gd name="f20" fmla="?: f13 f6 1"/>
              <a:gd name="f21" fmla="*/ f16 1 f3"/>
              <a:gd name="f22" fmla="*/ f17 1 f3"/>
              <a:gd name="f23" fmla="*/ f18 1 21600"/>
              <a:gd name="f24" fmla="*/ f19 1 21600"/>
              <a:gd name="f25" fmla="*/ 21600 f18 1"/>
              <a:gd name="f26" fmla="*/ 21600 f19 1"/>
              <a:gd name="f27" fmla="+- f21 0 f2"/>
              <a:gd name="f28" fmla="+- f22 0 f2"/>
              <a:gd name="f29" fmla="min f24 f23"/>
              <a:gd name="f30" fmla="*/ f25 1 f20"/>
              <a:gd name="f31" fmla="*/ f26 1 f20"/>
              <a:gd name="f32" fmla="val f30"/>
              <a:gd name="f33" fmla="val f31"/>
              <a:gd name="f34" fmla="*/ f14 f29 1"/>
              <a:gd name="f35" fmla="+- f33 0 f14"/>
              <a:gd name="f36" fmla="+- f32 0 f14"/>
              <a:gd name="f37" fmla="*/ f33 f29 1"/>
              <a:gd name="f38" fmla="*/ f32 f29 1"/>
              <a:gd name="f39" fmla="*/ f35 1 2"/>
              <a:gd name="f40" fmla="min f36 f35"/>
              <a:gd name="f41" fmla="+- f14 f39 0"/>
              <a:gd name="f42" fmla="*/ f40 f15 1"/>
              <a:gd name="f43" fmla="*/ f42 1 100000"/>
              <a:gd name="f44" fmla="*/ f41 f29 1"/>
              <a:gd name="f45" fmla="+- f32 0 f43"/>
              <a:gd name="f46" fmla="+- f45 f32 0"/>
              <a:gd name="f47" fmla="*/ f45 1 2"/>
              <a:gd name="f48" fmla="*/ f45 f29 1"/>
              <a:gd name="f49" fmla="*/ f46 1 2"/>
              <a:gd name="f50" fmla="*/ f47 f29 1"/>
              <a:gd name="f51" fmla="*/ f49 f29 1"/>
            </a:gdLst>
            <a:ahLst/>
            <a:cxnLst>
              <a:cxn ang="3cd4">
                <a:pos x="hc" y="t"/>
              </a:cxn>
              <a:cxn ang="0">
                <a:pos x="r" y="vc"/>
              </a:cxn>
              <a:cxn ang="cd4">
                <a:pos x="hc" y="b"/>
              </a:cxn>
              <a:cxn ang="cd2">
                <a:pos x="l" y="vc"/>
              </a:cxn>
              <a:cxn ang="f27">
                <a:pos x="f50" y="f34"/>
              </a:cxn>
              <a:cxn ang="f28">
                <a:pos x="f50" y="f37"/>
              </a:cxn>
            </a:cxnLst>
            <a:rect l="f34" t="f34" r="f51" b="f37"/>
            <a:pathLst>
              <a:path>
                <a:moveTo>
                  <a:pt x="f34" y="f34"/>
                </a:moveTo>
                <a:lnTo>
                  <a:pt x="f48" y="f34"/>
                </a:lnTo>
                <a:lnTo>
                  <a:pt x="f38" y="f44"/>
                </a:lnTo>
                <a:lnTo>
                  <a:pt x="f48" y="f37"/>
                </a:lnTo>
                <a:lnTo>
                  <a:pt x="f34" y="f37"/>
                </a:lnTo>
                <a:close/>
              </a:path>
            </a:pathLst>
          </a:custGeom>
          <a:solidFill>
            <a:srgbClr val="227C9D"/>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400" b="1" i="0" u="none" strike="noStrike" kern="0" cap="none" spc="0" normalizeH="0" baseline="0" noProof="0">
                <a:ln>
                  <a:noFill/>
                </a:ln>
                <a:solidFill>
                  <a:srgbClr val="FFFFFF"/>
                </a:solidFill>
                <a:effectLst/>
                <a:uLnTx/>
                <a:uFillTx/>
                <a:latin typeface="Avenir Next"/>
                <a:ea typeface="+mn-ea"/>
                <a:cs typeface="+mn-cs"/>
              </a:rPr>
              <a:t>RESTORE &amp; MANAGE</a:t>
            </a:r>
          </a:p>
        </p:txBody>
      </p:sp>
      <p:sp>
        <p:nvSpPr>
          <p:cNvPr id="28" name="Rectangle 170">
            <a:extLst>
              <a:ext uri="{FF2B5EF4-FFF2-40B4-BE49-F238E27FC236}">
                <a16:creationId xmlns:a16="http://schemas.microsoft.com/office/drawing/2014/main" id="{09B297A9-1E6D-8E45-28A8-15CC3C26812E}"/>
              </a:ext>
            </a:extLst>
          </p:cNvPr>
          <p:cNvSpPr/>
          <p:nvPr/>
        </p:nvSpPr>
        <p:spPr>
          <a:xfrm>
            <a:off x="468456" y="3359222"/>
            <a:ext cx="2686662" cy="357630"/>
          </a:xfrm>
          <a:prstGeom prst="rect">
            <a:avLst/>
          </a:prstGeom>
          <a:solidFill>
            <a:srgbClr val="102436"/>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400" b="1" i="0" u="none" strike="noStrike" kern="0" cap="none" spc="0" normalizeH="0" baseline="0" noProof="0">
                <a:ln>
                  <a:noFill/>
                </a:ln>
                <a:solidFill>
                  <a:srgbClr val="FFFFFF"/>
                </a:solidFill>
                <a:effectLst/>
                <a:uLnTx/>
                <a:uFillTx/>
                <a:latin typeface="Avenir Next"/>
                <a:ea typeface="+mn-ea"/>
                <a:cs typeface="Helvetica"/>
              </a:rPr>
              <a:t>PROTECT</a:t>
            </a:r>
          </a:p>
        </p:txBody>
      </p:sp>
      <p:grpSp>
        <p:nvGrpSpPr>
          <p:cNvPr id="29" name="Group 275">
            <a:extLst>
              <a:ext uri="{FF2B5EF4-FFF2-40B4-BE49-F238E27FC236}">
                <a16:creationId xmlns:a16="http://schemas.microsoft.com/office/drawing/2014/main" id="{3E745EE2-2E24-9C25-FDAF-20024F0285C3}"/>
              </a:ext>
            </a:extLst>
          </p:cNvPr>
          <p:cNvGrpSpPr/>
          <p:nvPr/>
        </p:nvGrpSpPr>
        <p:grpSpPr>
          <a:xfrm>
            <a:off x="3376284" y="3898078"/>
            <a:ext cx="1427205" cy="402848"/>
            <a:chOff x="3376284" y="3898078"/>
            <a:chExt cx="1427205" cy="402848"/>
          </a:xfrm>
        </p:grpSpPr>
        <p:grpSp>
          <p:nvGrpSpPr>
            <p:cNvPr id="30" name="Group 288">
              <a:extLst>
                <a:ext uri="{FF2B5EF4-FFF2-40B4-BE49-F238E27FC236}">
                  <a16:creationId xmlns:a16="http://schemas.microsoft.com/office/drawing/2014/main" id="{DCDA5368-8192-1C7A-C5ED-47FAFB3B4744}"/>
                </a:ext>
              </a:extLst>
            </p:cNvPr>
            <p:cNvGrpSpPr/>
            <p:nvPr/>
          </p:nvGrpSpPr>
          <p:grpSpPr>
            <a:xfrm>
              <a:off x="3376284" y="3898078"/>
              <a:ext cx="402848" cy="402848"/>
              <a:chOff x="3376284" y="3898078"/>
              <a:chExt cx="402848" cy="402848"/>
            </a:xfrm>
          </p:grpSpPr>
          <p:grpSp>
            <p:nvGrpSpPr>
              <p:cNvPr id="31" name="Group 291">
                <a:extLst>
                  <a:ext uri="{FF2B5EF4-FFF2-40B4-BE49-F238E27FC236}">
                    <a16:creationId xmlns:a16="http://schemas.microsoft.com/office/drawing/2014/main" id="{B907B858-647D-3C29-0AD2-EFC5F9C3941B}"/>
                  </a:ext>
                </a:extLst>
              </p:cNvPr>
              <p:cNvGrpSpPr/>
              <p:nvPr/>
            </p:nvGrpSpPr>
            <p:grpSpPr>
              <a:xfrm>
                <a:off x="3376284" y="3898078"/>
                <a:ext cx="402848" cy="402848"/>
                <a:chOff x="3376284" y="3898078"/>
                <a:chExt cx="402848" cy="402848"/>
              </a:xfrm>
            </p:grpSpPr>
            <p:sp>
              <p:nvSpPr>
                <p:cNvPr id="32" name="Oval 293">
                  <a:extLst>
                    <a:ext uri="{FF2B5EF4-FFF2-40B4-BE49-F238E27FC236}">
                      <a16:creationId xmlns:a16="http://schemas.microsoft.com/office/drawing/2014/main" id="{8DEEDE3A-74B0-EC3F-603D-545B34D0C0E1}"/>
                    </a:ext>
                  </a:extLst>
                </p:cNvPr>
                <p:cNvSpPr/>
                <p:nvPr/>
              </p:nvSpPr>
              <p:spPr>
                <a:xfrm>
                  <a:off x="3376284" y="3898078"/>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1" i="0" u="none" strike="noStrike" kern="0" cap="none" spc="0" normalizeH="0" baseline="0" noProof="0">
                    <a:ln>
                      <a:noFill/>
                    </a:ln>
                    <a:solidFill>
                      <a:srgbClr val="FFFFFF"/>
                    </a:solidFill>
                    <a:effectLst/>
                    <a:uLnTx/>
                    <a:uFillTx/>
                    <a:latin typeface="Avenir Next"/>
                    <a:ea typeface="+mn-ea"/>
                    <a:cs typeface="+mn-cs"/>
                  </a:endParaRPr>
                </a:p>
              </p:txBody>
            </p:sp>
            <p:sp>
              <p:nvSpPr>
                <p:cNvPr id="33" name="Arc 294">
                  <a:extLst>
                    <a:ext uri="{FF2B5EF4-FFF2-40B4-BE49-F238E27FC236}">
                      <a16:creationId xmlns:a16="http://schemas.microsoft.com/office/drawing/2014/main" id="{14DAA402-F484-A2D7-51D8-3C538E19F095}"/>
                    </a:ext>
                  </a:extLst>
                </p:cNvPr>
                <p:cNvSpPr/>
                <p:nvPr/>
              </p:nvSpPr>
              <p:spPr>
                <a:xfrm>
                  <a:off x="3376284" y="3898297"/>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1" i="0" u="none" strike="noStrike" kern="0" cap="none" spc="0" normalizeH="0" baseline="0" noProof="0">
                    <a:ln>
                      <a:noFill/>
                    </a:ln>
                    <a:solidFill>
                      <a:srgbClr val="424242"/>
                    </a:solidFill>
                    <a:effectLst/>
                    <a:uLnTx/>
                    <a:uFillTx/>
                    <a:latin typeface="Avenir Next"/>
                    <a:ea typeface="+mn-ea"/>
                    <a:cs typeface="+mn-cs"/>
                  </a:endParaRPr>
                </a:p>
              </p:txBody>
            </p:sp>
          </p:grpSp>
          <p:pic>
            <p:nvPicPr>
              <p:cNvPr id="34" name="Graphic 292">
                <a:extLst>
                  <a:ext uri="{FF2B5EF4-FFF2-40B4-BE49-F238E27FC236}">
                    <a16:creationId xmlns:a16="http://schemas.microsoft.com/office/drawing/2014/main" id="{AF704359-3CF3-A288-6D87-19CCD1C2B2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442780" y="3964573"/>
                <a:ext cx="269839" cy="269839"/>
              </a:xfrm>
              <a:prstGeom prst="rect">
                <a:avLst/>
              </a:prstGeom>
              <a:noFill/>
              <a:ln>
                <a:noFill/>
              </a:ln>
            </p:spPr>
          </p:pic>
        </p:grpSp>
        <p:sp>
          <p:nvSpPr>
            <p:cNvPr id="35" name="TextBox 289">
              <a:extLst>
                <a:ext uri="{FF2B5EF4-FFF2-40B4-BE49-F238E27FC236}">
                  <a16:creationId xmlns:a16="http://schemas.microsoft.com/office/drawing/2014/main" id="{4B0C0F90-1A1F-FBFC-DEF5-EE0C179EE2A3}"/>
                </a:ext>
              </a:extLst>
            </p:cNvPr>
            <p:cNvSpPr txBox="1"/>
            <p:nvPr/>
          </p:nvSpPr>
          <p:spPr>
            <a:xfrm>
              <a:off x="3893506" y="3976387"/>
              <a:ext cx="909983"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a:ln>
                    <a:noFill/>
                  </a:ln>
                  <a:solidFill>
                    <a:srgbClr val="000000"/>
                  </a:solidFill>
                  <a:effectLst/>
                  <a:uLnTx/>
                  <a:uFillTx/>
                  <a:latin typeface="Avenir Next"/>
                  <a:ea typeface="+mn-ea"/>
                  <a:cs typeface="Helvetica"/>
                </a:rPr>
                <a:t>Cattle</a:t>
              </a:r>
            </a:p>
          </p:txBody>
        </p:sp>
        <p:pic>
          <p:nvPicPr>
            <p:cNvPr id="36" name="Picture 10" descr="Cow icon">
              <a:extLst>
                <a:ext uri="{FF2B5EF4-FFF2-40B4-BE49-F238E27FC236}">
                  <a16:creationId xmlns:a16="http://schemas.microsoft.com/office/drawing/2014/main" id="{954DB4B7-15DF-D3DF-5C35-46D7D3EFF327}"/>
                </a:ext>
              </a:extLst>
            </p:cNvPr>
            <p:cNvPicPr>
              <a:picLocks noChangeAspect="1"/>
            </p:cNvPicPr>
            <p:nvPr/>
          </p:nvPicPr>
          <p:blipFill>
            <a:blip r:embed="rId14"/>
            <a:srcRect/>
            <a:stretch>
              <a:fillRect/>
            </a:stretch>
          </p:blipFill>
          <p:spPr>
            <a:xfrm>
              <a:off x="3449811" y="3977009"/>
              <a:ext cx="244986" cy="244986"/>
            </a:xfrm>
            <a:prstGeom prst="rect">
              <a:avLst/>
            </a:prstGeom>
            <a:noFill/>
            <a:ln>
              <a:noFill/>
            </a:ln>
          </p:spPr>
        </p:pic>
      </p:grpSp>
      <p:grpSp>
        <p:nvGrpSpPr>
          <p:cNvPr id="37" name="Group 277">
            <a:extLst>
              <a:ext uri="{FF2B5EF4-FFF2-40B4-BE49-F238E27FC236}">
                <a16:creationId xmlns:a16="http://schemas.microsoft.com/office/drawing/2014/main" id="{31CFA848-7AFA-C88B-2C7A-D1B1F8AD8BC9}"/>
              </a:ext>
            </a:extLst>
          </p:cNvPr>
          <p:cNvGrpSpPr/>
          <p:nvPr/>
        </p:nvGrpSpPr>
        <p:grpSpPr>
          <a:xfrm>
            <a:off x="3376284" y="4437336"/>
            <a:ext cx="1744438" cy="492440"/>
            <a:chOff x="3376284" y="4437336"/>
            <a:chExt cx="1744438" cy="492440"/>
          </a:xfrm>
        </p:grpSpPr>
        <p:sp>
          <p:nvSpPr>
            <p:cNvPr id="38" name="Oval 278">
              <a:extLst>
                <a:ext uri="{FF2B5EF4-FFF2-40B4-BE49-F238E27FC236}">
                  <a16:creationId xmlns:a16="http://schemas.microsoft.com/office/drawing/2014/main" id="{52D1FDFE-9817-743B-3D65-AB293DA39F43}"/>
                </a:ext>
              </a:extLst>
            </p:cNvPr>
            <p:cNvSpPr/>
            <p:nvPr/>
          </p:nvSpPr>
          <p:spPr>
            <a:xfrm>
              <a:off x="3376284" y="4482132"/>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39" name="Arc 279">
              <a:extLst>
                <a:ext uri="{FF2B5EF4-FFF2-40B4-BE49-F238E27FC236}">
                  <a16:creationId xmlns:a16="http://schemas.microsoft.com/office/drawing/2014/main" id="{54293BD7-EC98-6751-80D5-8F7DC4041014}"/>
                </a:ext>
              </a:extLst>
            </p:cNvPr>
            <p:cNvSpPr/>
            <p:nvPr/>
          </p:nvSpPr>
          <p:spPr>
            <a:xfrm>
              <a:off x="3376284" y="4482361"/>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pic>
          <p:nvPicPr>
            <p:cNvPr id="40" name="Graphic 280">
              <a:extLst>
                <a:ext uri="{FF2B5EF4-FFF2-40B4-BE49-F238E27FC236}">
                  <a16:creationId xmlns:a16="http://schemas.microsoft.com/office/drawing/2014/main" id="{D7B9F10F-68BD-5175-EA63-03DA1A615A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442780" y="4548637"/>
              <a:ext cx="269839" cy="269839"/>
            </a:xfrm>
            <a:prstGeom prst="rect">
              <a:avLst/>
            </a:prstGeom>
            <a:noFill/>
            <a:ln>
              <a:noFill/>
            </a:ln>
          </p:spPr>
        </p:pic>
        <p:sp>
          <p:nvSpPr>
            <p:cNvPr id="41" name="TextBox 281">
              <a:extLst>
                <a:ext uri="{FF2B5EF4-FFF2-40B4-BE49-F238E27FC236}">
                  <a16:creationId xmlns:a16="http://schemas.microsoft.com/office/drawing/2014/main" id="{329C7B83-C100-035B-A62E-267A20C07860}"/>
                </a:ext>
              </a:extLst>
            </p:cNvPr>
            <p:cNvSpPr txBox="1"/>
            <p:nvPr/>
          </p:nvSpPr>
          <p:spPr>
            <a:xfrm>
              <a:off x="3922209" y="4437336"/>
              <a:ext cx="1198513" cy="49244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Avenir Next"/>
                  <a:ea typeface="+mn-ea"/>
                  <a:cs typeface="Helvetica"/>
                </a:rPr>
                <a:t>Pulp &amp; </a:t>
              </a:r>
              <a:br>
                <a:rPr kumimoji="0" lang="en-US" sz="1600" b="0" i="0" u="none" strike="noStrike" kern="0" cap="none" spc="0" normalizeH="0" baseline="0" noProof="0">
                  <a:ln>
                    <a:noFill/>
                  </a:ln>
                  <a:solidFill>
                    <a:srgbClr val="000000"/>
                  </a:solidFill>
                  <a:effectLst/>
                  <a:uLnTx/>
                  <a:uFillTx/>
                  <a:latin typeface="Avenir Next"/>
                  <a:ea typeface="+mn-ea"/>
                  <a:cs typeface="Helvetica"/>
                </a:rPr>
              </a:br>
              <a:r>
                <a:rPr kumimoji="0" lang="en-US" sz="1600" b="0" i="0" u="none" strike="noStrike" kern="0" cap="none" spc="0" normalizeH="0" baseline="0" noProof="0">
                  <a:ln>
                    <a:noFill/>
                  </a:ln>
                  <a:solidFill>
                    <a:srgbClr val="000000"/>
                  </a:solidFill>
                  <a:effectLst/>
                  <a:uLnTx/>
                  <a:uFillTx/>
                  <a:latin typeface="Avenir Next"/>
                  <a:ea typeface="+mn-ea"/>
                  <a:cs typeface="Helvetica"/>
                </a:rPr>
                <a:t>Paper</a:t>
              </a:r>
            </a:p>
          </p:txBody>
        </p:sp>
        <p:pic>
          <p:nvPicPr>
            <p:cNvPr id="42" name="Picture 30" descr="Paper icon">
              <a:extLst>
                <a:ext uri="{FF2B5EF4-FFF2-40B4-BE49-F238E27FC236}">
                  <a16:creationId xmlns:a16="http://schemas.microsoft.com/office/drawing/2014/main" id="{F561D22F-E67C-B763-8A5F-FE42602D7C61}"/>
                </a:ext>
              </a:extLst>
            </p:cNvPr>
            <p:cNvPicPr>
              <a:picLocks noChangeAspect="1"/>
            </p:cNvPicPr>
            <p:nvPr/>
          </p:nvPicPr>
          <p:blipFill>
            <a:blip r:embed="rId15"/>
            <a:srcRect/>
            <a:stretch>
              <a:fillRect/>
            </a:stretch>
          </p:blipFill>
          <p:spPr>
            <a:xfrm>
              <a:off x="3466161" y="4572018"/>
              <a:ext cx="223086" cy="223086"/>
            </a:xfrm>
            <a:prstGeom prst="rect">
              <a:avLst/>
            </a:prstGeom>
            <a:noFill/>
            <a:ln>
              <a:noFill/>
            </a:ln>
          </p:spPr>
        </p:pic>
      </p:grpSp>
      <p:grpSp>
        <p:nvGrpSpPr>
          <p:cNvPr id="43" name="Group 252">
            <a:extLst>
              <a:ext uri="{FF2B5EF4-FFF2-40B4-BE49-F238E27FC236}">
                <a16:creationId xmlns:a16="http://schemas.microsoft.com/office/drawing/2014/main" id="{16076518-635A-1E35-B3C1-ACC776B24AB1}"/>
              </a:ext>
            </a:extLst>
          </p:cNvPr>
          <p:cNvGrpSpPr/>
          <p:nvPr/>
        </p:nvGrpSpPr>
        <p:grpSpPr>
          <a:xfrm>
            <a:off x="5085426" y="3898078"/>
            <a:ext cx="1427204" cy="402848"/>
            <a:chOff x="5085426" y="3898078"/>
            <a:chExt cx="1427204" cy="402848"/>
          </a:xfrm>
        </p:grpSpPr>
        <p:sp>
          <p:nvSpPr>
            <p:cNvPr id="44" name="TextBox 261">
              <a:extLst>
                <a:ext uri="{FF2B5EF4-FFF2-40B4-BE49-F238E27FC236}">
                  <a16:creationId xmlns:a16="http://schemas.microsoft.com/office/drawing/2014/main" id="{813CC250-18F6-FD2E-E0FA-F7650050BC35}"/>
                </a:ext>
              </a:extLst>
            </p:cNvPr>
            <p:cNvSpPr txBox="1"/>
            <p:nvPr/>
          </p:nvSpPr>
          <p:spPr>
            <a:xfrm>
              <a:off x="5602647" y="3976387"/>
              <a:ext cx="909983"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a:ln>
                    <a:noFill/>
                  </a:ln>
                  <a:solidFill>
                    <a:srgbClr val="000000"/>
                  </a:solidFill>
                  <a:effectLst/>
                  <a:uLnTx/>
                  <a:uFillTx/>
                  <a:latin typeface="Avenir Next"/>
                  <a:ea typeface="+mn-ea"/>
                  <a:cs typeface="Helvetica"/>
                </a:rPr>
                <a:t>Cocoa</a:t>
              </a:r>
            </a:p>
          </p:txBody>
        </p:sp>
        <p:grpSp>
          <p:nvGrpSpPr>
            <p:cNvPr id="45" name="Group 262">
              <a:extLst>
                <a:ext uri="{FF2B5EF4-FFF2-40B4-BE49-F238E27FC236}">
                  <a16:creationId xmlns:a16="http://schemas.microsoft.com/office/drawing/2014/main" id="{1EFA5A12-D497-E26E-9E78-E8066E62E51F}"/>
                </a:ext>
              </a:extLst>
            </p:cNvPr>
            <p:cNvGrpSpPr/>
            <p:nvPr/>
          </p:nvGrpSpPr>
          <p:grpSpPr>
            <a:xfrm>
              <a:off x="5085426" y="3898078"/>
              <a:ext cx="402848" cy="402848"/>
              <a:chOff x="5085426" y="3898078"/>
              <a:chExt cx="402848" cy="402848"/>
            </a:xfrm>
          </p:grpSpPr>
          <p:grpSp>
            <p:nvGrpSpPr>
              <p:cNvPr id="46" name="Group 264">
                <a:extLst>
                  <a:ext uri="{FF2B5EF4-FFF2-40B4-BE49-F238E27FC236}">
                    <a16:creationId xmlns:a16="http://schemas.microsoft.com/office/drawing/2014/main" id="{2BA2D052-EC7F-83B4-8742-3C12A8D1AC64}"/>
                  </a:ext>
                </a:extLst>
              </p:cNvPr>
              <p:cNvGrpSpPr/>
              <p:nvPr/>
            </p:nvGrpSpPr>
            <p:grpSpPr>
              <a:xfrm>
                <a:off x="5085426" y="3898078"/>
                <a:ext cx="402848" cy="402848"/>
                <a:chOff x="5085426" y="3898078"/>
                <a:chExt cx="402848" cy="402848"/>
              </a:xfrm>
            </p:grpSpPr>
            <p:sp>
              <p:nvSpPr>
                <p:cNvPr id="47" name="Oval 266">
                  <a:extLst>
                    <a:ext uri="{FF2B5EF4-FFF2-40B4-BE49-F238E27FC236}">
                      <a16:creationId xmlns:a16="http://schemas.microsoft.com/office/drawing/2014/main" id="{3B381CB8-D51F-5CEC-70E5-6916FC83A072}"/>
                    </a:ext>
                  </a:extLst>
                </p:cNvPr>
                <p:cNvSpPr/>
                <p:nvPr/>
              </p:nvSpPr>
              <p:spPr>
                <a:xfrm>
                  <a:off x="5085426" y="3898078"/>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48" name="Arc 267">
                  <a:extLst>
                    <a:ext uri="{FF2B5EF4-FFF2-40B4-BE49-F238E27FC236}">
                      <a16:creationId xmlns:a16="http://schemas.microsoft.com/office/drawing/2014/main" id="{6FB18F05-CD57-827E-B36E-5DBB6D4589D5}"/>
                    </a:ext>
                  </a:extLst>
                </p:cNvPr>
                <p:cNvSpPr/>
                <p:nvPr/>
              </p:nvSpPr>
              <p:spPr>
                <a:xfrm>
                  <a:off x="5085426" y="3898297"/>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49" name="Graphic 265">
                <a:extLst>
                  <a:ext uri="{FF2B5EF4-FFF2-40B4-BE49-F238E27FC236}">
                    <a16:creationId xmlns:a16="http://schemas.microsoft.com/office/drawing/2014/main" id="{34C3268E-116C-6ED9-F626-CD2BF4C4E4F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51930" y="3964573"/>
                <a:ext cx="269839" cy="269839"/>
              </a:xfrm>
              <a:prstGeom prst="rect">
                <a:avLst/>
              </a:prstGeom>
              <a:noFill/>
              <a:ln>
                <a:noFill/>
              </a:ln>
            </p:spPr>
          </p:pic>
        </p:grpSp>
        <p:pic>
          <p:nvPicPr>
            <p:cNvPr id="50" name="Picture 12" descr="Seed icon">
              <a:extLst>
                <a:ext uri="{FF2B5EF4-FFF2-40B4-BE49-F238E27FC236}">
                  <a16:creationId xmlns:a16="http://schemas.microsoft.com/office/drawing/2014/main" id="{E5D5ACEE-A077-D8D7-1394-4757A6B3C158}"/>
                </a:ext>
              </a:extLst>
            </p:cNvPr>
            <p:cNvPicPr>
              <a:picLocks noChangeAspect="1"/>
            </p:cNvPicPr>
            <p:nvPr/>
          </p:nvPicPr>
          <p:blipFill>
            <a:blip r:embed="rId16"/>
            <a:srcRect/>
            <a:stretch>
              <a:fillRect/>
            </a:stretch>
          </p:blipFill>
          <p:spPr>
            <a:xfrm>
              <a:off x="5159831" y="3972482"/>
              <a:ext cx="254038" cy="254038"/>
            </a:xfrm>
            <a:prstGeom prst="rect">
              <a:avLst/>
            </a:prstGeom>
            <a:noFill/>
            <a:ln>
              <a:noFill/>
            </a:ln>
          </p:spPr>
        </p:pic>
      </p:grpSp>
      <p:grpSp>
        <p:nvGrpSpPr>
          <p:cNvPr id="51" name="Group 228">
            <a:extLst>
              <a:ext uri="{FF2B5EF4-FFF2-40B4-BE49-F238E27FC236}">
                <a16:creationId xmlns:a16="http://schemas.microsoft.com/office/drawing/2014/main" id="{BBC3962B-B976-CAAC-8C2A-0E6BAC27140B}"/>
              </a:ext>
            </a:extLst>
          </p:cNvPr>
          <p:cNvGrpSpPr/>
          <p:nvPr/>
        </p:nvGrpSpPr>
        <p:grpSpPr>
          <a:xfrm>
            <a:off x="8378455" y="3898078"/>
            <a:ext cx="1428438" cy="402848"/>
            <a:chOff x="8378455" y="3898078"/>
            <a:chExt cx="1428438" cy="402848"/>
          </a:xfrm>
        </p:grpSpPr>
        <p:grpSp>
          <p:nvGrpSpPr>
            <p:cNvPr id="52" name="Group 244">
              <a:extLst>
                <a:ext uri="{FF2B5EF4-FFF2-40B4-BE49-F238E27FC236}">
                  <a16:creationId xmlns:a16="http://schemas.microsoft.com/office/drawing/2014/main" id="{8C790382-5D95-8084-88E2-93D0373BD29D}"/>
                </a:ext>
              </a:extLst>
            </p:cNvPr>
            <p:cNvGrpSpPr/>
            <p:nvPr/>
          </p:nvGrpSpPr>
          <p:grpSpPr>
            <a:xfrm>
              <a:off x="8378455" y="3898078"/>
              <a:ext cx="402848" cy="402848"/>
              <a:chOff x="8378455" y="3898078"/>
              <a:chExt cx="402848" cy="402848"/>
            </a:xfrm>
          </p:grpSpPr>
          <p:grpSp>
            <p:nvGrpSpPr>
              <p:cNvPr id="53" name="Group 247">
                <a:extLst>
                  <a:ext uri="{FF2B5EF4-FFF2-40B4-BE49-F238E27FC236}">
                    <a16:creationId xmlns:a16="http://schemas.microsoft.com/office/drawing/2014/main" id="{74970DE8-3B94-10ED-4AE3-5BC887B44E8A}"/>
                  </a:ext>
                </a:extLst>
              </p:cNvPr>
              <p:cNvGrpSpPr/>
              <p:nvPr/>
            </p:nvGrpSpPr>
            <p:grpSpPr>
              <a:xfrm>
                <a:off x="8378455" y="3898078"/>
                <a:ext cx="402848" cy="402848"/>
                <a:chOff x="8378455" y="3898078"/>
                <a:chExt cx="402848" cy="402848"/>
              </a:xfrm>
            </p:grpSpPr>
            <p:sp>
              <p:nvSpPr>
                <p:cNvPr id="54" name="Oval 249">
                  <a:extLst>
                    <a:ext uri="{FF2B5EF4-FFF2-40B4-BE49-F238E27FC236}">
                      <a16:creationId xmlns:a16="http://schemas.microsoft.com/office/drawing/2014/main" id="{7F1993FB-58BF-B3B0-01D4-A8D7CF6C8694}"/>
                    </a:ext>
                  </a:extLst>
                </p:cNvPr>
                <p:cNvSpPr/>
                <p:nvPr/>
              </p:nvSpPr>
              <p:spPr>
                <a:xfrm>
                  <a:off x="8378455" y="3898078"/>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55" name="Arc 250">
                  <a:extLst>
                    <a:ext uri="{FF2B5EF4-FFF2-40B4-BE49-F238E27FC236}">
                      <a16:creationId xmlns:a16="http://schemas.microsoft.com/office/drawing/2014/main" id="{FAFF628D-E33B-8729-3E71-83B68463826C}"/>
                    </a:ext>
                  </a:extLst>
                </p:cNvPr>
                <p:cNvSpPr/>
                <p:nvPr/>
              </p:nvSpPr>
              <p:spPr>
                <a:xfrm>
                  <a:off x="8378455" y="3898297"/>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56" name="Graphic 248">
                <a:extLst>
                  <a:ext uri="{FF2B5EF4-FFF2-40B4-BE49-F238E27FC236}">
                    <a16:creationId xmlns:a16="http://schemas.microsoft.com/office/drawing/2014/main" id="{585C85E6-E9BA-F093-D729-5E39C93366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44959" y="3964573"/>
                <a:ext cx="269839" cy="269839"/>
              </a:xfrm>
              <a:prstGeom prst="rect">
                <a:avLst/>
              </a:prstGeom>
              <a:noFill/>
              <a:ln>
                <a:noFill/>
              </a:ln>
            </p:spPr>
          </p:pic>
        </p:grpSp>
        <p:sp>
          <p:nvSpPr>
            <p:cNvPr id="57" name="TextBox 245">
              <a:extLst>
                <a:ext uri="{FF2B5EF4-FFF2-40B4-BE49-F238E27FC236}">
                  <a16:creationId xmlns:a16="http://schemas.microsoft.com/office/drawing/2014/main" id="{19FC365C-8163-365F-BE4E-8506155442D8}"/>
                </a:ext>
              </a:extLst>
            </p:cNvPr>
            <p:cNvSpPr txBox="1"/>
            <p:nvPr/>
          </p:nvSpPr>
          <p:spPr>
            <a:xfrm>
              <a:off x="8896910" y="3976387"/>
              <a:ext cx="909983"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sng"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Avenir Next"/>
                  <a:ea typeface="+mn-ea"/>
                  <a:cs typeface="Helvetica"/>
                </a:rPr>
                <a:t>Cotton</a:t>
              </a:r>
            </a:p>
          </p:txBody>
        </p:sp>
        <p:pic>
          <p:nvPicPr>
            <p:cNvPr id="58" name="Picture 18" descr="Wool icon">
              <a:extLst>
                <a:ext uri="{FF2B5EF4-FFF2-40B4-BE49-F238E27FC236}">
                  <a16:creationId xmlns:a16="http://schemas.microsoft.com/office/drawing/2014/main" id="{789B74B3-EF2D-266B-D7E8-DEC4B4F3731C}"/>
                </a:ext>
              </a:extLst>
            </p:cNvPr>
            <p:cNvPicPr>
              <a:picLocks noChangeAspect="1"/>
            </p:cNvPicPr>
            <p:nvPr/>
          </p:nvPicPr>
          <p:blipFill>
            <a:blip r:embed="rId17"/>
            <a:srcRect/>
            <a:stretch>
              <a:fillRect/>
            </a:stretch>
          </p:blipFill>
          <p:spPr>
            <a:xfrm>
              <a:off x="8454633" y="3974247"/>
              <a:ext cx="250499" cy="250499"/>
            </a:xfrm>
            <a:prstGeom prst="rect">
              <a:avLst/>
            </a:prstGeom>
            <a:noFill/>
            <a:ln>
              <a:noFill/>
            </a:ln>
          </p:spPr>
        </p:pic>
      </p:grpSp>
      <p:grpSp>
        <p:nvGrpSpPr>
          <p:cNvPr id="59" name="Group 229">
            <a:extLst>
              <a:ext uri="{FF2B5EF4-FFF2-40B4-BE49-F238E27FC236}">
                <a16:creationId xmlns:a16="http://schemas.microsoft.com/office/drawing/2014/main" id="{28C45B8A-7A3A-BED0-92A3-ADEFC53F1151}"/>
              </a:ext>
            </a:extLst>
          </p:cNvPr>
          <p:cNvGrpSpPr/>
          <p:nvPr/>
        </p:nvGrpSpPr>
        <p:grpSpPr>
          <a:xfrm>
            <a:off x="6794568" y="4482132"/>
            <a:ext cx="1744446" cy="402848"/>
            <a:chOff x="6794568" y="4482132"/>
            <a:chExt cx="1744446" cy="402848"/>
          </a:xfrm>
        </p:grpSpPr>
        <p:grpSp>
          <p:nvGrpSpPr>
            <p:cNvPr id="60" name="Group 238">
              <a:extLst>
                <a:ext uri="{FF2B5EF4-FFF2-40B4-BE49-F238E27FC236}">
                  <a16:creationId xmlns:a16="http://schemas.microsoft.com/office/drawing/2014/main" id="{BC593F9F-17A7-2E59-9183-5A767C1A2875}"/>
                </a:ext>
              </a:extLst>
            </p:cNvPr>
            <p:cNvGrpSpPr/>
            <p:nvPr/>
          </p:nvGrpSpPr>
          <p:grpSpPr>
            <a:xfrm>
              <a:off x="6794568" y="4482132"/>
              <a:ext cx="402848" cy="402848"/>
              <a:chOff x="6794568" y="4482132"/>
              <a:chExt cx="402848" cy="402848"/>
            </a:xfrm>
          </p:grpSpPr>
          <p:sp>
            <p:nvSpPr>
              <p:cNvPr id="61" name="Oval 242">
                <a:extLst>
                  <a:ext uri="{FF2B5EF4-FFF2-40B4-BE49-F238E27FC236}">
                    <a16:creationId xmlns:a16="http://schemas.microsoft.com/office/drawing/2014/main" id="{34379A45-932F-349D-366E-9DC5CB44CDA5}"/>
                  </a:ext>
                </a:extLst>
              </p:cNvPr>
              <p:cNvSpPr/>
              <p:nvPr/>
            </p:nvSpPr>
            <p:spPr>
              <a:xfrm>
                <a:off x="6794568" y="4482132"/>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62" name="Arc 243">
                <a:extLst>
                  <a:ext uri="{FF2B5EF4-FFF2-40B4-BE49-F238E27FC236}">
                    <a16:creationId xmlns:a16="http://schemas.microsoft.com/office/drawing/2014/main" id="{3445177C-8EF7-0D2F-EF48-8AEA42155963}"/>
                  </a:ext>
                </a:extLst>
              </p:cNvPr>
              <p:cNvSpPr/>
              <p:nvPr/>
            </p:nvSpPr>
            <p:spPr>
              <a:xfrm>
                <a:off x="6794568" y="4482361"/>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63" name="Graphic 239">
              <a:extLst>
                <a:ext uri="{FF2B5EF4-FFF2-40B4-BE49-F238E27FC236}">
                  <a16:creationId xmlns:a16="http://schemas.microsoft.com/office/drawing/2014/main" id="{642A90DE-2BAB-B490-4A1B-6ED8BF3A26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61072" y="4548637"/>
              <a:ext cx="269839" cy="269839"/>
            </a:xfrm>
            <a:prstGeom prst="rect">
              <a:avLst/>
            </a:prstGeom>
            <a:noFill/>
            <a:ln>
              <a:noFill/>
            </a:ln>
          </p:spPr>
        </p:pic>
        <p:sp>
          <p:nvSpPr>
            <p:cNvPr id="64" name="TextBox 240">
              <a:extLst>
                <a:ext uri="{FF2B5EF4-FFF2-40B4-BE49-F238E27FC236}">
                  <a16:creationId xmlns:a16="http://schemas.microsoft.com/office/drawing/2014/main" id="{8B7EA8E0-42C6-5AE1-8557-9FC6CF823EBB}"/>
                </a:ext>
              </a:extLst>
            </p:cNvPr>
            <p:cNvSpPr txBox="1"/>
            <p:nvPr/>
          </p:nvSpPr>
          <p:spPr>
            <a:xfrm>
              <a:off x="7340501" y="4560451"/>
              <a:ext cx="1198513"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000000"/>
                  </a:solidFill>
                  <a:effectLst/>
                  <a:uLnTx/>
                  <a:uFillTx/>
                  <a:latin typeface="Avenir Next"/>
                  <a:ea typeface="+mn-ea"/>
                  <a:cs typeface="Helvetica"/>
                </a:rPr>
                <a:t>Soybean</a:t>
              </a:r>
            </a:p>
          </p:txBody>
        </p:sp>
        <p:pic>
          <p:nvPicPr>
            <p:cNvPr id="65" name="Picture 42" descr="Soy icon">
              <a:extLst>
                <a:ext uri="{FF2B5EF4-FFF2-40B4-BE49-F238E27FC236}">
                  <a16:creationId xmlns:a16="http://schemas.microsoft.com/office/drawing/2014/main" id="{7304C1D0-AAF8-ADBA-4610-D2757E567414}"/>
                </a:ext>
              </a:extLst>
            </p:cNvPr>
            <p:cNvPicPr>
              <a:picLocks noChangeAspect="1"/>
            </p:cNvPicPr>
            <p:nvPr/>
          </p:nvPicPr>
          <p:blipFill>
            <a:blip r:embed="rId18"/>
            <a:srcRect/>
            <a:stretch>
              <a:fillRect/>
            </a:stretch>
          </p:blipFill>
          <p:spPr>
            <a:xfrm>
              <a:off x="6873444" y="4561008"/>
              <a:ext cx="245095" cy="245095"/>
            </a:xfrm>
            <a:prstGeom prst="rect">
              <a:avLst/>
            </a:prstGeom>
            <a:noFill/>
            <a:ln>
              <a:noFill/>
            </a:ln>
          </p:spPr>
        </p:pic>
      </p:grpSp>
      <p:grpSp>
        <p:nvGrpSpPr>
          <p:cNvPr id="66" name="Group 205">
            <a:extLst>
              <a:ext uri="{FF2B5EF4-FFF2-40B4-BE49-F238E27FC236}">
                <a16:creationId xmlns:a16="http://schemas.microsoft.com/office/drawing/2014/main" id="{A825A775-136D-B4D3-2EE4-55FFFBF7106E}"/>
              </a:ext>
            </a:extLst>
          </p:cNvPr>
          <p:cNvGrpSpPr/>
          <p:nvPr/>
        </p:nvGrpSpPr>
        <p:grpSpPr>
          <a:xfrm>
            <a:off x="10087605" y="3898078"/>
            <a:ext cx="1428430" cy="402848"/>
            <a:chOff x="10087605" y="3898078"/>
            <a:chExt cx="1428430" cy="402848"/>
          </a:xfrm>
        </p:grpSpPr>
        <p:grpSp>
          <p:nvGrpSpPr>
            <p:cNvPr id="67" name="Group 221">
              <a:extLst>
                <a:ext uri="{FF2B5EF4-FFF2-40B4-BE49-F238E27FC236}">
                  <a16:creationId xmlns:a16="http://schemas.microsoft.com/office/drawing/2014/main" id="{8B0060EC-9BD2-A79C-57E1-EA68642915BA}"/>
                </a:ext>
              </a:extLst>
            </p:cNvPr>
            <p:cNvGrpSpPr/>
            <p:nvPr/>
          </p:nvGrpSpPr>
          <p:grpSpPr>
            <a:xfrm>
              <a:off x="10087605" y="3898078"/>
              <a:ext cx="402848" cy="402848"/>
              <a:chOff x="10087605" y="3898078"/>
              <a:chExt cx="402848" cy="402848"/>
            </a:xfrm>
          </p:grpSpPr>
          <p:grpSp>
            <p:nvGrpSpPr>
              <p:cNvPr id="68" name="Group 224">
                <a:extLst>
                  <a:ext uri="{FF2B5EF4-FFF2-40B4-BE49-F238E27FC236}">
                    <a16:creationId xmlns:a16="http://schemas.microsoft.com/office/drawing/2014/main" id="{F47764E6-CEC4-5229-AE49-5AE0333130AB}"/>
                  </a:ext>
                </a:extLst>
              </p:cNvPr>
              <p:cNvGrpSpPr/>
              <p:nvPr/>
            </p:nvGrpSpPr>
            <p:grpSpPr>
              <a:xfrm>
                <a:off x="10087605" y="3898078"/>
                <a:ext cx="402848" cy="402848"/>
                <a:chOff x="10087605" y="3898078"/>
                <a:chExt cx="402848" cy="402848"/>
              </a:xfrm>
            </p:grpSpPr>
            <p:sp>
              <p:nvSpPr>
                <p:cNvPr id="69" name="Oval 226">
                  <a:extLst>
                    <a:ext uri="{FF2B5EF4-FFF2-40B4-BE49-F238E27FC236}">
                      <a16:creationId xmlns:a16="http://schemas.microsoft.com/office/drawing/2014/main" id="{C3FB88EB-C6E4-E043-C8DF-696504C15237}"/>
                    </a:ext>
                  </a:extLst>
                </p:cNvPr>
                <p:cNvSpPr/>
                <p:nvPr/>
              </p:nvSpPr>
              <p:spPr>
                <a:xfrm>
                  <a:off x="10087605" y="3898078"/>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70" name="Arc 227">
                  <a:extLst>
                    <a:ext uri="{FF2B5EF4-FFF2-40B4-BE49-F238E27FC236}">
                      <a16:creationId xmlns:a16="http://schemas.microsoft.com/office/drawing/2014/main" id="{EE74F6C7-CC97-AB57-CE2B-6EEA0C18794C}"/>
                    </a:ext>
                  </a:extLst>
                </p:cNvPr>
                <p:cNvSpPr/>
                <p:nvPr/>
              </p:nvSpPr>
              <p:spPr>
                <a:xfrm>
                  <a:off x="10087605" y="3898297"/>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71" name="Graphic 225">
                <a:extLst>
                  <a:ext uri="{FF2B5EF4-FFF2-40B4-BE49-F238E27FC236}">
                    <a16:creationId xmlns:a16="http://schemas.microsoft.com/office/drawing/2014/main" id="{2E5D9F98-9E91-DE9F-9D03-2D0676274B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54101" y="3964573"/>
                <a:ext cx="269839" cy="269839"/>
              </a:xfrm>
              <a:prstGeom prst="rect">
                <a:avLst/>
              </a:prstGeom>
              <a:noFill/>
              <a:ln>
                <a:noFill/>
              </a:ln>
            </p:spPr>
          </p:pic>
        </p:grpSp>
        <p:sp>
          <p:nvSpPr>
            <p:cNvPr id="72" name="TextBox 222">
              <a:extLst>
                <a:ext uri="{FF2B5EF4-FFF2-40B4-BE49-F238E27FC236}">
                  <a16:creationId xmlns:a16="http://schemas.microsoft.com/office/drawing/2014/main" id="{2936880D-0A19-01DA-2264-FF6C047DCB72}"/>
                </a:ext>
              </a:extLst>
            </p:cNvPr>
            <p:cNvSpPr txBox="1"/>
            <p:nvPr/>
          </p:nvSpPr>
          <p:spPr>
            <a:xfrm>
              <a:off x="10606052" y="3976387"/>
              <a:ext cx="909983"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a:ln>
                    <a:noFill/>
                  </a:ln>
                  <a:solidFill>
                    <a:srgbClr val="000000"/>
                  </a:solidFill>
                  <a:effectLst/>
                  <a:uLnTx/>
                  <a:uFillTx/>
                  <a:latin typeface="Avenir Next"/>
                  <a:ea typeface="+mn-ea"/>
                  <a:cs typeface="Helvetica"/>
                </a:rPr>
                <a:t>Oil palm</a:t>
              </a:r>
            </a:p>
          </p:txBody>
        </p:sp>
        <p:pic>
          <p:nvPicPr>
            <p:cNvPr id="73" name="Picture 26" descr="Beach icon">
              <a:extLst>
                <a:ext uri="{FF2B5EF4-FFF2-40B4-BE49-F238E27FC236}">
                  <a16:creationId xmlns:a16="http://schemas.microsoft.com/office/drawing/2014/main" id="{78DF46D6-7E8C-84AC-EA5D-CD6FFAD5192D}"/>
                </a:ext>
              </a:extLst>
            </p:cNvPr>
            <p:cNvPicPr>
              <a:picLocks noChangeAspect="1"/>
            </p:cNvPicPr>
            <p:nvPr/>
          </p:nvPicPr>
          <p:blipFill>
            <a:blip r:embed="rId19"/>
            <a:srcRect/>
            <a:stretch>
              <a:fillRect/>
            </a:stretch>
          </p:blipFill>
          <p:spPr>
            <a:xfrm>
              <a:off x="10169389" y="3979861"/>
              <a:ext cx="239271" cy="239271"/>
            </a:xfrm>
            <a:prstGeom prst="rect">
              <a:avLst/>
            </a:prstGeom>
            <a:noFill/>
            <a:ln>
              <a:noFill/>
            </a:ln>
          </p:spPr>
        </p:pic>
      </p:grpSp>
      <p:grpSp>
        <p:nvGrpSpPr>
          <p:cNvPr id="74" name="Group 206">
            <a:extLst>
              <a:ext uri="{FF2B5EF4-FFF2-40B4-BE49-F238E27FC236}">
                <a16:creationId xmlns:a16="http://schemas.microsoft.com/office/drawing/2014/main" id="{2ADDB15B-6BB3-24A8-A85C-99BA096D6D06}"/>
              </a:ext>
            </a:extLst>
          </p:cNvPr>
          <p:cNvGrpSpPr/>
          <p:nvPr/>
        </p:nvGrpSpPr>
        <p:grpSpPr>
          <a:xfrm>
            <a:off x="6794568" y="3898078"/>
            <a:ext cx="1427213" cy="402848"/>
            <a:chOff x="6794568" y="3898078"/>
            <a:chExt cx="1427213" cy="402848"/>
          </a:xfrm>
        </p:grpSpPr>
        <p:grpSp>
          <p:nvGrpSpPr>
            <p:cNvPr id="75" name="Group 214">
              <a:extLst>
                <a:ext uri="{FF2B5EF4-FFF2-40B4-BE49-F238E27FC236}">
                  <a16:creationId xmlns:a16="http://schemas.microsoft.com/office/drawing/2014/main" id="{35E96D6A-4235-A8BB-14C5-E4DEB4C7E397}"/>
                </a:ext>
              </a:extLst>
            </p:cNvPr>
            <p:cNvGrpSpPr/>
            <p:nvPr/>
          </p:nvGrpSpPr>
          <p:grpSpPr>
            <a:xfrm>
              <a:off x="6794568" y="3898078"/>
              <a:ext cx="402848" cy="402848"/>
              <a:chOff x="6794568" y="3898078"/>
              <a:chExt cx="402848" cy="402848"/>
            </a:xfrm>
          </p:grpSpPr>
          <p:grpSp>
            <p:nvGrpSpPr>
              <p:cNvPr id="76" name="Group 217">
                <a:extLst>
                  <a:ext uri="{FF2B5EF4-FFF2-40B4-BE49-F238E27FC236}">
                    <a16:creationId xmlns:a16="http://schemas.microsoft.com/office/drawing/2014/main" id="{F2A5AD21-036C-08F4-E8DE-9F1EF0C6B864}"/>
                  </a:ext>
                </a:extLst>
              </p:cNvPr>
              <p:cNvGrpSpPr/>
              <p:nvPr/>
            </p:nvGrpSpPr>
            <p:grpSpPr>
              <a:xfrm>
                <a:off x="6794568" y="3898078"/>
                <a:ext cx="402848" cy="402848"/>
                <a:chOff x="6794568" y="3898078"/>
                <a:chExt cx="402848" cy="402848"/>
              </a:xfrm>
            </p:grpSpPr>
            <p:sp>
              <p:nvSpPr>
                <p:cNvPr id="77" name="Oval 219">
                  <a:extLst>
                    <a:ext uri="{FF2B5EF4-FFF2-40B4-BE49-F238E27FC236}">
                      <a16:creationId xmlns:a16="http://schemas.microsoft.com/office/drawing/2014/main" id="{BA826B64-72E9-1221-641D-DB5C6C97264D}"/>
                    </a:ext>
                  </a:extLst>
                </p:cNvPr>
                <p:cNvSpPr/>
                <p:nvPr/>
              </p:nvSpPr>
              <p:spPr>
                <a:xfrm>
                  <a:off x="6794568" y="3898078"/>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78" name="Arc 220">
                  <a:extLst>
                    <a:ext uri="{FF2B5EF4-FFF2-40B4-BE49-F238E27FC236}">
                      <a16:creationId xmlns:a16="http://schemas.microsoft.com/office/drawing/2014/main" id="{08E4B50F-F411-69F8-F040-7FA80526592B}"/>
                    </a:ext>
                  </a:extLst>
                </p:cNvPr>
                <p:cNvSpPr/>
                <p:nvPr/>
              </p:nvSpPr>
              <p:spPr>
                <a:xfrm>
                  <a:off x="6794568" y="3898297"/>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79" name="Graphic 218">
                <a:extLst>
                  <a:ext uri="{FF2B5EF4-FFF2-40B4-BE49-F238E27FC236}">
                    <a16:creationId xmlns:a16="http://schemas.microsoft.com/office/drawing/2014/main" id="{68000891-9E38-B4ED-6B8B-F468FEA08D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61072" y="3964573"/>
                <a:ext cx="269839" cy="269839"/>
              </a:xfrm>
              <a:prstGeom prst="rect">
                <a:avLst/>
              </a:prstGeom>
              <a:noFill/>
              <a:ln>
                <a:noFill/>
              </a:ln>
            </p:spPr>
          </p:pic>
        </p:grpSp>
        <p:sp>
          <p:nvSpPr>
            <p:cNvPr id="80" name="TextBox 215">
              <a:extLst>
                <a:ext uri="{FF2B5EF4-FFF2-40B4-BE49-F238E27FC236}">
                  <a16:creationId xmlns:a16="http://schemas.microsoft.com/office/drawing/2014/main" id="{ED49BB93-046A-D796-AC09-3B272360BD3F}"/>
                </a:ext>
              </a:extLst>
            </p:cNvPr>
            <p:cNvSpPr txBox="1"/>
            <p:nvPr/>
          </p:nvSpPr>
          <p:spPr>
            <a:xfrm>
              <a:off x="7311798" y="3976387"/>
              <a:ext cx="909983"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a:ln>
                    <a:noFill/>
                  </a:ln>
                  <a:solidFill>
                    <a:srgbClr val="000000"/>
                  </a:solidFill>
                  <a:effectLst/>
                  <a:uLnTx/>
                  <a:uFillTx/>
                  <a:latin typeface="Avenir Next"/>
                  <a:ea typeface="+mn-ea"/>
                  <a:cs typeface="Helvetica"/>
                </a:rPr>
                <a:t>Coffee</a:t>
              </a:r>
            </a:p>
          </p:txBody>
        </p:sp>
        <p:pic>
          <p:nvPicPr>
            <p:cNvPr id="81" name="Picture 14" descr="Coffee icon">
              <a:extLst>
                <a:ext uri="{FF2B5EF4-FFF2-40B4-BE49-F238E27FC236}">
                  <a16:creationId xmlns:a16="http://schemas.microsoft.com/office/drawing/2014/main" id="{FE2851E3-3F30-804F-C0B3-8E663E4D2749}"/>
                </a:ext>
              </a:extLst>
            </p:cNvPr>
            <p:cNvPicPr>
              <a:picLocks noChangeAspect="1"/>
            </p:cNvPicPr>
            <p:nvPr/>
          </p:nvPicPr>
          <p:blipFill>
            <a:blip r:embed="rId20"/>
            <a:srcRect/>
            <a:stretch>
              <a:fillRect/>
            </a:stretch>
          </p:blipFill>
          <p:spPr>
            <a:xfrm>
              <a:off x="6885724" y="3989234"/>
              <a:ext cx="220525" cy="220525"/>
            </a:xfrm>
            <a:prstGeom prst="rect">
              <a:avLst/>
            </a:prstGeom>
            <a:noFill/>
            <a:ln>
              <a:noFill/>
            </a:ln>
          </p:spPr>
        </p:pic>
      </p:grpSp>
      <p:cxnSp>
        <p:nvCxnSpPr>
          <p:cNvPr id="82" name="Straight Connector 176">
            <a:extLst>
              <a:ext uri="{FF2B5EF4-FFF2-40B4-BE49-F238E27FC236}">
                <a16:creationId xmlns:a16="http://schemas.microsoft.com/office/drawing/2014/main" id="{EDBC8A3F-2845-88C5-07E3-F61483E619C9}"/>
              </a:ext>
            </a:extLst>
          </p:cNvPr>
          <p:cNvCxnSpPr/>
          <p:nvPr/>
        </p:nvCxnSpPr>
        <p:spPr>
          <a:xfrm>
            <a:off x="3194840" y="3377601"/>
            <a:ext cx="0" cy="2157929"/>
          </a:xfrm>
          <a:prstGeom prst="straightConnector1">
            <a:avLst/>
          </a:prstGeom>
          <a:noFill/>
          <a:ln w="19046" cap="flat">
            <a:solidFill>
              <a:srgbClr val="D9D9D9"/>
            </a:solidFill>
            <a:custDash>
              <a:ds d="100000" sp="100000"/>
            </a:custDash>
            <a:miter/>
          </a:ln>
        </p:spPr>
      </p:cxnSp>
      <p:grpSp>
        <p:nvGrpSpPr>
          <p:cNvPr id="83" name="Group 181">
            <a:extLst>
              <a:ext uri="{FF2B5EF4-FFF2-40B4-BE49-F238E27FC236}">
                <a16:creationId xmlns:a16="http://schemas.microsoft.com/office/drawing/2014/main" id="{BE7C0777-F52B-85AD-9C5E-04A71671F6B9}"/>
              </a:ext>
            </a:extLst>
          </p:cNvPr>
          <p:cNvGrpSpPr/>
          <p:nvPr/>
        </p:nvGrpSpPr>
        <p:grpSpPr>
          <a:xfrm>
            <a:off x="718306" y="4482132"/>
            <a:ext cx="1529526" cy="402848"/>
            <a:chOff x="718306" y="4482132"/>
            <a:chExt cx="1529526" cy="402848"/>
          </a:xfrm>
        </p:grpSpPr>
        <p:grpSp>
          <p:nvGrpSpPr>
            <p:cNvPr id="84" name="Group 198">
              <a:extLst>
                <a:ext uri="{FF2B5EF4-FFF2-40B4-BE49-F238E27FC236}">
                  <a16:creationId xmlns:a16="http://schemas.microsoft.com/office/drawing/2014/main" id="{67EBAB37-C73A-11E7-B433-F0CD2477764D}"/>
                </a:ext>
              </a:extLst>
            </p:cNvPr>
            <p:cNvGrpSpPr/>
            <p:nvPr/>
          </p:nvGrpSpPr>
          <p:grpSpPr>
            <a:xfrm>
              <a:off x="718306" y="4482132"/>
              <a:ext cx="402848" cy="402848"/>
              <a:chOff x="718306" y="4482132"/>
              <a:chExt cx="402848" cy="402848"/>
            </a:xfrm>
          </p:grpSpPr>
          <p:grpSp>
            <p:nvGrpSpPr>
              <p:cNvPr id="85" name="Group 201">
                <a:extLst>
                  <a:ext uri="{FF2B5EF4-FFF2-40B4-BE49-F238E27FC236}">
                    <a16:creationId xmlns:a16="http://schemas.microsoft.com/office/drawing/2014/main" id="{19749BF7-7368-974B-C71E-C9026A07CFC7}"/>
                  </a:ext>
                </a:extLst>
              </p:cNvPr>
              <p:cNvGrpSpPr/>
              <p:nvPr/>
            </p:nvGrpSpPr>
            <p:grpSpPr>
              <a:xfrm>
                <a:off x="718306" y="4482132"/>
                <a:ext cx="402848" cy="402848"/>
                <a:chOff x="718306" y="4482132"/>
                <a:chExt cx="402848" cy="402848"/>
              </a:xfrm>
            </p:grpSpPr>
            <p:sp>
              <p:nvSpPr>
                <p:cNvPr id="86" name="Oval 203">
                  <a:extLst>
                    <a:ext uri="{FF2B5EF4-FFF2-40B4-BE49-F238E27FC236}">
                      <a16:creationId xmlns:a16="http://schemas.microsoft.com/office/drawing/2014/main" id="{008A4694-1BCD-F6B8-E0B5-05BA6C754FDA}"/>
                    </a:ext>
                  </a:extLst>
                </p:cNvPr>
                <p:cNvSpPr/>
                <p:nvPr/>
              </p:nvSpPr>
              <p:spPr>
                <a:xfrm>
                  <a:off x="718306" y="4482132"/>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87" name="Arc 204">
                  <a:extLst>
                    <a:ext uri="{FF2B5EF4-FFF2-40B4-BE49-F238E27FC236}">
                      <a16:creationId xmlns:a16="http://schemas.microsoft.com/office/drawing/2014/main" id="{2A0E0D33-A3E1-63CB-CB01-E1C5D7F56B0F}"/>
                    </a:ext>
                  </a:extLst>
                </p:cNvPr>
                <p:cNvSpPr/>
                <p:nvPr/>
              </p:nvSpPr>
              <p:spPr>
                <a:xfrm>
                  <a:off x="718306" y="4482361"/>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88" name="Graphic 202">
                <a:extLst>
                  <a:ext uri="{FF2B5EF4-FFF2-40B4-BE49-F238E27FC236}">
                    <a16:creationId xmlns:a16="http://schemas.microsoft.com/office/drawing/2014/main" id="{444E4480-D923-3BC2-4B51-BC577D4DF20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811" y="4548637"/>
                <a:ext cx="269839" cy="269839"/>
              </a:xfrm>
              <a:prstGeom prst="rect">
                <a:avLst/>
              </a:prstGeom>
              <a:noFill/>
              <a:ln>
                <a:noFill/>
              </a:ln>
            </p:spPr>
          </p:pic>
        </p:grpSp>
        <p:sp>
          <p:nvSpPr>
            <p:cNvPr id="89" name="TextBox 199">
              <a:extLst>
                <a:ext uri="{FF2B5EF4-FFF2-40B4-BE49-F238E27FC236}">
                  <a16:creationId xmlns:a16="http://schemas.microsoft.com/office/drawing/2014/main" id="{733B3E4D-3829-659C-2E13-793AF99EA287}"/>
                </a:ext>
              </a:extLst>
            </p:cNvPr>
            <p:cNvSpPr txBox="1"/>
            <p:nvPr/>
          </p:nvSpPr>
          <p:spPr>
            <a:xfrm>
              <a:off x="1264240" y="4560451"/>
              <a:ext cx="983592"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sng"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Avenir Next"/>
                  <a:ea typeface="+mn-ea"/>
                  <a:cs typeface="Helvetica"/>
                </a:rPr>
                <a:t>NTFPs</a:t>
              </a:r>
            </a:p>
          </p:txBody>
        </p:sp>
        <p:pic>
          <p:nvPicPr>
            <p:cNvPr id="90" name="Picture 54" descr="Acorn icon">
              <a:extLst>
                <a:ext uri="{FF2B5EF4-FFF2-40B4-BE49-F238E27FC236}">
                  <a16:creationId xmlns:a16="http://schemas.microsoft.com/office/drawing/2014/main" id="{3828F53F-A1C7-1FF3-5D81-B64B79DA2C74}"/>
                </a:ext>
              </a:extLst>
            </p:cNvPr>
            <p:cNvPicPr>
              <a:picLocks noChangeAspect="1"/>
            </p:cNvPicPr>
            <p:nvPr/>
          </p:nvPicPr>
          <p:blipFill>
            <a:blip r:embed="rId21"/>
            <a:srcRect/>
            <a:stretch>
              <a:fillRect/>
            </a:stretch>
          </p:blipFill>
          <p:spPr>
            <a:xfrm>
              <a:off x="806208" y="4570034"/>
              <a:ext cx="227045" cy="227045"/>
            </a:xfrm>
            <a:prstGeom prst="rect">
              <a:avLst/>
            </a:prstGeom>
            <a:noFill/>
            <a:ln>
              <a:noFill/>
            </a:ln>
          </p:spPr>
        </p:pic>
      </p:grpSp>
      <p:grpSp>
        <p:nvGrpSpPr>
          <p:cNvPr id="91" name="Group 183">
            <a:extLst>
              <a:ext uri="{FF2B5EF4-FFF2-40B4-BE49-F238E27FC236}">
                <a16:creationId xmlns:a16="http://schemas.microsoft.com/office/drawing/2014/main" id="{E9CDCE99-166A-E3DA-1119-5ACCE03CA9DF}"/>
              </a:ext>
            </a:extLst>
          </p:cNvPr>
          <p:cNvGrpSpPr/>
          <p:nvPr/>
        </p:nvGrpSpPr>
        <p:grpSpPr>
          <a:xfrm>
            <a:off x="718306" y="3898078"/>
            <a:ext cx="1787826" cy="402848"/>
            <a:chOff x="718306" y="3898078"/>
            <a:chExt cx="1787826" cy="402848"/>
          </a:xfrm>
        </p:grpSpPr>
        <p:grpSp>
          <p:nvGrpSpPr>
            <p:cNvPr id="92" name="Group 184">
              <a:extLst>
                <a:ext uri="{FF2B5EF4-FFF2-40B4-BE49-F238E27FC236}">
                  <a16:creationId xmlns:a16="http://schemas.microsoft.com/office/drawing/2014/main" id="{AD7C4C29-6941-B149-3C86-389FDEB16228}"/>
                </a:ext>
              </a:extLst>
            </p:cNvPr>
            <p:cNvGrpSpPr/>
            <p:nvPr/>
          </p:nvGrpSpPr>
          <p:grpSpPr>
            <a:xfrm>
              <a:off x="718306" y="3898078"/>
              <a:ext cx="470879" cy="402848"/>
              <a:chOff x="718306" y="3898078"/>
              <a:chExt cx="470879" cy="402848"/>
            </a:xfrm>
          </p:grpSpPr>
          <p:sp>
            <p:nvSpPr>
              <p:cNvPr id="93" name="Oval 188">
                <a:extLst>
                  <a:ext uri="{FF2B5EF4-FFF2-40B4-BE49-F238E27FC236}">
                    <a16:creationId xmlns:a16="http://schemas.microsoft.com/office/drawing/2014/main" id="{1805B531-86DC-B327-57F2-90F66365E43F}"/>
                  </a:ext>
                </a:extLst>
              </p:cNvPr>
              <p:cNvSpPr/>
              <p:nvPr/>
            </p:nvSpPr>
            <p:spPr>
              <a:xfrm>
                <a:off x="718306" y="3898078"/>
                <a:ext cx="470879"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94" name="Arc 189">
                <a:extLst>
                  <a:ext uri="{FF2B5EF4-FFF2-40B4-BE49-F238E27FC236}">
                    <a16:creationId xmlns:a16="http://schemas.microsoft.com/office/drawing/2014/main" id="{1B55FABE-E663-1BA6-D76E-8F3BD79D10A9}"/>
                  </a:ext>
                </a:extLst>
              </p:cNvPr>
              <p:cNvSpPr/>
              <p:nvPr/>
            </p:nvSpPr>
            <p:spPr>
              <a:xfrm>
                <a:off x="718306" y="3898297"/>
                <a:ext cx="470367"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95" name="Graphic 185">
              <a:extLst>
                <a:ext uri="{FF2B5EF4-FFF2-40B4-BE49-F238E27FC236}">
                  <a16:creationId xmlns:a16="http://schemas.microsoft.com/office/drawing/2014/main" id="{4E972240-70DB-70BD-635C-8EE4D810383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6040" y="3964573"/>
              <a:ext cx="315413" cy="269839"/>
            </a:xfrm>
            <a:prstGeom prst="rect">
              <a:avLst/>
            </a:prstGeom>
            <a:noFill/>
            <a:ln>
              <a:noFill/>
            </a:ln>
          </p:spPr>
        </p:pic>
        <p:sp>
          <p:nvSpPr>
            <p:cNvPr id="96" name="TextBox 186">
              <a:extLst>
                <a:ext uri="{FF2B5EF4-FFF2-40B4-BE49-F238E27FC236}">
                  <a16:creationId xmlns:a16="http://schemas.microsoft.com/office/drawing/2014/main" id="{114BD9C0-457D-843E-3EAC-3639FD7FE3A3}"/>
                </a:ext>
              </a:extLst>
            </p:cNvPr>
            <p:cNvSpPr txBox="1"/>
            <p:nvPr/>
          </p:nvSpPr>
          <p:spPr>
            <a:xfrm>
              <a:off x="1356430" y="3964957"/>
              <a:ext cx="1149702"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a:ln>
                    <a:noFill/>
                  </a:ln>
                  <a:solidFill>
                    <a:srgbClr val="000000"/>
                  </a:solidFill>
                  <a:effectLst/>
                  <a:uLnTx/>
                  <a:uFillTx/>
                  <a:latin typeface="Avenir Next"/>
                  <a:ea typeface="+mn-ea"/>
                  <a:cs typeface="Helvetica"/>
                </a:rPr>
                <a:t>Ecotourism</a:t>
              </a:r>
            </a:p>
          </p:txBody>
        </p:sp>
        <p:pic>
          <p:nvPicPr>
            <p:cNvPr id="97" name="Picture 187" descr="A black background with a black square&#10;&#10;Description automatically generated with medium confidence">
              <a:extLst>
                <a:ext uri="{FF2B5EF4-FFF2-40B4-BE49-F238E27FC236}">
                  <a16:creationId xmlns:a16="http://schemas.microsoft.com/office/drawing/2014/main" id="{D4CE5D27-C2C7-AB7F-4912-BD1FA71B5139}"/>
                </a:ext>
              </a:extLst>
            </p:cNvPr>
            <p:cNvPicPr>
              <a:picLocks noChangeAspect="1"/>
            </p:cNvPicPr>
            <p:nvPr/>
          </p:nvPicPr>
          <p:blipFill>
            <a:blip r:embed="rId22"/>
            <a:stretch>
              <a:fillRect/>
            </a:stretch>
          </p:blipFill>
          <p:spPr>
            <a:xfrm>
              <a:off x="812892" y="3978993"/>
              <a:ext cx="281708" cy="241008"/>
            </a:xfrm>
            <a:prstGeom prst="rect">
              <a:avLst/>
            </a:prstGeom>
            <a:noFill/>
            <a:ln>
              <a:noFill/>
            </a:ln>
          </p:spPr>
        </p:pic>
      </p:grpSp>
      <p:sp>
        <p:nvSpPr>
          <p:cNvPr id="98" name="TextBox 22">
            <a:extLst>
              <a:ext uri="{FF2B5EF4-FFF2-40B4-BE49-F238E27FC236}">
                <a16:creationId xmlns:a16="http://schemas.microsoft.com/office/drawing/2014/main" id="{DD4A7BC6-7683-A0E9-77FC-2A3BE2D67FC1}"/>
              </a:ext>
            </a:extLst>
          </p:cNvPr>
          <p:cNvSpPr txBox="1"/>
          <p:nvPr/>
        </p:nvSpPr>
        <p:spPr>
          <a:xfrm>
            <a:off x="485208" y="3137992"/>
            <a:ext cx="2183541" cy="215441"/>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400" b="1" i="0" u="none" strike="noStrike" kern="0" cap="none" spc="0" normalizeH="0" baseline="0" noProof="0">
                <a:ln>
                  <a:noFill/>
                </a:ln>
                <a:solidFill>
                  <a:srgbClr val="000000"/>
                </a:solidFill>
                <a:effectLst/>
                <a:uLnTx/>
                <a:uFillTx/>
                <a:latin typeface="Helvetica" pitchFamily="34"/>
                <a:ea typeface="Verdana" pitchFamily="34"/>
                <a:cs typeface="Verdana" pitchFamily="34"/>
              </a:rPr>
              <a:t>Nature-based solutions</a:t>
            </a:r>
          </a:p>
        </p:txBody>
      </p:sp>
      <p:sp>
        <p:nvSpPr>
          <p:cNvPr id="99" name="TextBox 22">
            <a:extLst>
              <a:ext uri="{FF2B5EF4-FFF2-40B4-BE49-F238E27FC236}">
                <a16:creationId xmlns:a16="http://schemas.microsoft.com/office/drawing/2014/main" id="{E93E6126-C39A-2EDF-7179-3CC39D098CB5}"/>
              </a:ext>
            </a:extLst>
          </p:cNvPr>
          <p:cNvSpPr txBox="1"/>
          <p:nvPr/>
        </p:nvSpPr>
        <p:spPr>
          <a:xfrm>
            <a:off x="718306" y="5650260"/>
            <a:ext cx="1804577" cy="430883"/>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400" b="1" i="0" u="none" strike="noStrike" kern="0" cap="none" spc="0" normalizeH="0" baseline="0" noProof="0">
                <a:ln>
                  <a:noFill/>
                </a:ln>
                <a:solidFill>
                  <a:srgbClr val="000000"/>
                </a:solidFill>
                <a:effectLst/>
                <a:uLnTx/>
                <a:uFillTx/>
                <a:latin typeface="Helvetica" pitchFamily="34"/>
                <a:ea typeface="Verdana" pitchFamily="34"/>
                <a:cs typeface="Verdana" pitchFamily="34"/>
              </a:rPr>
              <a:t>Biodiversity and ecosystem services</a:t>
            </a:r>
          </a:p>
        </p:txBody>
      </p:sp>
      <p:sp>
        <p:nvSpPr>
          <p:cNvPr id="100" name="Arrow: Pentagon 180">
            <a:extLst>
              <a:ext uri="{FF2B5EF4-FFF2-40B4-BE49-F238E27FC236}">
                <a16:creationId xmlns:a16="http://schemas.microsoft.com/office/drawing/2014/main" id="{CCFDEDD8-F217-9015-E975-568885C68E33}"/>
              </a:ext>
            </a:extLst>
          </p:cNvPr>
          <p:cNvSpPr/>
          <p:nvPr/>
        </p:nvSpPr>
        <p:spPr>
          <a:xfrm>
            <a:off x="2622554" y="5673376"/>
            <a:ext cx="8752938" cy="384660"/>
          </a:xfrm>
          <a:custGeom>
            <a:avLst>
              <a:gd name="f8" fmla="val 50000"/>
            </a:avLst>
            <a:gdLst>
              <a:gd name="f1" fmla="val 10800000"/>
              <a:gd name="f2" fmla="val 5400000"/>
              <a:gd name="f3" fmla="val 180"/>
              <a:gd name="f4" fmla="val w"/>
              <a:gd name="f5" fmla="val h"/>
              <a:gd name="f6" fmla="val ss"/>
              <a:gd name="f7" fmla="val 0"/>
              <a:gd name="f8" fmla="val 50000"/>
              <a:gd name="f9" fmla="+- 0 0 -360"/>
              <a:gd name="f10" fmla="+- 0 0 -180"/>
              <a:gd name="f11" fmla="abs f4"/>
              <a:gd name="f12" fmla="abs f5"/>
              <a:gd name="f13" fmla="abs f6"/>
              <a:gd name="f14" fmla="val f7"/>
              <a:gd name="f15" fmla="val f8"/>
              <a:gd name="f16" fmla="*/ f9 f1 1"/>
              <a:gd name="f17" fmla="*/ f10 f1 1"/>
              <a:gd name="f18" fmla="?: f11 f4 1"/>
              <a:gd name="f19" fmla="?: f12 f5 1"/>
              <a:gd name="f20" fmla="?: f13 f6 1"/>
              <a:gd name="f21" fmla="*/ f16 1 f3"/>
              <a:gd name="f22" fmla="*/ f17 1 f3"/>
              <a:gd name="f23" fmla="*/ f18 1 21600"/>
              <a:gd name="f24" fmla="*/ f19 1 21600"/>
              <a:gd name="f25" fmla="*/ 21600 f18 1"/>
              <a:gd name="f26" fmla="*/ 21600 f19 1"/>
              <a:gd name="f27" fmla="+- f21 0 f2"/>
              <a:gd name="f28" fmla="+- f22 0 f2"/>
              <a:gd name="f29" fmla="min f24 f23"/>
              <a:gd name="f30" fmla="*/ f25 1 f20"/>
              <a:gd name="f31" fmla="*/ f26 1 f20"/>
              <a:gd name="f32" fmla="val f30"/>
              <a:gd name="f33" fmla="val f31"/>
              <a:gd name="f34" fmla="*/ f14 f29 1"/>
              <a:gd name="f35" fmla="+- f33 0 f14"/>
              <a:gd name="f36" fmla="+- f32 0 f14"/>
              <a:gd name="f37" fmla="*/ f33 f29 1"/>
              <a:gd name="f38" fmla="*/ f32 f29 1"/>
              <a:gd name="f39" fmla="*/ f35 1 2"/>
              <a:gd name="f40" fmla="min f36 f35"/>
              <a:gd name="f41" fmla="+- f14 f39 0"/>
              <a:gd name="f42" fmla="*/ f40 f15 1"/>
              <a:gd name="f43" fmla="*/ f42 1 100000"/>
              <a:gd name="f44" fmla="*/ f41 f29 1"/>
              <a:gd name="f45" fmla="+- f32 0 f43"/>
              <a:gd name="f46" fmla="+- f45 f32 0"/>
              <a:gd name="f47" fmla="*/ f45 1 2"/>
              <a:gd name="f48" fmla="*/ f45 f29 1"/>
              <a:gd name="f49" fmla="*/ f46 1 2"/>
              <a:gd name="f50" fmla="*/ f47 f29 1"/>
              <a:gd name="f51" fmla="*/ f49 f29 1"/>
            </a:gdLst>
            <a:ahLst/>
            <a:cxnLst>
              <a:cxn ang="3cd4">
                <a:pos x="hc" y="t"/>
              </a:cxn>
              <a:cxn ang="0">
                <a:pos x="r" y="vc"/>
              </a:cxn>
              <a:cxn ang="cd4">
                <a:pos x="hc" y="b"/>
              </a:cxn>
              <a:cxn ang="cd2">
                <a:pos x="l" y="vc"/>
              </a:cxn>
              <a:cxn ang="f27">
                <a:pos x="f50" y="f34"/>
              </a:cxn>
              <a:cxn ang="f28">
                <a:pos x="f50" y="f37"/>
              </a:cxn>
            </a:cxnLst>
            <a:rect l="f34" t="f34" r="f51" b="f37"/>
            <a:pathLst>
              <a:path>
                <a:moveTo>
                  <a:pt x="f34" y="f34"/>
                </a:moveTo>
                <a:lnTo>
                  <a:pt x="f48" y="f34"/>
                </a:lnTo>
                <a:lnTo>
                  <a:pt x="f38" y="f44"/>
                </a:lnTo>
                <a:lnTo>
                  <a:pt x="f48" y="f37"/>
                </a:lnTo>
                <a:lnTo>
                  <a:pt x="f34" y="f37"/>
                </a:lnTo>
                <a:close/>
              </a:path>
            </a:pathLst>
          </a:custGeom>
          <a:solidFill>
            <a:srgbClr val="CBEDD3"/>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400" b="1" i="0" u="none" strike="noStrike" kern="0" cap="none" spc="0" normalizeH="0" baseline="0" noProof="0">
                <a:ln>
                  <a:noFill/>
                </a:ln>
                <a:solidFill>
                  <a:srgbClr val="000000"/>
                </a:solidFill>
                <a:effectLst/>
                <a:uLnTx/>
                <a:uFillTx/>
                <a:latin typeface="Avenir Next LT Pro"/>
                <a:ea typeface="+mn-ea"/>
                <a:cs typeface="+mn-cs"/>
              </a:rPr>
              <a:t>Including health benefits and managing natural disturbances</a:t>
            </a:r>
            <a:r>
              <a:rPr kumimoji="0" lang="en-GB" sz="1400" b="1" i="0" u="none" strike="noStrike" kern="0" cap="none" spc="0" normalizeH="0" baseline="0" noProof="0">
                <a:ln>
                  <a:noFill/>
                </a:ln>
                <a:solidFill>
                  <a:srgbClr val="000000"/>
                </a:solidFill>
                <a:effectLst/>
                <a:uLnTx/>
                <a:uFillTx/>
                <a:latin typeface="Avenir Next"/>
                <a:ea typeface="+mn-ea"/>
                <a:cs typeface="+mn-cs"/>
              </a:rPr>
              <a:t> </a:t>
            </a:r>
          </a:p>
        </p:txBody>
      </p:sp>
      <p:grpSp>
        <p:nvGrpSpPr>
          <p:cNvPr id="101" name="Group 326">
            <a:extLst>
              <a:ext uri="{FF2B5EF4-FFF2-40B4-BE49-F238E27FC236}">
                <a16:creationId xmlns:a16="http://schemas.microsoft.com/office/drawing/2014/main" id="{3B1716ED-C44D-248D-5109-A1DAF33C83E2}"/>
              </a:ext>
            </a:extLst>
          </p:cNvPr>
          <p:cNvGrpSpPr/>
          <p:nvPr/>
        </p:nvGrpSpPr>
        <p:grpSpPr>
          <a:xfrm>
            <a:off x="718306" y="5066196"/>
            <a:ext cx="1529526" cy="402848"/>
            <a:chOff x="718306" y="5066196"/>
            <a:chExt cx="1529526" cy="402848"/>
          </a:xfrm>
        </p:grpSpPr>
        <p:grpSp>
          <p:nvGrpSpPr>
            <p:cNvPr id="102" name="Group 327">
              <a:extLst>
                <a:ext uri="{FF2B5EF4-FFF2-40B4-BE49-F238E27FC236}">
                  <a16:creationId xmlns:a16="http://schemas.microsoft.com/office/drawing/2014/main" id="{7F16C5DC-43E5-C26A-921D-59C4B24A2EE6}"/>
                </a:ext>
              </a:extLst>
            </p:cNvPr>
            <p:cNvGrpSpPr/>
            <p:nvPr/>
          </p:nvGrpSpPr>
          <p:grpSpPr>
            <a:xfrm>
              <a:off x="718306" y="5066196"/>
              <a:ext cx="402848" cy="402848"/>
              <a:chOff x="718306" y="5066196"/>
              <a:chExt cx="402848" cy="402848"/>
            </a:xfrm>
          </p:grpSpPr>
          <p:grpSp>
            <p:nvGrpSpPr>
              <p:cNvPr id="103" name="Group 330">
                <a:extLst>
                  <a:ext uri="{FF2B5EF4-FFF2-40B4-BE49-F238E27FC236}">
                    <a16:creationId xmlns:a16="http://schemas.microsoft.com/office/drawing/2014/main" id="{8A65EED1-32F5-4570-2B49-FCEE2C2DBA79}"/>
                  </a:ext>
                </a:extLst>
              </p:cNvPr>
              <p:cNvGrpSpPr/>
              <p:nvPr/>
            </p:nvGrpSpPr>
            <p:grpSpPr>
              <a:xfrm>
                <a:off x="718306" y="5066196"/>
                <a:ext cx="402848" cy="402848"/>
                <a:chOff x="718306" y="5066196"/>
                <a:chExt cx="402848" cy="402848"/>
              </a:xfrm>
            </p:grpSpPr>
            <p:sp>
              <p:nvSpPr>
                <p:cNvPr id="104" name="Oval 332">
                  <a:extLst>
                    <a:ext uri="{FF2B5EF4-FFF2-40B4-BE49-F238E27FC236}">
                      <a16:creationId xmlns:a16="http://schemas.microsoft.com/office/drawing/2014/main" id="{45742F02-A42B-0079-A19F-63A4213670D0}"/>
                    </a:ext>
                  </a:extLst>
                </p:cNvPr>
                <p:cNvSpPr/>
                <p:nvPr/>
              </p:nvSpPr>
              <p:spPr>
                <a:xfrm>
                  <a:off x="718306" y="5066196"/>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venir Next"/>
                    <a:ea typeface="+mn-ea"/>
                    <a:cs typeface="+mn-cs"/>
                  </a:endParaRPr>
                </a:p>
              </p:txBody>
            </p:sp>
            <p:sp>
              <p:nvSpPr>
                <p:cNvPr id="105" name="Arc 333">
                  <a:extLst>
                    <a:ext uri="{FF2B5EF4-FFF2-40B4-BE49-F238E27FC236}">
                      <a16:creationId xmlns:a16="http://schemas.microsoft.com/office/drawing/2014/main" id="{29B4DF92-9607-3EAB-9C5E-FEB517E5E218}"/>
                    </a:ext>
                  </a:extLst>
                </p:cNvPr>
                <p:cNvSpPr/>
                <p:nvPr/>
              </p:nvSpPr>
              <p:spPr>
                <a:xfrm>
                  <a:off x="718306" y="5066425"/>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424242"/>
                    </a:solidFill>
                    <a:effectLst/>
                    <a:uLnTx/>
                    <a:uFillTx/>
                    <a:latin typeface="Avenir Next"/>
                    <a:ea typeface="+mn-ea"/>
                    <a:cs typeface="+mn-cs"/>
                  </a:endParaRPr>
                </a:p>
              </p:txBody>
            </p:sp>
          </p:grpSp>
          <p:pic>
            <p:nvPicPr>
              <p:cNvPr id="106" name="Graphic 331">
                <a:extLst>
                  <a:ext uri="{FF2B5EF4-FFF2-40B4-BE49-F238E27FC236}">
                    <a16:creationId xmlns:a16="http://schemas.microsoft.com/office/drawing/2014/main" id="{6C6C10BA-AA7B-3C33-2DE4-48514F178B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4811" y="5132700"/>
                <a:ext cx="269839" cy="269839"/>
              </a:xfrm>
              <a:prstGeom prst="rect">
                <a:avLst/>
              </a:prstGeom>
              <a:noFill/>
              <a:ln>
                <a:noFill/>
              </a:ln>
            </p:spPr>
          </p:pic>
        </p:grpSp>
        <p:sp>
          <p:nvSpPr>
            <p:cNvPr id="107" name="TextBox 328">
              <a:extLst>
                <a:ext uri="{FF2B5EF4-FFF2-40B4-BE49-F238E27FC236}">
                  <a16:creationId xmlns:a16="http://schemas.microsoft.com/office/drawing/2014/main" id="{CA3B394E-26E2-13E1-9CAD-78C0B4E9DED4}"/>
                </a:ext>
              </a:extLst>
            </p:cNvPr>
            <p:cNvSpPr txBox="1"/>
            <p:nvPr/>
          </p:nvSpPr>
          <p:spPr>
            <a:xfrm>
              <a:off x="1264240" y="5144514"/>
              <a:ext cx="983592"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a:ln>
                    <a:noFill/>
                  </a:ln>
                  <a:solidFill>
                    <a:srgbClr val="000000"/>
                  </a:solidFill>
                  <a:effectLst/>
                  <a:uLnTx/>
                  <a:uFillTx/>
                  <a:latin typeface="Avenir Next"/>
                  <a:ea typeface="+mn-ea"/>
                  <a:cs typeface="Helvetica"/>
                </a:rPr>
                <a:t>Timber</a:t>
              </a:r>
            </a:p>
          </p:txBody>
        </p:sp>
        <p:pic>
          <p:nvPicPr>
            <p:cNvPr id="108" name="Picture 50" descr="Timber icon">
              <a:extLst>
                <a:ext uri="{FF2B5EF4-FFF2-40B4-BE49-F238E27FC236}">
                  <a16:creationId xmlns:a16="http://schemas.microsoft.com/office/drawing/2014/main" id="{F7266BC2-1D15-37D4-E425-22EFAF8DFE4C}"/>
                </a:ext>
              </a:extLst>
            </p:cNvPr>
            <p:cNvPicPr>
              <a:picLocks noChangeAspect="1"/>
            </p:cNvPicPr>
            <p:nvPr/>
          </p:nvPicPr>
          <p:blipFill>
            <a:blip r:embed="rId12"/>
            <a:srcRect/>
            <a:stretch>
              <a:fillRect/>
            </a:stretch>
          </p:blipFill>
          <p:spPr>
            <a:xfrm>
              <a:off x="774313" y="5122203"/>
              <a:ext cx="290843" cy="290843"/>
            </a:xfrm>
            <a:prstGeom prst="rect">
              <a:avLst/>
            </a:prstGeom>
            <a:noFill/>
            <a:ln>
              <a:noFill/>
            </a:ln>
          </p:spPr>
        </p:pic>
      </p:grpSp>
      <p:grpSp>
        <p:nvGrpSpPr>
          <p:cNvPr id="109" name="Group 5">
            <a:extLst>
              <a:ext uri="{FF2B5EF4-FFF2-40B4-BE49-F238E27FC236}">
                <a16:creationId xmlns:a16="http://schemas.microsoft.com/office/drawing/2014/main" id="{AE7D7CF1-BF45-FE4F-17AD-8CAFAEE0E658}"/>
              </a:ext>
            </a:extLst>
          </p:cNvPr>
          <p:cNvGrpSpPr/>
          <p:nvPr/>
        </p:nvGrpSpPr>
        <p:grpSpPr>
          <a:xfrm>
            <a:off x="10087605" y="4482132"/>
            <a:ext cx="1529517" cy="402848"/>
            <a:chOff x="10087605" y="4482132"/>
            <a:chExt cx="1529517" cy="402848"/>
          </a:xfrm>
        </p:grpSpPr>
        <p:grpSp>
          <p:nvGrpSpPr>
            <p:cNvPr id="110" name="Group 6">
              <a:extLst>
                <a:ext uri="{FF2B5EF4-FFF2-40B4-BE49-F238E27FC236}">
                  <a16:creationId xmlns:a16="http://schemas.microsoft.com/office/drawing/2014/main" id="{E8BBFAFF-F40B-980C-3F6A-1B563DBF70DF}"/>
                </a:ext>
              </a:extLst>
            </p:cNvPr>
            <p:cNvGrpSpPr/>
            <p:nvPr/>
          </p:nvGrpSpPr>
          <p:grpSpPr>
            <a:xfrm>
              <a:off x="10087605" y="4482132"/>
              <a:ext cx="402848" cy="402848"/>
              <a:chOff x="10087605" y="4482132"/>
              <a:chExt cx="402848" cy="402848"/>
            </a:xfrm>
          </p:grpSpPr>
          <p:grpSp>
            <p:nvGrpSpPr>
              <p:cNvPr id="111" name="Group 9">
                <a:extLst>
                  <a:ext uri="{FF2B5EF4-FFF2-40B4-BE49-F238E27FC236}">
                    <a16:creationId xmlns:a16="http://schemas.microsoft.com/office/drawing/2014/main" id="{EE46DEF8-069C-7BF7-78BF-786B7028AD4A}"/>
                  </a:ext>
                </a:extLst>
              </p:cNvPr>
              <p:cNvGrpSpPr/>
              <p:nvPr/>
            </p:nvGrpSpPr>
            <p:grpSpPr>
              <a:xfrm>
                <a:off x="10087605" y="4482132"/>
                <a:ext cx="402848" cy="402848"/>
                <a:chOff x="10087605" y="4482132"/>
                <a:chExt cx="402848" cy="402848"/>
              </a:xfrm>
            </p:grpSpPr>
            <p:sp>
              <p:nvSpPr>
                <p:cNvPr id="112" name="Oval 11">
                  <a:extLst>
                    <a:ext uri="{FF2B5EF4-FFF2-40B4-BE49-F238E27FC236}">
                      <a16:creationId xmlns:a16="http://schemas.microsoft.com/office/drawing/2014/main" id="{2EE37546-3673-CB9B-385E-D62CE40D1120}"/>
                    </a:ext>
                  </a:extLst>
                </p:cNvPr>
                <p:cNvSpPr/>
                <p:nvPr/>
              </p:nvSpPr>
              <p:spPr>
                <a:xfrm>
                  <a:off x="10087605" y="4482132"/>
                  <a:ext cx="402848" cy="40284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a:noFill/>
                  <a:prstDash val="solid"/>
                </a:ln>
                <a:effectLst>
                  <a:outerShdw dir="16200000" algn="tl">
                    <a:srgbClr val="000000">
                      <a:alpha val="40000"/>
                    </a:srgbClr>
                  </a:outerShdw>
                </a:effectLst>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600" b="0" i="0" u="none" strike="noStrike" kern="0" cap="none" spc="0" normalizeH="0" baseline="0" noProof="0">
                    <a:ln>
                      <a:noFill/>
                    </a:ln>
                    <a:solidFill>
                      <a:srgbClr val="FFFFFF"/>
                    </a:solidFill>
                    <a:effectLst/>
                    <a:uLnTx/>
                    <a:uFillTx/>
                    <a:latin typeface="Helvetica" pitchFamily="2"/>
                    <a:ea typeface="+mn-ea"/>
                    <a:cs typeface="+mn-cs"/>
                  </a:endParaRPr>
                </a:p>
              </p:txBody>
            </p:sp>
            <p:sp>
              <p:nvSpPr>
                <p:cNvPr id="113" name="Arc 12">
                  <a:extLst>
                    <a:ext uri="{FF2B5EF4-FFF2-40B4-BE49-F238E27FC236}">
                      <a16:creationId xmlns:a16="http://schemas.microsoft.com/office/drawing/2014/main" id="{D0430604-FDFE-FDE2-62FD-055EEACAC030}"/>
                    </a:ext>
                  </a:extLst>
                </p:cNvPr>
                <p:cNvSpPr/>
                <p:nvPr/>
              </p:nvSpPr>
              <p:spPr>
                <a:xfrm>
                  <a:off x="10087605" y="4482361"/>
                  <a:ext cx="402409" cy="402409"/>
                </a:xfrm>
                <a:custGeom>
                  <a:avLst>
                    <a:gd name="f12" fmla="val 180"/>
                    <a:gd name="f13" fmla="val 270"/>
                  </a:avLst>
                  <a:gdLst>
                    <a:gd name="f2" fmla="val 10800000"/>
                    <a:gd name="f3" fmla="val 5400000"/>
                    <a:gd name="f4" fmla="val 16200000"/>
                    <a:gd name="f5" fmla="val 180"/>
                    <a:gd name="f6" fmla="val w"/>
                    <a:gd name="f7" fmla="val h"/>
                    <a:gd name="f8" fmla="val ss"/>
                    <a:gd name="f9" fmla="val 0"/>
                    <a:gd name="f10" fmla="*/ 5419351 1 1725033"/>
                    <a:gd name="f11" fmla="+- 0 0 1"/>
                    <a:gd name="f12" fmla="val 180"/>
                    <a:gd name="f13" fmla="val 270"/>
                    <a:gd name="f14" fmla="+- 0 0 -270"/>
                    <a:gd name="f15" fmla="+- 0 0 -225"/>
                    <a:gd name="f16" fmla="+- 0 0 -180"/>
                    <a:gd name="f17" fmla="abs f6"/>
                    <a:gd name="f18" fmla="abs f7"/>
                    <a:gd name="f19" fmla="abs f8"/>
                    <a:gd name="f20" fmla="val f9"/>
                    <a:gd name="f21" fmla="+- 0 0 f12"/>
                    <a:gd name="f22" fmla="+- 0 0 f13"/>
                    <a:gd name="f23" fmla="*/ f14 f2 1"/>
                    <a:gd name="f24" fmla="*/ f15 f2 1"/>
                    <a:gd name="f25" fmla="*/ f16 f2 1"/>
                    <a:gd name="f26" fmla="?: f17 f6 1"/>
                    <a:gd name="f27" fmla="?: f18 f7 1"/>
                    <a:gd name="f28" fmla="?: f19 f8 1"/>
                    <a:gd name="f29" fmla="*/ f21 f2 1"/>
                    <a:gd name="f30" fmla="*/ f22 f2 1"/>
                    <a:gd name="f31" fmla="*/ f23 1 f5"/>
                    <a:gd name="f32" fmla="*/ f24 1 f5"/>
                    <a:gd name="f33" fmla="*/ f25 1 f5"/>
                    <a:gd name="f34" fmla="*/ f26 1 21600"/>
                    <a:gd name="f35" fmla="*/ f27 1 21600"/>
                    <a:gd name="f36" fmla="*/ 21600 f26 1"/>
                    <a:gd name="f37" fmla="*/ 21600 f27 1"/>
                    <a:gd name="f38" fmla="*/ f29 1 f5"/>
                    <a:gd name="f39" fmla="*/ f30 1 f5"/>
                    <a:gd name="f40" fmla="+- f31 0 f3"/>
                    <a:gd name="f41" fmla="+- f32 0 f3"/>
                    <a:gd name="f42" fmla="+- f33 0 f3"/>
                    <a:gd name="f43" fmla="min f35 f34"/>
                    <a:gd name="f44" fmla="*/ f36 1 f28"/>
                    <a:gd name="f45" fmla="*/ f37 1 f28"/>
                    <a:gd name="f46" fmla="+- f38 0 f3"/>
                    <a:gd name="f47" fmla="+- f39 0 f3"/>
                    <a:gd name="f48" fmla="val f44"/>
                    <a:gd name="f49" fmla="val f45"/>
                    <a:gd name="f50" fmla="+- 0 0 f46"/>
                    <a:gd name="f51" fmla="+- 0 0 f47"/>
                    <a:gd name="f52" fmla="+- f49 0 f20"/>
                    <a:gd name="f53" fmla="+- f48 0 f20"/>
                    <a:gd name="f54" fmla="val f50"/>
                    <a:gd name="f55" fmla="val f51"/>
                    <a:gd name="f56" fmla="*/ f52 1 2"/>
                    <a:gd name="f57" fmla="*/ f53 1 2"/>
                    <a:gd name="f58" fmla="+- f55 0 f54"/>
                    <a:gd name="f59" fmla="+- f54 f3 0"/>
                    <a:gd name="f60" fmla="+- f55 f3 0"/>
                    <a:gd name="f61" fmla="+- 21600000 0 f54"/>
                    <a:gd name="f62" fmla="+- f3 0 f54"/>
                    <a:gd name="f63" fmla="+- 27000000 0 f54"/>
                    <a:gd name="f64" fmla="+- f2 0 f54"/>
                    <a:gd name="f65" fmla="+- 32400000 0 f54"/>
                    <a:gd name="f66" fmla="+- f4 0 f54"/>
                    <a:gd name="f67" fmla="+- 37800000 0 f54"/>
                    <a:gd name="f68" fmla="+- f20 f56 0"/>
                    <a:gd name="f69" fmla="+- f20 f57 0"/>
                    <a:gd name="f70" fmla="+- f58 21600000 0"/>
                    <a:gd name="f71" fmla="*/ f59 f10 1"/>
                    <a:gd name="f72" fmla="*/ f60 f10 1"/>
                    <a:gd name="f73" fmla="?: f62 f62 f63"/>
                    <a:gd name="f74" fmla="?: f64 f64 f65"/>
                    <a:gd name="f75" fmla="?: f66 f66 f67"/>
                    <a:gd name="f76" fmla="*/ f57 f43 1"/>
                    <a:gd name="f77" fmla="*/ f56 f43 1"/>
                    <a:gd name="f78" fmla="?: f58 f58 f70"/>
                    <a:gd name="f79" fmla="*/ f71 1 f2"/>
                    <a:gd name="f80" fmla="*/ f72 1 f2"/>
                    <a:gd name="f81" fmla="*/ f69 f43 1"/>
                    <a:gd name="f82" fmla="*/ f68 f43 1"/>
                    <a:gd name="f83" fmla="+- 0 0 f79"/>
                    <a:gd name="f84" fmla="+- 0 0 f80"/>
                    <a:gd name="f85" fmla="+- f78 0 f61"/>
                    <a:gd name="f86" fmla="+- f78 0 f73"/>
                    <a:gd name="f87" fmla="+- f78 0 f74"/>
                    <a:gd name="f88" fmla="+- f78 0 f75"/>
                    <a:gd name="f89" fmla="+- 0 0 f83"/>
                    <a:gd name="f90" fmla="+- 0 0 f84"/>
                    <a:gd name="f91" fmla="*/ f89 f2 1"/>
                    <a:gd name="f92" fmla="*/ f90 f2 1"/>
                    <a:gd name="f93" fmla="*/ f91 1 f10"/>
                    <a:gd name="f94" fmla="*/ f92 1 f10"/>
                    <a:gd name="f95" fmla="+- f93 0 f3"/>
                    <a:gd name="f96" fmla="+- f94 0 f3"/>
                    <a:gd name="f97" fmla="sin 1 f95"/>
                    <a:gd name="f98" fmla="cos 1 f95"/>
                    <a:gd name="f99" fmla="sin 1 f96"/>
                    <a:gd name="f100" fmla="cos 1 f96"/>
                    <a:gd name="f101" fmla="+- 0 0 f97"/>
                    <a:gd name="f102" fmla="+- 0 0 f98"/>
                    <a:gd name="f103" fmla="+- 0 0 f99"/>
                    <a:gd name="f104" fmla="+- 0 0 f100"/>
                    <a:gd name="f105" fmla="+- 0 0 f101"/>
                    <a:gd name="f106" fmla="+- 0 0 f102"/>
                    <a:gd name="f107" fmla="+- 0 0 f103"/>
                    <a:gd name="f108" fmla="+- 0 0 f104"/>
                    <a:gd name="f109" fmla="*/ f105 f57 1"/>
                    <a:gd name="f110" fmla="*/ f106 f56 1"/>
                    <a:gd name="f111" fmla="*/ f107 f57 1"/>
                    <a:gd name="f112" fmla="*/ f108 f56 1"/>
                    <a:gd name="f113" fmla="+- 0 0 f110"/>
                    <a:gd name="f114" fmla="+- 0 0 f109"/>
                    <a:gd name="f115" fmla="+- 0 0 f112"/>
                    <a:gd name="f116" fmla="+- 0 0 f111"/>
                    <a:gd name="f117" fmla="+- 0 0 f113"/>
                    <a:gd name="f118" fmla="+- 0 0 f114"/>
                    <a:gd name="f119" fmla="+- 0 0 f115"/>
                    <a:gd name="f120" fmla="+- 0 0 f116"/>
                    <a:gd name="f121" fmla="at2 f117 f118"/>
                    <a:gd name="f122" fmla="at2 f119 f120"/>
                    <a:gd name="f123" fmla="+- f121 f3 0"/>
                    <a:gd name="f124" fmla="+- f122 f3 0"/>
                    <a:gd name="f125" fmla="*/ f123 f10 1"/>
                    <a:gd name="f126" fmla="*/ f124 f10 1"/>
                    <a:gd name="f127" fmla="*/ f125 1 f2"/>
                    <a:gd name="f128" fmla="*/ f126 1 f2"/>
                    <a:gd name="f129" fmla="+- 0 0 f127"/>
                    <a:gd name="f130" fmla="+- 0 0 f128"/>
                    <a:gd name="f131" fmla="val f129"/>
                    <a:gd name="f132" fmla="val f130"/>
                    <a:gd name="f133" fmla="+- 0 0 f131"/>
                    <a:gd name="f134" fmla="+- 0 0 f132"/>
                    <a:gd name="f135" fmla="*/ f133 f2 1"/>
                    <a:gd name="f136" fmla="*/ f134 f2 1"/>
                    <a:gd name="f137" fmla="*/ f135 1 f10"/>
                    <a:gd name="f138" fmla="*/ f136 1 f10"/>
                    <a:gd name="f139" fmla="+- f137 0 f3"/>
                    <a:gd name="f140" fmla="+- f138 0 f3"/>
                    <a:gd name="f141" fmla="cos 1 f139"/>
                    <a:gd name="f142" fmla="sin 1 f139"/>
                    <a:gd name="f143" fmla="cos 1 f140"/>
                    <a:gd name="f144" fmla="sin 1 f140"/>
                    <a:gd name="f145" fmla="+- 0 0 f141"/>
                    <a:gd name="f146" fmla="+- 0 0 f142"/>
                    <a:gd name="f147" fmla="+- 0 0 f143"/>
                    <a:gd name="f148" fmla="+- 0 0 f144"/>
                    <a:gd name="f149" fmla="*/ f11 f145 1"/>
                    <a:gd name="f150" fmla="*/ f11 f146 1"/>
                    <a:gd name="f151" fmla="*/ f11 f147 1"/>
                    <a:gd name="f152" fmla="*/ f11 f148 1"/>
                    <a:gd name="f153" fmla="*/ f149 f57 1"/>
                    <a:gd name="f154" fmla="*/ f150 f56 1"/>
                    <a:gd name="f155" fmla="*/ f151 f57 1"/>
                    <a:gd name="f156" fmla="*/ f152 f56 1"/>
                    <a:gd name="f157" fmla="+- f69 f153 0"/>
                    <a:gd name="f158" fmla="+- f68 f154 0"/>
                    <a:gd name="f159" fmla="+- f69 f155 0"/>
                    <a:gd name="f160" fmla="+- f68 f156 0"/>
                    <a:gd name="f161" fmla="max f157 f159"/>
                    <a:gd name="f162" fmla="max f158 f160"/>
                    <a:gd name="f163" fmla="min f157 f159"/>
                    <a:gd name="f164" fmla="min f158 f160"/>
                    <a:gd name="f165" fmla="*/ f157 f43 1"/>
                    <a:gd name="f166" fmla="*/ f158 f43 1"/>
                    <a:gd name="f167" fmla="*/ f159 f43 1"/>
                    <a:gd name="f168" fmla="*/ f160 f43 1"/>
                    <a:gd name="f169" fmla="?: f85 f48 f161"/>
                    <a:gd name="f170" fmla="?: f86 f49 f162"/>
                    <a:gd name="f171" fmla="?: f87 f20 f163"/>
                    <a:gd name="f172" fmla="?: f88 f20 f164"/>
                    <a:gd name="f173" fmla="*/ f171 f43 1"/>
                    <a:gd name="f174" fmla="*/ f172 f43 1"/>
                    <a:gd name="f175" fmla="*/ f169 f43 1"/>
                    <a:gd name="f176" fmla="*/ f170 f43 1"/>
                  </a:gdLst>
                  <a:ahLst/>
                  <a:cxnLst>
                    <a:cxn ang="3cd4">
                      <a:pos x="hc" y="t"/>
                    </a:cxn>
                    <a:cxn ang="0">
                      <a:pos x="r" y="vc"/>
                    </a:cxn>
                    <a:cxn ang="cd4">
                      <a:pos x="hc" y="b"/>
                    </a:cxn>
                    <a:cxn ang="cd2">
                      <a:pos x="l" y="vc"/>
                    </a:cxn>
                    <a:cxn ang="f40">
                      <a:pos x="f165" y="f166"/>
                    </a:cxn>
                    <a:cxn ang="f41">
                      <a:pos x="f81" y="f82"/>
                    </a:cxn>
                    <a:cxn ang="f42">
                      <a:pos x="f167" y="f168"/>
                    </a:cxn>
                  </a:cxnLst>
                  <a:rect l="f173" t="f174" r="f175" b="f176"/>
                  <a:pathLst>
                    <a:path stroke="0">
                      <a:moveTo>
                        <a:pt x="f165" y="f166"/>
                      </a:moveTo>
                      <a:arcTo wR="f76" hR="f77" stAng="f54" swAng="f78"/>
                      <a:lnTo>
                        <a:pt x="f81" y="f82"/>
                      </a:lnTo>
                      <a:close/>
                    </a:path>
                    <a:path fill="none">
                      <a:moveTo>
                        <a:pt x="f165" y="f166"/>
                      </a:moveTo>
                      <a:arcTo wR="f76" hR="f77" stAng="f54" swAng="f78"/>
                    </a:path>
                  </a:pathLst>
                </a:custGeom>
                <a:noFill/>
                <a:ln w="28575" cap="rnd">
                  <a:solidFill>
                    <a:srgbClr val="FFC000"/>
                  </a:solidFill>
                  <a:prstDash val="solid"/>
                  <a:miter/>
                </a:ln>
              </p:spPr>
              <p:txBody>
                <a:bodyPr vert="horz" wrap="square" lIns="91440" tIns="45720" rIns="91440" bIns="4572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600" b="0" i="0" u="none" strike="noStrike" kern="0" cap="none" spc="0" normalizeH="0" baseline="0" noProof="0">
                    <a:ln>
                      <a:noFill/>
                    </a:ln>
                    <a:solidFill>
                      <a:srgbClr val="424242"/>
                    </a:solidFill>
                    <a:effectLst/>
                    <a:uLnTx/>
                    <a:uFillTx/>
                    <a:latin typeface="Helvetica" pitchFamily="2"/>
                    <a:ea typeface="+mn-ea"/>
                    <a:cs typeface="+mn-cs"/>
                  </a:endParaRPr>
                </a:p>
              </p:txBody>
            </p:sp>
          </p:grpSp>
          <p:pic>
            <p:nvPicPr>
              <p:cNvPr id="114" name="Graphic 10">
                <a:extLst>
                  <a:ext uri="{FF2B5EF4-FFF2-40B4-BE49-F238E27FC236}">
                    <a16:creationId xmlns:a16="http://schemas.microsoft.com/office/drawing/2014/main" id="{39D14C73-FD00-0656-9387-1F4BE5309EF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54101" y="4548637"/>
                <a:ext cx="269839" cy="269839"/>
              </a:xfrm>
              <a:prstGeom prst="rect">
                <a:avLst/>
              </a:prstGeom>
              <a:noFill/>
              <a:ln>
                <a:noFill/>
              </a:ln>
            </p:spPr>
          </p:pic>
        </p:grpSp>
        <p:sp>
          <p:nvSpPr>
            <p:cNvPr id="115" name="TextBox 7">
              <a:extLst>
                <a:ext uri="{FF2B5EF4-FFF2-40B4-BE49-F238E27FC236}">
                  <a16:creationId xmlns:a16="http://schemas.microsoft.com/office/drawing/2014/main" id="{D9777F8D-6186-7F35-B39A-1A962763A8B4}"/>
                </a:ext>
              </a:extLst>
            </p:cNvPr>
            <p:cNvSpPr txBox="1"/>
            <p:nvPr/>
          </p:nvSpPr>
          <p:spPr>
            <a:xfrm>
              <a:off x="10633530" y="4560451"/>
              <a:ext cx="983592" cy="246220"/>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sz="1800" b="0" i="0" u="none" strike="noStrike" kern="0" cap="none" spc="0" baseline="0">
                  <a:solidFill>
                    <a:srgbClr val="000000"/>
                  </a:solidFill>
                  <a:uFillTx/>
                </a:defRPr>
              </a:pPr>
              <a:r>
                <a:rPr kumimoji="0" lang="en-GB" sz="1600" b="1" i="0" u="none" strike="noStrike" kern="1200" cap="none" spc="0" normalizeH="0" baseline="0" noProof="0">
                  <a:ln>
                    <a:noFill/>
                  </a:ln>
                  <a:solidFill>
                    <a:srgbClr val="000000"/>
                  </a:solidFill>
                  <a:effectLst/>
                  <a:uLnTx/>
                  <a:uFillTx/>
                  <a:latin typeface="Avenir Next"/>
                  <a:ea typeface="+mn-ea"/>
                  <a:cs typeface="Helvetica"/>
                </a:rPr>
                <a:t>Tree nuts</a:t>
              </a:r>
            </a:p>
          </p:txBody>
        </p:sp>
        <p:pic>
          <p:nvPicPr>
            <p:cNvPr id="116" name="Picture 54" descr="Acorn icon">
              <a:extLst>
                <a:ext uri="{FF2B5EF4-FFF2-40B4-BE49-F238E27FC236}">
                  <a16:creationId xmlns:a16="http://schemas.microsoft.com/office/drawing/2014/main" id="{8A69747B-B4ED-5D3D-E589-CFCB61253633}"/>
                </a:ext>
              </a:extLst>
            </p:cNvPr>
            <p:cNvPicPr>
              <a:picLocks noChangeAspect="1"/>
            </p:cNvPicPr>
            <p:nvPr/>
          </p:nvPicPr>
          <p:blipFill>
            <a:blip r:embed="rId23"/>
            <a:srcRect/>
            <a:stretch>
              <a:fillRect/>
            </a:stretch>
          </p:blipFill>
          <p:spPr>
            <a:xfrm>
              <a:off x="10175507" y="4570034"/>
              <a:ext cx="227045" cy="227045"/>
            </a:xfrm>
            <a:prstGeom prst="rect">
              <a:avLst/>
            </a:prstGeom>
            <a:noFill/>
            <a:ln>
              <a:noFill/>
            </a:ln>
          </p:spPr>
        </p:pic>
      </p:grpSp>
      <p:sp>
        <p:nvSpPr>
          <p:cNvPr id="117" name="TextBox 22">
            <a:extLst>
              <a:ext uri="{FF2B5EF4-FFF2-40B4-BE49-F238E27FC236}">
                <a16:creationId xmlns:a16="http://schemas.microsoft.com/office/drawing/2014/main" id="{CE54135C-68CE-E172-C944-05EE1AA0246D}"/>
              </a:ext>
            </a:extLst>
          </p:cNvPr>
          <p:cNvSpPr txBox="1"/>
          <p:nvPr/>
        </p:nvSpPr>
        <p:spPr>
          <a:xfrm>
            <a:off x="485208" y="1035887"/>
            <a:ext cx="1892012" cy="215441"/>
          </a:xfrm>
          <a:prstGeom prst="rect">
            <a:avLst/>
          </a:prstGeom>
          <a:noFill/>
          <a:ln>
            <a:noFill/>
          </a:ln>
        </p:spPr>
        <p:txBody>
          <a:bodyPr vert="horz" wrap="square" lIns="0" tIns="0" rIns="0" bIns="0" anchor="ctr"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400" b="1" i="0" u="none" strike="noStrike" kern="1200" cap="none" spc="0" normalizeH="0" baseline="0" noProof="0">
                <a:ln>
                  <a:noFill/>
                </a:ln>
                <a:solidFill>
                  <a:srgbClr val="000000"/>
                </a:solidFill>
                <a:effectLst/>
                <a:uLnTx/>
                <a:uFillTx/>
                <a:latin typeface="Helvetica" pitchFamily="34"/>
                <a:ea typeface="Verdana" pitchFamily="34"/>
                <a:cs typeface="Verdana" pitchFamily="34"/>
              </a:rPr>
              <a:t>State of Forest</a:t>
            </a:r>
          </a:p>
        </p:txBody>
      </p:sp>
      <p:cxnSp>
        <p:nvCxnSpPr>
          <p:cNvPr id="118" name="Straight Connector 24">
            <a:extLst>
              <a:ext uri="{FF2B5EF4-FFF2-40B4-BE49-F238E27FC236}">
                <a16:creationId xmlns:a16="http://schemas.microsoft.com/office/drawing/2014/main" id="{F59606E8-851D-65C9-DFF7-BD0ADE28DCA8}"/>
              </a:ext>
            </a:extLst>
          </p:cNvPr>
          <p:cNvCxnSpPr/>
          <p:nvPr/>
        </p:nvCxnSpPr>
        <p:spPr>
          <a:xfrm flipV="1">
            <a:off x="473604" y="1329427"/>
            <a:ext cx="0" cy="1691951"/>
          </a:xfrm>
          <a:prstGeom prst="straightConnector1">
            <a:avLst/>
          </a:prstGeom>
          <a:noFill/>
          <a:ln w="19046" cap="flat">
            <a:solidFill>
              <a:srgbClr val="7F7F7F"/>
            </a:solidFill>
            <a:prstDash val="solid"/>
            <a:miter/>
            <a:tailEnd type="arrow"/>
          </a:ln>
        </p:spPr>
      </p:cxnSp>
      <p:cxnSp>
        <p:nvCxnSpPr>
          <p:cNvPr id="119" name="Straight Connector 26">
            <a:extLst>
              <a:ext uri="{FF2B5EF4-FFF2-40B4-BE49-F238E27FC236}">
                <a16:creationId xmlns:a16="http://schemas.microsoft.com/office/drawing/2014/main" id="{7BC419B0-7E8E-E3F6-4AF7-93C07F68E2ED}"/>
              </a:ext>
            </a:extLst>
          </p:cNvPr>
          <p:cNvCxnSpPr/>
          <p:nvPr/>
        </p:nvCxnSpPr>
        <p:spPr>
          <a:xfrm>
            <a:off x="468456" y="3021378"/>
            <a:ext cx="10943996" cy="0"/>
          </a:xfrm>
          <a:prstGeom prst="straightConnector1">
            <a:avLst/>
          </a:prstGeom>
          <a:noFill/>
          <a:ln w="19046" cap="flat">
            <a:solidFill>
              <a:srgbClr val="7F7F7F"/>
            </a:solidFill>
            <a:prstDash val="solid"/>
            <a:miter/>
            <a:tailEnd type="arrow"/>
          </a:ln>
        </p:spPr>
      </p:cxnSp>
      <p:sp>
        <p:nvSpPr>
          <p:cNvPr id="120" name="Freeform: Shape 35">
            <a:extLst>
              <a:ext uri="{FF2B5EF4-FFF2-40B4-BE49-F238E27FC236}">
                <a16:creationId xmlns:a16="http://schemas.microsoft.com/office/drawing/2014/main" id="{6A2367F6-BCAF-20C7-F26C-4E097C2D1440}"/>
              </a:ext>
            </a:extLst>
          </p:cNvPr>
          <p:cNvSpPr/>
          <p:nvPr/>
        </p:nvSpPr>
        <p:spPr>
          <a:xfrm>
            <a:off x="530681" y="1359740"/>
            <a:ext cx="10627211" cy="672669"/>
          </a:xfrm>
          <a:custGeom>
            <a:avLst/>
            <a:gdLst>
              <a:gd name="f0" fmla="val 10800000"/>
              <a:gd name="f1" fmla="val 5400000"/>
              <a:gd name="f2" fmla="val 180"/>
              <a:gd name="f3" fmla="val w"/>
              <a:gd name="f4" fmla="val h"/>
              <a:gd name="f5" fmla="val 0"/>
              <a:gd name="f6" fmla="val 5747273"/>
              <a:gd name="f7" fmla="val 1081436"/>
              <a:gd name="f8" fmla="val 439725"/>
              <a:gd name="f9" fmla="val 41697"/>
              <a:gd name="f10" fmla="val 919480"/>
              <a:gd name="f11" fmla="val -27093"/>
              <a:gd name="f12" fmla="val 1361440"/>
              <a:gd name="f13" fmla="val 132080"/>
              <a:gd name="f14" fmla="val 1803400"/>
              <a:gd name="f15" fmla="val 291253"/>
              <a:gd name="f16" fmla="val 2170351"/>
              <a:gd name="f17" fmla="val 804783"/>
              <a:gd name="f18" fmla="val 2651760"/>
              <a:gd name="f19" fmla="val 955040"/>
              <a:gd name="f20" fmla="val 3133169"/>
              <a:gd name="f21" fmla="val 1105297"/>
              <a:gd name="f22" fmla="val 3731732"/>
              <a:gd name="f23" fmla="val 1108129"/>
              <a:gd name="f24" fmla="val 4249892"/>
              <a:gd name="f25" fmla="val 1033622"/>
              <a:gd name="f26" fmla="val 4768052"/>
              <a:gd name="f27" fmla="val 959115"/>
              <a:gd name="f28" fmla="val 5267960"/>
              <a:gd name="f29" fmla="val 729826"/>
              <a:gd name="f30" fmla="val 467360"/>
              <a:gd name="f31" fmla="+- 0 0 -90"/>
              <a:gd name="f32" fmla="*/ f3 1 5747273"/>
              <a:gd name="f33" fmla="*/ f4 1 1081436"/>
              <a:gd name="f34" fmla="val f5"/>
              <a:gd name="f35" fmla="val f6"/>
              <a:gd name="f36" fmla="val f7"/>
              <a:gd name="f37" fmla="*/ f31 f0 1"/>
              <a:gd name="f38" fmla="+- f36 0 f34"/>
              <a:gd name="f39" fmla="+- f35 0 f34"/>
              <a:gd name="f40" fmla="*/ f37 1 f2"/>
              <a:gd name="f41" fmla="*/ f39 1 5747273"/>
              <a:gd name="f42" fmla="*/ f38 1 1081436"/>
              <a:gd name="f43" fmla="*/ 0 f39 1"/>
              <a:gd name="f44" fmla="*/ 1361440 f39 1"/>
              <a:gd name="f45" fmla="*/ 2651760 f39 1"/>
              <a:gd name="f46" fmla="*/ 5747273 f39 1"/>
              <a:gd name="f47" fmla="*/ 0 f38 1"/>
              <a:gd name="f48" fmla="*/ 132080 f38 1"/>
              <a:gd name="f49" fmla="*/ 955040 f38 1"/>
              <a:gd name="f50" fmla="*/ 4249892 f39 1"/>
              <a:gd name="f51" fmla="*/ 1033622 f38 1"/>
              <a:gd name="f52" fmla="*/ 467360 f38 1"/>
              <a:gd name="f53" fmla="+- f40 0 f1"/>
              <a:gd name="f54" fmla="*/ f43 1 5747273"/>
              <a:gd name="f55" fmla="*/ f44 1 5747273"/>
              <a:gd name="f56" fmla="*/ f45 1 5747273"/>
              <a:gd name="f57" fmla="*/ f46 1 5747273"/>
              <a:gd name="f58" fmla="*/ f47 1 1081436"/>
              <a:gd name="f59" fmla="*/ f48 1 1081436"/>
              <a:gd name="f60" fmla="*/ f49 1 1081436"/>
              <a:gd name="f61" fmla="*/ f50 1 5747273"/>
              <a:gd name="f62" fmla="*/ f51 1 1081436"/>
              <a:gd name="f63" fmla="*/ f52 1 1081436"/>
              <a:gd name="f64" fmla="*/ f34 1 f41"/>
              <a:gd name="f65" fmla="*/ f35 1 f41"/>
              <a:gd name="f66" fmla="*/ f34 1 f42"/>
              <a:gd name="f67" fmla="*/ f36 1 f42"/>
              <a:gd name="f68" fmla="*/ f54 1 f41"/>
              <a:gd name="f69" fmla="*/ f58 1 f42"/>
              <a:gd name="f70" fmla="*/ f55 1 f41"/>
              <a:gd name="f71" fmla="*/ f59 1 f42"/>
              <a:gd name="f72" fmla="*/ f56 1 f41"/>
              <a:gd name="f73" fmla="*/ f60 1 f42"/>
              <a:gd name="f74" fmla="*/ f61 1 f41"/>
              <a:gd name="f75" fmla="*/ f62 1 f42"/>
              <a:gd name="f76" fmla="*/ f57 1 f41"/>
              <a:gd name="f77" fmla="*/ f63 1 f42"/>
              <a:gd name="f78" fmla="*/ f64 f32 1"/>
              <a:gd name="f79" fmla="*/ f65 f32 1"/>
              <a:gd name="f80" fmla="*/ f67 f33 1"/>
              <a:gd name="f81" fmla="*/ f66 f33 1"/>
              <a:gd name="f82" fmla="*/ f68 f32 1"/>
              <a:gd name="f83" fmla="*/ f69 f33 1"/>
              <a:gd name="f84" fmla="*/ f70 f32 1"/>
              <a:gd name="f85" fmla="*/ f71 f33 1"/>
              <a:gd name="f86" fmla="*/ f72 f32 1"/>
              <a:gd name="f87" fmla="*/ f73 f33 1"/>
              <a:gd name="f88" fmla="*/ f74 f32 1"/>
              <a:gd name="f89" fmla="*/ f75 f33 1"/>
              <a:gd name="f90" fmla="*/ f76 f32 1"/>
              <a:gd name="f91" fmla="*/ f77 f33 1"/>
            </a:gdLst>
            <a:ahLst/>
            <a:cxnLst>
              <a:cxn ang="3cd4">
                <a:pos x="hc" y="t"/>
              </a:cxn>
              <a:cxn ang="0">
                <a:pos x="r" y="vc"/>
              </a:cxn>
              <a:cxn ang="cd4">
                <a:pos x="hc" y="b"/>
              </a:cxn>
              <a:cxn ang="cd2">
                <a:pos x="l" y="vc"/>
              </a:cxn>
              <a:cxn ang="f53">
                <a:pos x="f82" y="f83"/>
              </a:cxn>
              <a:cxn ang="f53">
                <a:pos x="f84" y="f85"/>
              </a:cxn>
              <a:cxn ang="f53">
                <a:pos x="f86" y="f87"/>
              </a:cxn>
              <a:cxn ang="f53">
                <a:pos x="f88" y="f89"/>
              </a:cxn>
              <a:cxn ang="f53">
                <a:pos x="f90" y="f91"/>
              </a:cxn>
            </a:cxnLst>
            <a:rect l="f78" t="f81" r="f79" b="f80"/>
            <a:pathLst>
              <a:path w="5747273" h="1081436">
                <a:moveTo>
                  <a:pt x="f5" y="f5"/>
                </a:moveTo>
                <a:cubicBezTo>
                  <a:pt x="f8" y="f9"/>
                  <a:pt x="f10" y="f11"/>
                  <a:pt x="f12" y="f13"/>
                </a:cubicBezTo>
                <a:cubicBezTo>
                  <a:pt x="f14" y="f15"/>
                  <a:pt x="f16" y="f17"/>
                  <a:pt x="f18" y="f19"/>
                </a:cubicBezTo>
                <a:cubicBezTo>
                  <a:pt x="f20" y="f21"/>
                  <a:pt x="f22" y="f23"/>
                  <a:pt x="f24" y="f25"/>
                </a:cubicBezTo>
                <a:cubicBezTo>
                  <a:pt x="f26" y="f27"/>
                  <a:pt x="f28" y="f29"/>
                  <a:pt x="f6" y="f30"/>
                </a:cubicBezTo>
              </a:path>
            </a:pathLst>
          </a:custGeom>
          <a:noFill/>
          <a:ln w="28575" cap="flat">
            <a:solidFill>
              <a:srgbClr val="227C9D"/>
            </a:solidFill>
            <a:prstDash val="solid"/>
            <a:miter/>
            <a:tailEnd type="arrow"/>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4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21" name="Title 1">
            <a:extLst>
              <a:ext uri="{FF2B5EF4-FFF2-40B4-BE49-F238E27FC236}">
                <a16:creationId xmlns:a16="http://schemas.microsoft.com/office/drawing/2014/main" id="{CF2F0A68-E147-FD05-DED9-7C4E053F1106}"/>
              </a:ext>
            </a:extLst>
          </p:cNvPr>
          <p:cNvSpPr txBox="1">
            <a:spLocks/>
          </p:cNvSpPr>
          <p:nvPr/>
        </p:nvSpPr>
        <p:spPr>
          <a:xfrm>
            <a:off x="179386" y="179386"/>
            <a:ext cx="11831641" cy="708714"/>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a:lstStyle>
          <a:p>
            <a:pPr>
              <a:tabLst>
                <a:tab pos="10028233" algn="l"/>
              </a:tabLst>
            </a:pPr>
            <a:r>
              <a:rPr lang="en-GB" sz="3200" b="1" cap="none" dirty="0">
                <a:latin typeface="Avenir Next LT Pro"/>
              </a:rPr>
              <a:t>Landscape archetypes framework </a:t>
            </a:r>
            <a:endParaRPr lang="en-GB" b="1" cap="none" dirty="0">
              <a:latin typeface="Avenir Next LT Pro"/>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B41830-2753-774C-5B1E-5D71F98963D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C5B82DA-9A5D-9BEA-6E01-61A32BF301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6C5B82DA-9A5D-9BEA-6E01-61A32BF30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54B4220-889C-3EBA-6D30-E5A8CFF8DF3C}"/>
              </a:ext>
            </a:extLst>
          </p:cNvPr>
          <p:cNvSpPr/>
          <p:nvPr/>
        </p:nvSpPr>
        <p:spPr>
          <a:xfrm>
            <a:off x="5275213" y="4104678"/>
            <a:ext cx="123708" cy="97032"/>
          </a:xfrm>
          <a:prstGeom prst="rect">
            <a:avLst/>
          </a:prstGeom>
          <a:solidFill>
            <a:srgbClr val="A3B1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7" name="Rectangle 6">
            <a:extLst>
              <a:ext uri="{FF2B5EF4-FFF2-40B4-BE49-F238E27FC236}">
                <a16:creationId xmlns:a16="http://schemas.microsoft.com/office/drawing/2014/main" id="{BE90EDF5-3FBE-8DCC-9B2C-398404992193}"/>
              </a:ext>
            </a:extLst>
          </p:cNvPr>
          <p:cNvSpPr/>
          <p:nvPr/>
        </p:nvSpPr>
        <p:spPr>
          <a:xfrm>
            <a:off x="5911090" y="2690949"/>
            <a:ext cx="244660" cy="191902"/>
          </a:xfrm>
          <a:prstGeom prst="rect">
            <a:avLst/>
          </a:prstGeom>
          <a:solidFill>
            <a:srgbClr val="A3B1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grpSp>
        <p:nvGrpSpPr>
          <p:cNvPr id="327" name="Group 326">
            <a:extLst>
              <a:ext uri="{FF2B5EF4-FFF2-40B4-BE49-F238E27FC236}">
                <a16:creationId xmlns:a16="http://schemas.microsoft.com/office/drawing/2014/main" id="{F9B72B1F-6931-8587-67BF-2B319C299C31}"/>
              </a:ext>
            </a:extLst>
          </p:cNvPr>
          <p:cNvGrpSpPr/>
          <p:nvPr/>
        </p:nvGrpSpPr>
        <p:grpSpPr>
          <a:xfrm>
            <a:off x="179386" y="0"/>
            <a:ext cx="9159003" cy="5878742"/>
            <a:chOff x="179386" y="0"/>
            <a:chExt cx="9159003" cy="5878742"/>
          </a:xfrm>
        </p:grpSpPr>
        <p:sp>
          <p:nvSpPr>
            <p:cNvPr id="5" name="Freeform 3">
              <a:extLst>
                <a:ext uri="{FF2B5EF4-FFF2-40B4-BE49-F238E27FC236}">
                  <a16:creationId xmlns:a16="http://schemas.microsoft.com/office/drawing/2014/main" id="{84ED6AEE-4355-C005-1152-6BEB1D685A37}"/>
                </a:ext>
              </a:extLst>
            </p:cNvPr>
            <p:cNvSpPr>
              <a:spLocks/>
            </p:cNvSpPr>
            <p:nvPr/>
          </p:nvSpPr>
          <p:spPr bwMode="auto">
            <a:xfrm>
              <a:off x="4049608" y="3679995"/>
              <a:ext cx="143425" cy="122151"/>
            </a:xfrm>
            <a:custGeom>
              <a:avLst/>
              <a:gdLst>
                <a:gd name="T0" fmla="*/ 2147483647 w 1131"/>
                <a:gd name="T1" fmla="*/ 407494188 h 927"/>
                <a:gd name="T2" fmla="*/ 2147483647 w 1131"/>
                <a:gd name="T3" fmla="*/ 1628469094 h 927"/>
                <a:gd name="T4" fmla="*/ 2147483647 w 1131"/>
                <a:gd name="T5" fmla="*/ 1017606791 h 927"/>
                <a:gd name="T6" fmla="*/ 2147483647 w 1131"/>
                <a:gd name="T7" fmla="*/ 2035963191 h 927"/>
                <a:gd name="T8" fmla="*/ 2147483647 w 1131"/>
                <a:gd name="T9" fmla="*/ 2147483647 h 927"/>
                <a:gd name="T10" fmla="*/ 2147483647 w 1131"/>
                <a:gd name="T11" fmla="*/ 2147483647 h 927"/>
                <a:gd name="T12" fmla="*/ 1562940558 w 1131"/>
                <a:gd name="T13" fmla="*/ 2147483647 h 927"/>
                <a:gd name="T14" fmla="*/ 2147483647 w 1131"/>
                <a:gd name="T15" fmla="*/ 2147483647 h 927"/>
                <a:gd name="T16" fmla="*/ 2147483647 w 1131"/>
                <a:gd name="T17" fmla="*/ 2147483647 h 927"/>
                <a:gd name="T18" fmla="*/ 2147483647 w 1131"/>
                <a:gd name="T19" fmla="*/ 2147483647 h 927"/>
                <a:gd name="T20" fmla="*/ 2147483647 w 1131"/>
                <a:gd name="T21" fmla="*/ 2147483647 h 927"/>
                <a:gd name="T22" fmla="*/ 2147483647 w 1131"/>
                <a:gd name="T23" fmla="*/ 2147483647 h 927"/>
                <a:gd name="T24" fmla="*/ 2147483647 w 1131"/>
                <a:gd name="T25" fmla="*/ 2147483647 h 927"/>
                <a:gd name="T26" fmla="*/ 2147483647 w 1131"/>
                <a:gd name="T27" fmla="*/ 2147483647 h 927"/>
                <a:gd name="T28" fmla="*/ 2147483647 w 1131"/>
                <a:gd name="T29" fmla="*/ 2147483647 h 927"/>
                <a:gd name="T30" fmla="*/ 2147483647 w 1131"/>
                <a:gd name="T31" fmla="*/ 2147483647 h 927"/>
                <a:gd name="T32" fmla="*/ 2147483647 w 1131"/>
                <a:gd name="T33" fmla="*/ 2147483647 h 927"/>
                <a:gd name="T34" fmla="*/ 2147483647 w 1131"/>
                <a:gd name="T35" fmla="*/ 2147483647 h 927"/>
                <a:gd name="T36" fmla="*/ 2147483647 w 1131"/>
                <a:gd name="T37" fmla="*/ 2147483647 h 927"/>
                <a:gd name="T38" fmla="*/ 2147483647 w 1131"/>
                <a:gd name="T39" fmla="*/ 2147483647 h 927"/>
                <a:gd name="T40" fmla="*/ 2147483647 w 1131"/>
                <a:gd name="T41" fmla="*/ 2147483647 h 927"/>
                <a:gd name="T42" fmla="*/ 2147483647 w 1131"/>
                <a:gd name="T43" fmla="*/ 2147483647 h 927"/>
                <a:gd name="T44" fmla="*/ 2147483647 w 1131"/>
                <a:gd name="T45" fmla="*/ 2147483647 h 927"/>
                <a:gd name="T46" fmla="*/ 2147483647 w 1131"/>
                <a:gd name="T47" fmla="*/ 2147483647 h 927"/>
                <a:gd name="T48" fmla="*/ 2147483647 w 1131"/>
                <a:gd name="T49" fmla="*/ 2147483647 h 927"/>
                <a:gd name="T50" fmla="*/ 2147483647 w 1131"/>
                <a:gd name="T51" fmla="*/ 2147483647 h 927"/>
                <a:gd name="T52" fmla="*/ 2147483647 w 1131"/>
                <a:gd name="T53" fmla="*/ 2147483647 h 927"/>
                <a:gd name="T54" fmla="*/ 2147483647 w 1131"/>
                <a:gd name="T55" fmla="*/ 2147483647 h 927"/>
                <a:gd name="T56" fmla="*/ 2147483647 w 1131"/>
                <a:gd name="T57" fmla="*/ 2147483647 h 927"/>
                <a:gd name="T58" fmla="*/ 1172201511 w 1131"/>
                <a:gd name="T59" fmla="*/ 2147483647 h 927"/>
                <a:gd name="T60" fmla="*/ 0 w 1131"/>
                <a:gd name="T61" fmla="*/ 2147483647 h 927"/>
                <a:gd name="T62" fmla="*/ 1757946891 w 1131"/>
                <a:gd name="T63" fmla="*/ 2147483647 h 927"/>
                <a:gd name="T64" fmla="*/ 2147483647 w 1131"/>
                <a:gd name="T65" fmla="*/ 2147483647 h 927"/>
                <a:gd name="T66" fmla="*/ 1953671520 w 1131"/>
                <a:gd name="T67" fmla="*/ 2147483647 h 927"/>
                <a:gd name="T68" fmla="*/ 2147483647 w 1131"/>
                <a:gd name="T69" fmla="*/ 2147483647 h 927"/>
                <a:gd name="T70" fmla="*/ 2147483647 w 1131"/>
                <a:gd name="T71" fmla="*/ 2147483647 h 927"/>
                <a:gd name="T72" fmla="*/ 2147483647 w 1131"/>
                <a:gd name="T73" fmla="*/ 2147483647 h 927"/>
                <a:gd name="T74" fmla="*/ 2147483647 w 1131"/>
                <a:gd name="T75" fmla="*/ 2147483647 h 927"/>
                <a:gd name="T76" fmla="*/ 2147483647 w 1131"/>
                <a:gd name="T77" fmla="*/ 2147483647 h 927"/>
                <a:gd name="T78" fmla="*/ 2147483647 w 1131"/>
                <a:gd name="T79" fmla="*/ 2147483647 h 927"/>
                <a:gd name="T80" fmla="*/ 2147483647 w 1131"/>
                <a:gd name="T81" fmla="*/ 2147483647 h 927"/>
                <a:gd name="T82" fmla="*/ 2147483647 w 1131"/>
                <a:gd name="T83" fmla="*/ 2147483647 h 927"/>
                <a:gd name="T84" fmla="*/ 2147483647 w 1131"/>
                <a:gd name="T85" fmla="*/ 2147483647 h 927"/>
                <a:gd name="T86" fmla="*/ 2147483647 w 1131"/>
                <a:gd name="T87" fmla="*/ 2147483647 h 927"/>
                <a:gd name="T88" fmla="*/ 2147483647 w 1131"/>
                <a:gd name="T89" fmla="*/ 2147483647 h 927"/>
                <a:gd name="T90" fmla="*/ 2147483647 w 1131"/>
                <a:gd name="T91" fmla="*/ 2147483647 h 927"/>
                <a:gd name="T92" fmla="*/ 2147483647 w 1131"/>
                <a:gd name="T93" fmla="*/ 2147483647 h 927"/>
                <a:gd name="T94" fmla="*/ 2147483647 w 1131"/>
                <a:gd name="T95" fmla="*/ 2147483647 h 927"/>
                <a:gd name="T96" fmla="*/ 2147483647 w 1131"/>
                <a:gd name="T97" fmla="*/ 2147483647 h 927"/>
                <a:gd name="T98" fmla="*/ 2147483647 w 1131"/>
                <a:gd name="T99" fmla="*/ 2147483647 h 927"/>
                <a:gd name="T100" fmla="*/ 2147483647 w 1131"/>
                <a:gd name="T101" fmla="*/ 2147483647 h 927"/>
                <a:gd name="T102" fmla="*/ 2147483647 w 1131"/>
                <a:gd name="T103" fmla="*/ 2147483647 h 927"/>
                <a:gd name="T104" fmla="*/ 2147483647 w 1131"/>
                <a:gd name="T105" fmla="*/ 2147483647 h 927"/>
                <a:gd name="T106" fmla="*/ 2147483647 w 1131"/>
                <a:gd name="T107" fmla="*/ 2147483647 h 927"/>
                <a:gd name="T108" fmla="*/ 2147483647 w 1131"/>
                <a:gd name="T109" fmla="*/ 2147483647 h 927"/>
                <a:gd name="T110" fmla="*/ 2147483647 w 1131"/>
                <a:gd name="T111" fmla="*/ 2147483647 h 927"/>
                <a:gd name="T112" fmla="*/ 2147483647 w 1131"/>
                <a:gd name="T113" fmla="*/ 2147483647 h 927"/>
                <a:gd name="T114" fmla="*/ 2147483647 w 1131"/>
                <a:gd name="T115" fmla="*/ 2147483647 h 927"/>
                <a:gd name="T116" fmla="*/ 2147483647 w 1131"/>
                <a:gd name="T117" fmla="*/ 2147483647 h 927"/>
                <a:gd name="T118" fmla="*/ 2147483647 w 1131"/>
                <a:gd name="T119" fmla="*/ 2147483647 h 927"/>
                <a:gd name="T120" fmla="*/ 2147483647 w 1131"/>
                <a:gd name="T121" fmla="*/ 542825875 h 9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31"/>
                <a:gd name="T184" fmla="*/ 0 h 927"/>
                <a:gd name="T185" fmla="*/ 1131 w 1131"/>
                <a:gd name="T186" fmla="*/ 927 h 9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31" h="927">
                  <a:moveTo>
                    <a:pt x="464" y="8"/>
                  </a:moveTo>
                  <a:lnTo>
                    <a:pt x="420" y="6"/>
                  </a:lnTo>
                  <a:lnTo>
                    <a:pt x="383" y="0"/>
                  </a:lnTo>
                  <a:lnTo>
                    <a:pt x="345" y="24"/>
                  </a:lnTo>
                  <a:lnTo>
                    <a:pt x="318" y="23"/>
                  </a:lnTo>
                  <a:lnTo>
                    <a:pt x="299" y="15"/>
                  </a:lnTo>
                  <a:lnTo>
                    <a:pt x="281" y="36"/>
                  </a:lnTo>
                  <a:lnTo>
                    <a:pt x="204" y="30"/>
                  </a:lnTo>
                  <a:lnTo>
                    <a:pt x="197" y="58"/>
                  </a:lnTo>
                  <a:lnTo>
                    <a:pt x="135" y="113"/>
                  </a:lnTo>
                  <a:lnTo>
                    <a:pt x="100" y="201"/>
                  </a:lnTo>
                  <a:lnTo>
                    <a:pt x="65" y="296"/>
                  </a:lnTo>
                  <a:lnTo>
                    <a:pt x="3" y="351"/>
                  </a:lnTo>
                  <a:lnTo>
                    <a:pt x="24" y="487"/>
                  </a:lnTo>
                  <a:lnTo>
                    <a:pt x="86" y="514"/>
                  </a:lnTo>
                  <a:lnTo>
                    <a:pt x="100" y="582"/>
                  </a:lnTo>
                  <a:lnTo>
                    <a:pt x="72" y="657"/>
                  </a:lnTo>
                  <a:lnTo>
                    <a:pt x="134" y="656"/>
                  </a:lnTo>
                  <a:lnTo>
                    <a:pt x="239" y="659"/>
                  </a:lnTo>
                  <a:lnTo>
                    <a:pt x="291" y="660"/>
                  </a:lnTo>
                  <a:lnTo>
                    <a:pt x="300" y="632"/>
                  </a:lnTo>
                  <a:lnTo>
                    <a:pt x="321" y="621"/>
                  </a:lnTo>
                  <a:lnTo>
                    <a:pt x="341" y="626"/>
                  </a:lnTo>
                  <a:lnTo>
                    <a:pt x="377" y="609"/>
                  </a:lnTo>
                  <a:lnTo>
                    <a:pt x="407" y="618"/>
                  </a:lnTo>
                  <a:lnTo>
                    <a:pt x="429" y="635"/>
                  </a:lnTo>
                  <a:lnTo>
                    <a:pt x="432" y="650"/>
                  </a:lnTo>
                  <a:lnTo>
                    <a:pt x="449" y="657"/>
                  </a:lnTo>
                  <a:lnTo>
                    <a:pt x="473" y="648"/>
                  </a:lnTo>
                  <a:lnTo>
                    <a:pt x="488" y="656"/>
                  </a:lnTo>
                  <a:lnTo>
                    <a:pt x="500" y="675"/>
                  </a:lnTo>
                  <a:lnTo>
                    <a:pt x="524" y="687"/>
                  </a:lnTo>
                  <a:lnTo>
                    <a:pt x="554" y="681"/>
                  </a:lnTo>
                  <a:lnTo>
                    <a:pt x="572" y="671"/>
                  </a:lnTo>
                  <a:lnTo>
                    <a:pt x="599" y="663"/>
                  </a:lnTo>
                  <a:lnTo>
                    <a:pt x="626" y="683"/>
                  </a:lnTo>
                  <a:lnTo>
                    <a:pt x="629" y="702"/>
                  </a:lnTo>
                  <a:lnTo>
                    <a:pt x="617" y="717"/>
                  </a:lnTo>
                  <a:lnTo>
                    <a:pt x="600" y="722"/>
                  </a:lnTo>
                  <a:lnTo>
                    <a:pt x="569" y="728"/>
                  </a:lnTo>
                  <a:lnTo>
                    <a:pt x="560" y="744"/>
                  </a:lnTo>
                  <a:lnTo>
                    <a:pt x="534" y="741"/>
                  </a:lnTo>
                  <a:lnTo>
                    <a:pt x="510" y="738"/>
                  </a:lnTo>
                  <a:lnTo>
                    <a:pt x="486" y="726"/>
                  </a:lnTo>
                  <a:lnTo>
                    <a:pt x="461" y="717"/>
                  </a:lnTo>
                  <a:lnTo>
                    <a:pt x="440" y="705"/>
                  </a:lnTo>
                  <a:lnTo>
                    <a:pt x="413" y="698"/>
                  </a:lnTo>
                  <a:lnTo>
                    <a:pt x="387" y="683"/>
                  </a:lnTo>
                  <a:lnTo>
                    <a:pt x="363" y="665"/>
                  </a:lnTo>
                  <a:lnTo>
                    <a:pt x="353" y="672"/>
                  </a:lnTo>
                  <a:lnTo>
                    <a:pt x="344" y="686"/>
                  </a:lnTo>
                  <a:lnTo>
                    <a:pt x="339" y="705"/>
                  </a:lnTo>
                  <a:lnTo>
                    <a:pt x="315" y="710"/>
                  </a:lnTo>
                  <a:lnTo>
                    <a:pt x="285" y="705"/>
                  </a:lnTo>
                  <a:lnTo>
                    <a:pt x="254" y="714"/>
                  </a:lnTo>
                  <a:lnTo>
                    <a:pt x="224" y="716"/>
                  </a:lnTo>
                  <a:lnTo>
                    <a:pt x="222" y="750"/>
                  </a:lnTo>
                  <a:lnTo>
                    <a:pt x="44" y="749"/>
                  </a:lnTo>
                  <a:lnTo>
                    <a:pt x="27" y="770"/>
                  </a:lnTo>
                  <a:lnTo>
                    <a:pt x="18" y="759"/>
                  </a:lnTo>
                  <a:lnTo>
                    <a:pt x="11" y="773"/>
                  </a:lnTo>
                  <a:lnTo>
                    <a:pt x="0" y="809"/>
                  </a:lnTo>
                  <a:lnTo>
                    <a:pt x="18" y="875"/>
                  </a:lnTo>
                  <a:lnTo>
                    <a:pt x="27" y="870"/>
                  </a:lnTo>
                  <a:lnTo>
                    <a:pt x="63" y="857"/>
                  </a:lnTo>
                  <a:lnTo>
                    <a:pt x="50" y="873"/>
                  </a:lnTo>
                  <a:lnTo>
                    <a:pt x="24" y="881"/>
                  </a:lnTo>
                  <a:lnTo>
                    <a:pt x="30" y="905"/>
                  </a:lnTo>
                  <a:lnTo>
                    <a:pt x="36" y="924"/>
                  </a:lnTo>
                  <a:lnTo>
                    <a:pt x="96" y="924"/>
                  </a:lnTo>
                  <a:lnTo>
                    <a:pt x="132" y="902"/>
                  </a:lnTo>
                  <a:lnTo>
                    <a:pt x="186" y="903"/>
                  </a:lnTo>
                  <a:lnTo>
                    <a:pt x="246" y="909"/>
                  </a:lnTo>
                  <a:lnTo>
                    <a:pt x="291" y="879"/>
                  </a:lnTo>
                  <a:lnTo>
                    <a:pt x="326" y="851"/>
                  </a:lnTo>
                  <a:lnTo>
                    <a:pt x="612" y="857"/>
                  </a:lnTo>
                  <a:lnTo>
                    <a:pt x="720" y="860"/>
                  </a:lnTo>
                  <a:lnTo>
                    <a:pt x="773" y="870"/>
                  </a:lnTo>
                  <a:lnTo>
                    <a:pt x="785" y="897"/>
                  </a:lnTo>
                  <a:lnTo>
                    <a:pt x="816" y="882"/>
                  </a:lnTo>
                  <a:lnTo>
                    <a:pt x="849" y="903"/>
                  </a:lnTo>
                  <a:lnTo>
                    <a:pt x="905" y="912"/>
                  </a:lnTo>
                  <a:lnTo>
                    <a:pt x="932" y="927"/>
                  </a:lnTo>
                  <a:lnTo>
                    <a:pt x="977" y="905"/>
                  </a:lnTo>
                  <a:lnTo>
                    <a:pt x="1020" y="900"/>
                  </a:lnTo>
                  <a:lnTo>
                    <a:pt x="1053" y="905"/>
                  </a:lnTo>
                  <a:lnTo>
                    <a:pt x="1091" y="899"/>
                  </a:lnTo>
                  <a:lnTo>
                    <a:pt x="1122" y="896"/>
                  </a:lnTo>
                  <a:lnTo>
                    <a:pt x="1131" y="888"/>
                  </a:lnTo>
                  <a:lnTo>
                    <a:pt x="1116" y="869"/>
                  </a:lnTo>
                  <a:lnTo>
                    <a:pt x="1122" y="833"/>
                  </a:lnTo>
                  <a:lnTo>
                    <a:pt x="1115" y="804"/>
                  </a:lnTo>
                  <a:lnTo>
                    <a:pt x="1127" y="783"/>
                  </a:lnTo>
                  <a:lnTo>
                    <a:pt x="1110" y="764"/>
                  </a:lnTo>
                  <a:lnTo>
                    <a:pt x="1089" y="731"/>
                  </a:lnTo>
                  <a:lnTo>
                    <a:pt x="1071" y="696"/>
                  </a:lnTo>
                  <a:lnTo>
                    <a:pt x="1047" y="693"/>
                  </a:lnTo>
                  <a:lnTo>
                    <a:pt x="1025" y="710"/>
                  </a:lnTo>
                  <a:lnTo>
                    <a:pt x="1017" y="681"/>
                  </a:lnTo>
                  <a:lnTo>
                    <a:pt x="977" y="626"/>
                  </a:lnTo>
                  <a:lnTo>
                    <a:pt x="1005" y="609"/>
                  </a:lnTo>
                  <a:lnTo>
                    <a:pt x="1001" y="581"/>
                  </a:lnTo>
                  <a:lnTo>
                    <a:pt x="989" y="557"/>
                  </a:lnTo>
                  <a:lnTo>
                    <a:pt x="986" y="510"/>
                  </a:lnTo>
                  <a:lnTo>
                    <a:pt x="971" y="495"/>
                  </a:lnTo>
                  <a:lnTo>
                    <a:pt x="944" y="467"/>
                  </a:lnTo>
                  <a:lnTo>
                    <a:pt x="961" y="425"/>
                  </a:lnTo>
                  <a:lnTo>
                    <a:pt x="903" y="387"/>
                  </a:lnTo>
                  <a:lnTo>
                    <a:pt x="890" y="351"/>
                  </a:lnTo>
                  <a:lnTo>
                    <a:pt x="848" y="338"/>
                  </a:lnTo>
                  <a:lnTo>
                    <a:pt x="815" y="308"/>
                  </a:lnTo>
                  <a:lnTo>
                    <a:pt x="804" y="281"/>
                  </a:lnTo>
                  <a:lnTo>
                    <a:pt x="782" y="254"/>
                  </a:lnTo>
                  <a:lnTo>
                    <a:pt x="743" y="219"/>
                  </a:lnTo>
                  <a:lnTo>
                    <a:pt x="720" y="174"/>
                  </a:lnTo>
                  <a:lnTo>
                    <a:pt x="708" y="132"/>
                  </a:lnTo>
                  <a:lnTo>
                    <a:pt x="686" y="116"/>
                  </a:lnTo>
                  <a:lnTo>
                    <a:pt x="653" y="113"/>
                  </a:lnTo>
                  <a:lnTo>
                    <a:pt x="612" y="110"/>
                  </a:lnTo>
                  <a:lnTo>
                    <a:pt x="576" y="54"/>
                  </a:lnTo>
                  <a:lnTo>
                    <a:pt x="527" y="17"/>
                  </a:lnTo>
                  <a:lnTo>
                    <a:pt x="506" y="8"/>
                  </a:lnTo>
                  <a:lnTo>
                    <a:pt x="464" y="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nvGrpSpPr>
            <p:cNvPr id="9" name="Group 6">
              <a:extLst>
                <a:ext uri="{FF2B5EF4-FFF2-40B4-BE49-F238E27FC236}">
                  <a16:creationId xmlns:a16="http://schemas.microsoft.com/office/drawing/2014/main" id="{FD9C8D79-99DE-B309-9B66-1109F9D124F2}"/>
                </a:ext>
              </a:extLst>
            </p:cNvPr>
            <p:cNvGrpSpPr>
              <a:grpSpLocks noChangeAspect="1"/>
            </p:cNvGrpSpPr>
            <p:nvPr/>
          </p:nvGrpSpPr>
          <p:grpSpPr bwMode="auto">
            <a:xfrm>
              <a:off x="7648669" y="4334548"/>
              <a:ext cx="91881" cy="39177"/>
              <a:chOff x="2271" y="8155"/>
              <a:chExt cx="22863" cy="9728"/>
            </a:xfrm>
            <a:solidFill>
              <a:srgbClr val="E0E0E0"/>
            </a:solidFill>
          </p:grpSpPr>
          <p:sp>
            <p:nvSpPr>
              <p:cNvPr id="309" name="Freeform 7">
                <a:extLst>
                  <a:ext uri="{FF2B5EF4-FFF2-40B4-BE49-F238E27FC236}">
                    <a16:creationId xmlns:a16="http://schemas.microsoft.com/office/drawing/2014/main" id="{F8C0DAF3-EFE0-441D-FD70-EC809DA96006}"/>
                  </a:ext>
                </a:extLst>
              </p:cNvPr>
              <p:cNvSpPr>
                <a:spLocks noChangeAspect="1"/>
              </p:cNvSpPr>
              <p:nvPr/>
            </p:nvSpPr>
            <p:spPr bwMode="auto">
              <a:xfrm>
                <a:off x="8487" y="9499"/>
                <a:ext cx="16647" cy="8014"/>
              </a:xfrm>
              <a:custGeom>
                <a:avLst/>
                <a:gdLst>
                  <a:gd name="T0" fmla="*/ 11697 w 16647"/>
                  <a:gd name="T1" fmla="*/ 1013 h 8014"/>
                  <a:gd name="T2" fmla="*/ 11057 w 16647"/>
                  <a:gd name="T3" fmla="*/ 933 h 8014"/>
                  <a:gd name="T4" fmla="*/ 10305 w 16647"/>
                  <a:gd name="T5" fmla="*/ 677 h 8014"/>
                  <a:gd name="T6" fmla="*/ 9753 w 16647"/>
                  <a:gd name="T7" fmla="*/ 893 h 8014"/>
                  <a:gd name="T8" fmla="*/ 9161 w 16647"/>
                  <a:gd name="T9" fmla="*/ 1253 h 8014"/>
                  <a:gd name="T10" fmla="*/ 8305 w 16647"/>
                  <a:gd name="T11" fmla="*/ 1325 h 8014"/>
                  <a:gd name="T12" fmla="*/ 7593 w 16647"/>
                  <a:gd name="T13" fmla="*/ 1285 h 8014"/>
                  <a:gd name="T14" fmla="*/ 6929 w 16647"/>
                  <a:gd name="T15" fmla="*/ 1165 h 8014"/>
                  <a:gd name="T16" fmla="*/ 6177 w 16647"/>
                  <a:gd name="T17" fmla="*/ 1269 h 8014"/>
                  <a:gd name="T18" fmla="*/ 5497 w 16647"/>
                  <a:gd name="T19" fmla="*/ 1445 h 8014"/>
                  <a:gd name="T20" fmla="*/ 4849 w 16647"/>
                  <a:gd name="T21" fmla="*/ 1461 h 8014"/>
                  <a:gd name="T22" fmla="*/ 4369 w 16647"/>
                  <a:gd name="T23" fmla="*/ 1621 h 8014"/>
                  <a:gd name="T24" fmla="*/ 3956 w 16647"/>
                  <a:gd name="T25" fmla="*/ 1649 h 8014"/>
                  <a:gd name="T26" fmla="*/ 3353 w 16647"/>
                  <a:gd name="T27" fmla="*/ 1701 h 8014"/>
                  <a:gd name="T28" fmla="*/ 2617 w 16647"/>
                  <a:gd name="T29" fmla="*/ 1909 h 8014"/>
                  <a:gd name="T30" fmla="*/ 1945 w 16647"/>
                  <a:gd name="T31" fmla="*/ 2045 h 8014"/>
                  <a:gd name="T32" fmla="*/ 1145 w 16647"/>
                  <a:gd name="T33" fmla="*/ 2533 h 8014"/>
                  <a:gd name="T34" fmla="*/ 1081 w 16647"/>
                  <a:gd name="T35" fmla="*/ 3197 h 8014"/>
                  <a:gd name="T36" fmla="*/ 753 w 16647"/>
                  <a:gd name="T37" fmla="*/ 3597 h 8014"/>
                  <a:gd name="T38" fmla="*/ 345 w 16647"/>
                  <a:gd name="T39" fmla="*/ 4189 h 8014"/>
                  <a:gd name="T40" fmla="*/ 71 w 16647"/>
                  <a:gd name="T41" fmla="*/ 4658 h 8014"/>
                  <a:gd name="T42" fmla="*/ 138 w 16647"/>
                  <a:gd name="T43" fmla="*/ 5168 h 8014"/>
                  <a:gd name="T44" fmla="*/ 561 w 16647"/>
                  <a:gd name="T45" fmla="*/ 5179 h 8014"/>
                  <a:gd name="T46" fmla="*/ 1146 w 16647"/>
                  <a:gd name="T47" fmla="*/ 4784 h 8014"/>
                  <a:gd name="T48" fmla="*/ 1514 w 16647"/>
                  <a:gd name="T49" fmla="*/ 4783 h 8014"/>
                  <a:gd name="T50" fmla="*/ 1728 w 16647"/>
                  <a:gd name="T51" fmla="*/ 5414 h 8014"/>
                  <a:gd name="T52" fmla="*/ 1707 w 16647"/>
                  <a:gd name="T53" fmla="*/ 6034 h 8014"/>
                  <a:gd name="T54" fmla="*/ 1005 w 16647"/>
                  <a:gd name="T55" fmla="*/ 6043 h 8014"/>
                  <a:gd name="T56" fmla="*/ 402 w 16647"/>
                  <a:gd name="T57" fmla="*/ 6079 h 8014"/>
                  <a:gd name="T58" fmla="*/ 491 w 16647"/>
                  <a:gd name="T59" fmla="*/ 6749 h 8014"/>
                  <a:gd name="T60" fmla="*/ 857 w 16647"/>
                  <a:gd name="T61" fmla="*/ 7321 h 8014"/>
                  <a:gd name="T62" fmla="*/ 1056 w 16647"/>
                  <a:gd name="T63" fmla="*/ 7924 h 8014"/>
                  <a:gd name="T64" fmla="*/ 1673 w 16647"/>
                  <a:gd name="T65" fmla="*/ 7757 h 8014"/>
                  <a:gd name="T66" fmla="*/ 2265 w 16647"/>
                  <a:gd name="T67" fmla="*/ 7325 h 8014"/>
                  <a:gd name="T68" fmla="*/ 2793 w 16647"/>
                  <a:gd name="T69" fmla="*/ 6957 h 8014"/>
                  <a:gd name="T70" fmla="*/ 3745 w 16647"/>
                  <a:gd name="T71" fmla="*/ 6557 h 8014"/>
                  <a:gd name="T72" fmla="*/ 4561 w 16647"/>
                  <a:gd name="T73" fmla="*/ 6173 h 8014"/>
                  <a:gd name="T74" fmla="*/ 5441 w 16647"/>
                  <a:gd name="T75" fmla="*/ 6165 h 8014"/>
                  <a:gd name="T76" fmla="*/ 6105 w 16647"/>
                  <a:gd name="T77" fmla="*/ 5861 h 8014"/>
                  <a:gd name="T78" fmla="*/ 6785 w 16647"/>
                  <a:gd name="T79" fmla="*/ 5749 h 8014"/>
                  <a:gd name="T80" fmla="*/ 7465 w 16647"/>
                  <a:gd name="T81" fmla="*/ 5557 h 8014"/>
                  <a:gd name="T82" fmla="*/ 8169 w 16647"/>
                  <a:gd name="T83" fmla="*/ 5021 h 8014"/>
                  <a:gd name="T84" fmla="*/ 8785 w 16647"/>
                  <a:gd name="T85" fmla="*/ 4637 h 8014"/>
                  <a:gd name="T86" fmla="*/ 9697 w 16647"/>
                  <a:gd name="T87" fmla="*/ 4621 h 8014"/>
                  <a:gd name="T88" fmla="*/ 10529 w 16647"/>
                  <a:gd name="T89" fmla="*/ 4469 h 8014"/>
                  <a:gd name="T90" fmla="*/ 11081 w 16647"/>
                  <a:gd name="T91" fmla="*/ 4085 h 8014"/>
                  <a:gd name="T92" fmla="*/ 11497 w 16647"/>
                  <a:gd name="T93" fmla="*/ 3541 h 8014"/>
                  <a:gd name="T94" fmla="*/ 12025 w 16647"/>
                  <a:gd name="T95" fmla="*/ 3253 h 8014"/>
                  <a:gd name="T96" fmla="*/ 12777 w 16647"/>
                  <a:gd name="T97" fmla="*/ 3017 h 8014"/>
                  <a:gd name="T98" fmla="*/ 13703 w 16647"/>
                  <a:gd name="T99" fmla="*/ 2899 h 8014"/>
                  <a:gd name="T100" fmla="*/ 14599 w 16647"/>
                  <a:gd name="T101" fmla="*/ 2615 h 8014"/>
                  <a:gd name="T102" fmla="*/ 15248 w 16647"/>
                  <a:gd name="T103" fmla="*/ 1920 h 8014"/>
                  <a:gd name="T104" fmla="*/ 15815 w 16647"/>
                  <a:gd name="T105" fmla="*/ 1472 h 8014"/>
                  <a:gd name="T106" fmla="*/ 16436 w 16647"/>
                  <a:gd name="T107" fmla="*/ 887 h 8014"/>
                  <a:gd name="T108" fmla="*/ 16537 w 16647"/>
                  <a:gd name="T109" fmla="*/ 467 h 8014"/>
                  <a:gd name="T110" fmla="*/ 15732 w 16647"/>
                  <a:gd name="T111" fmla="*/ 110 h 8014"/>
                  <a:gd name="T112" fmla="*/ 15010 w 16647"/>
                  <a:gd name="T113" fmla="*/ 302 h 8014"/>
                  <a:gd name="T114" fmla="*/ 14206 w 16647"/>
                  <a:gd name="T115" fmla="*/ 0 h 8014"/>
                  <a:gd name="T116" fmla="*/ 13547 w 16647"/>
                  <a:gd name="T117" fmla="*/ 403 h 8014"/>
                  <a:gd name="T118" fmla="*/ 12880 w 16647"/>
                  <a:gd name="T119" fmla="*/ 677 h 801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647"/>
                  <a:gd name="T181" fmla="*/ 0 h 8014"/>
                  <a:gd name="T182" fmla="*/ 16647 w 16647"/>
                  <a:gd name="T183" fmla="*/ 8014 h 801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647" h="8014">
                    <a:moveTo>
                      <a:pt x="12453" y="701"/>
                    </a:moveTo>
                    <a:lnTo>
                      <a:pt x="12273" y="733"/>
                    </a:lnTo>
                    <a:lnTo>
                      <a:pt x="12145" y="789"/>
                    </a:lnTo>
                    <a:lnTo>
                      <a:pt x="12001" y="861"/>
                    </a:lnTo>
                    <a:lnTo>
                      <a:pt x="11841" y="925"/>
                    </a:lnTo>
                    <a:lnTo>
                      <a:pt x="11697" y="1013"/>
                    </a:lnTo>
                    <a:lnTo>
                      <a:pt x="11609" y="1077"/>
                    </a:lnTo>
                    <a:lnTo>
                      <a:pt x="11489" y="1077"/>
                    </a:lnTo>
                    <a:lnTo>
                      <a:pt x="11361" y="1077"/>
                    </a:lnTo>
                    <a:lnTo>
                      <a:pt x="11249" y="1053"/>
                    </a:lnTo>
                    <a:lnTo>
                      <a:pt x="11169" y="989"/>
                    </a:lnTo>
                    <a:lnTo>
                      <a:pt x="11057" y="933"/>
                    </a:lnTo>
                    <a:lnTo>
                      <a:pt x="10937" y="845"/>
                    </a:lnTo>
                    <a:lnTo>
                      <a:pt x="10777" y="821"/>
                    </a:lnTo>
                    <a:lnTo>
                      <a:pt x="10673" y="765"/>
                    </a:lnTo>
                    <a:lnTo>
                      <a:pt x="10585" y="693"/>
                    </a:lnTo>
                    <a:lnTo>
                      <a:pt x="10441" y="645"/>
                    </a:lnTo>
                    <a:lnTo>
                      <a:pt x="10305" y="677"/>
                    </a:lnTo>
                    <a:lnTo>
                      <a:pt x="10201" y="709"/>
                    </a:lnTo>
                    <a:lnTo>
                      <a:pt x="10081" y="693"/>
                    </a:lnTo>
                    <a:lnTo>
                      <a:pt x="9993" y="741"/>
                    </a:lnTo>
                    <a:lnTo>
                      <a:pt x="9945" y="821"/>
                    </a:lnTo>
                    <a:lnTo>
                      <a:pt x="9897" y="885"/>
                    </a:lnTo>
                    <a:lnTo>
                      <a:pt x="9753" y="893"/>
                    </a:lnTo>
                    <a:lnTo>
                      <a:pt x="9657" y="941"/>
                    </a:lnTo>
                    <a:lnTo>
                      <a:pt x="9577" y="1021"/>
                    </a:lnTo>
                    <a:lnTo>
                      <a:pt x="9481" y="1093"/>
                    </a:lnTo>
                    <a:lnTo>
                      <a:pt x="9353" y="1141"/>
                    </a:lnTo>
                    <a:lnTo>
                      <a:pt x="9233" y="1205"/>
                    </a:lnTo>
                    <a:lnTo>
                      <a:pt x="9161" y="1253"/>
                    </a:lnTo>
                    <a:lnTo>
                      <a:pt x="9073" y="1229"/>
                    </a:lnTo>
                    <a:lnTo>
                      <a:pt x="8857" y="1229"/>
                    </a:lnTo>
                    <a:lnTo>
                      <a:pt x="8745" y="1269"/>
                    </a:lnTo>
                    <a:lnTo>
                      <a:pt x="8609" y="1261"/>
                    </a:lnTo>
                    <a:lnTo>
                      <a:pt x="8449" y="1317"/>
                    </a:lnTo>
                    <a:lnTo>
                      <a:pt x="8305" y="1325"/>
                    </a:lnTo>
                    <a:lnTo>
                      <a:pt x="8177" y="1373"/>
                    </a:lnTo>
                    <a:lnTo>
                      <a:pt x="8049" y="1413"/>
                    </a:lnTo>
                    <a:lnTo>
                      <a:pt x="7977" y="1373"/>
                    </a:lnTo>
                    <a:lnTo>
                      <a:pt x="7841" y="1333"/>
                    </a:lnTo>
                    <a:lnTo>
                      <a:pt x="7705" y="1325"/>
                    </a:lnTo>
                    <a:lnTo>
                      <a:pt x="7593" y="1285"/>
                    </a:lnTo>
                    <a:lnTo>
                      <a:pt x="7481" y="1245"/>
                    </a:lnTo>
                    <a:lnTo>
                      <a:pt x="7385" y="1205"/>
                    </a:lnTo>
                    <a:lnTo>
                      <a:pt x="7241" y="1189"/>
                    </a:lnTo>
                    <a:lnTo>
                      <a:pt x="7153" y="1141"/>
                    </a:lnTo>
                    <a:lnTo>
                      <a:pt x="7017" y="1109"/>
                    </a:lnTo>
                    <a:lnTo>
                      <a:pt x="6929" y="1165"/>
                    </a:lnTo>
                    <a:lnTo>
                      <a:pt x="6833" y="1133"/>
                    </a:lnTo>
                    <a:lnTo>
                      <a:pt x="6721" y="1125"/>
                    </a:lnTo>
                    <a:lnTo>
                      <a:pt x="6569" y="1141"/>
                    </a:lnTo>
                    <a:lnTo>
                      <a:pt x="6385" y="1109"/>
                    </a:lnTo>
                    <a:lnTo>
                      <a:pt x="6249" y="1213"/>
                    </a:lnTo>
                    <a:lnTo>
                      <a:pt x="6177" y="1269"/>
                    </a:lnTo>
                    <a:lnTo>
                      <a:pt x="6057" y="1317"/>
                    </a:lnTo>
                    <a:lnTo>
                      <a:pt x="5961" y="1309"/>
                    </a:lnTo>
                    <a:lnTo>
                      <a:pt x="5849" y="1349"/>
                    </a:lnTo>
                    <a:lnTo>
                      <a:pt x="5729" y="1397"/>
                    </a:lnTo>
                    <a:lnTo>
                      <a:pt x="5657" y="1445"/>
                    </a:lnTo>
                    <a:lnTo>
                      <a:pt x="5497" y="1445"/>
                    </a:lnTo>
                    <a:lnTo>
                      <a:pt x="5377" y="1509"/>
                    </a:lnTo>
                    <a:lnTo>
                      <a:pt x="5305" y="1557"/>
                    </a:lnTo>
                    <a:lnTo>
                      <a:pt x="5233" y="1509"/>
                    </a:lnTo>
                    <a:lnTo>
                      <a:pt x="5153" y="1477"/>
                    </a:lnTo>
                    <a:lnTo>
                      <a:pt x="4985" y="1477"/>
                    </a:lnTo>
                    <a:lnTo>
                      <a:pt x="4849" y="1461"/>
                    </a:lnTo>
                    <a:lnTo>
                      <a:pt x="4737" y="1461"/>
                    </a:lnTo>
                    <a:lnTo>
                      <a:pt x="4729" y="1525"/>
                    </a:lnTo>
                    <a:lnTo>
                      <a:pt x="4721" y="1597"/>
                    </a:lnTo>
                    <a:lnTo>
                      <a:pt x="4601" y="1613"/>
                    </a:lnTo>
                    <a:lnTo>
                      <a:pt x="4481" y="1629"/>
                    </a:lnTo>
                    <a:lnTo>
                      <a:pt x="4369" y="1621"/>
                    </a:lnTo>
                    <a:lnTo>
                      <a:pt x="4313" y="1581"/>
                    </a:lnTo>
                    <a:lnTo>
                      <a:pt x="4217" y="1597"/>
                    </a:lnTo>
                    <a:lnTo>
                      <a:pt x="4153" y="1629"/>
                    </a:lnTo>
                    <a:lnTo>
                      <a:pt x="4097" y="1621"/>
                    </a:lnTo>
                    <a:lnTo>
                      <a:pt x="4033" y="1661"/>
                    </a:lnTo>
                    <a:lnTo>
                      <a:pt x="3956" y="1649"/>
                    </a:lnTo>
                    <a:lnTo>
                      <a:pt x="3897" y="1661"/>
                    </a:lnTo>
                    <a:lnTo>
                      <a:pt x="3825" y="1717"/>
                    </a:lnTo>
                    <a:lnTo>
                      <a:pt x="3761" y="1765"/>
                    </a:lnTo>
                    <a:lnTo>
                      <a:pt x="3601" y="1765"/>
                    </a:lnTo>
                    <a:lnTo>
                      <a:pt x="3457" y="1749"/>
                    </a:lnTo>
                    <a:lnTo>
                      <a:pt x="3353" y="1701"/>
                    </a:lnTo>
                    <a:lnTo>
                      <a:pt x="3201" y="1741"/>
                    </a:lnTo>
                    <a:lnTo>
                      <a:pt x="3081" y="1789"/>
                    </a:lnTo>
                    <a:lnTo>
                      <a:pt x="2961" y="1821"/>
                    </a:lnTo>
                    <a:lnTo>
                      <a:pt x="2841" y="1853"/>
                    </a:lnTo>
                    <a:lnTo>
                      <a:pt x="2737" y="1901"/>
                    </a:lnTo>
                    <a:lnTo>
                      <a:pt x="2617" y="1909"/>
                    </a:lnTo>
                    <a:lnTo>
                      <a:pt x="2545" y="1981"/>
                    </a:lnTo>
                    <a:lnTo>
                      <a:pt x="2449" y="2021"/>
                    </a:lnTo>
                    <a:lnTo>
                      <a:pt x="2345" y="2029"/>
                    </a:lnTo>
                    <a:lnTo>
                      <a:pt x="2225" y="1981"/>
                    </a:lnTo>
                    <a:lnTo>
                      <a:pt x="2097" y="2013"/>
                    </a:lnTo>
                    <a:lnTo>
                      <a:pt x="1945" y="2045"/>
                    </a:lnTo>
                    <a:lnTo>
                      <a:pt x="1785" y="2085"/>
                    </a:lnTo>
                    <a:lnTo>
                      <a:pt x="1641" y="2133"/>
                    </a:lnTo>
                    <a:lnTo>
                      <a:pt x="1457" y="2197"/>
                    </a:lnTo>
                    <a:lnTo>
                      <a:pt x="1281" y="2285"/>
                    </a:lnTo>
                    <a:lnTo>
                      <a:pt x="1209" y="2413"/>
                    </a:lnTo>
                    <a:lnTo>
                      <a:pt x="1145" y="2533"/>
                    </a:lnTo>
                    <a:lnTo>
                      <a:pt x="1105" y="2645"/>
                    </a:lnTo>
                    <a:lnTo>
                      <a:pt x="1121" y="2805"/>
                    </a:lnTo>
                    <a:lnTo>
                      <a:pt x="1089" y="2893"/>
                    </a:lnTo>
                    <a:lnTo>
                      <a:pt x="1089" y="3037"/>
                    </a:lnTo>
                    <a:lnTo>
                      <a:pt x="1073" y="3093"/>
                    </a:lnTo>
                    <a:lnTo>
                      <a:pt x="1081" y="3197"/>
                    </a:lnTo>
                    <a:lnTo>
                      <a:pt x="1097" y="3333"/>
                    </a:lnTo>
                    <a:lnTo>
                      <a:pt x="1057" y="3397"/>
                    </a:lnTo>
                    <a:lnTo>
                      <a:pt x="1009" y="3469"/>
                    </a:lnTo>
                    <a:lnTo>
                      <a:pt x="953" y="3517"/>
                    </a:lnTo>
                    <a:lnTo>
                      <a:pt x="865" y="3565"/>
                    </a:lnTo>
                    <a:lnTo>
                      <a:pt x="753" y="3597"/>
                    </a:lnTo>
                    <a:lnTo>
                      <a:pt x="657" y="3629"/>
                    </a:lnTo>
                    <a:lnTo>
                      <a:pt x="537" y="3741"/>
                    </a:lnTo>
                    <a:lnTo>
                      <a:pt x="465" y="3845"/>
                    </a:lnTo>
                    <a:lnTo>
                      <a:pt x="449" y="3941"/>
                    </a:lnTo>
                    <a:lnTo>
                      <a:pt x="441" y="4069"/>
                    </a:lnTo>
                    <a:lnTo>
                      <a:pt x="345" y="4189"/>
                    </a:lnTo>
                    <a:lnTo>
                      <a:pt x="305" y="4317"/>
                    </a:lnTo>
                    <a:lnTo>
                      <a:pt x="265" y="4413"/>
                    </a:lnTo>
                    <a:lnTo>
                      <a:pt x="145" y="4453"/>
                    </a:lnTo>
                    <a:lnTo>
                      <a:pt x="98" y="4483"/>
                    </a:lnTo>
                    <a:lnTo>
                      <a:pt x="153" y="4573"/>
                    </a:lnTo>
                    <a:lnTo>
                      <a:pt x="71" y="4658"/>
                    </a:lnTo>
                    <a:lnTo>
                      <a:pt x="8" y="4781"/>
                    </a:lnTo>
                    <a:lnTo>
                      <a:pt x="78" y="4910"/>
                    </a:lnTo>
                    <a:lnTo>
                      <a:pt x="0" y="4939"/>
                    </a:lnTo>
                    <a:lnTo>
                      <a:pt x="26" y="5038"/>
                    </a:lnTo>
                    <a:lnTo>
                      <a:pt x="78" y="5140"/>
                    </a:lnTo>
                    <a:lnTo>
                      <a:pt x="138" y="5168"/>
                    </a:lnTo>
                    <a:lnTo>
                      <a:pt x="192" y="5240"/>
                    </a:lnTo>
                    <a:lnTo>
                      <a:pt x="261" y="5194"/>
                    </a:lnTo>
                    <a:lnTo>
                      <a:pt x="318" y="5258"/>
                    </a:lnTo>
                    <a:lnTo>
                      <a:pt x="383" y="5206"/>
                    </a:lnTo>
                    <a:lnTo>
                      <a:pt x="483" y="5284"/>
                    </a:lnTo>
                    <a:lnTo>
                      <a:pt x="561" y="5179"/>
                    </a:lnTo>
                    <a:lnTo>
                      <a:pt x="648" y="5093"/>
                    </a:lnTo>
                    <a:lnTo>
                      <a:pt x="738" y="5017"/>
                    </a:lnTo>
                    <a:lnTo>
                      <a:pt x="866" y="5002"/>
                    </a:lnTo>
                    <a:lnTo>
                      <a:pt x="977" y="4993"/>
                    </a:lnTo>
                    <a:lnTo>
                      <a:pt x="1041" y="4876"/>
                    </a:lnTo>
                    <a:lnTo>
                      <a:pt x="1146" y="4784"/>
                    </a:lnTo>
                    <a:lnTo>
                      <a:pt x="1145" y="4663"/>
                    </a:lnTo>
                    <a:lnTo>
                      <a:pt x="1217" y="4567"/>
                    </a:lnTo>
                    <a:lnTo>
                      <a:pt x="1248" y="4648"/>
                    </a:lnTo>
                    <a:lnTo>
                      <a:pt x="1322" y="4726"/>
                    </a:lnTo>
                    <a:lnTo>
                      <a:pt x="1338" y="4805"/>
                    </a:lnTo>
                    <a:lnTo>
                      <a:pt x="1514" y="4783"/>
                    </a:lnTo>
                    <a:lnTo>
                      <a:pt x="1653" y="4888"/>
                    </a:lnTo>
                    <a:lnTo>
                      <a:pt x="1760" y="5014"/>
                    </a:lnTo>
                    <a:lnTo>
                      <a:pt x="1769" y="5146"/>
                    </a:lnTo>
                    <a:lnTo>
                      <a:pt x="1764" y="5257"/>
                    </a:lnTo>
                    <a:lnTo>
                      <a:pt x="1817" y="5348"/>
                    </a:lnTo>
                    <a:lnTo>
                      <a:pt x="1728" y="5414"/>
                    </a:lnTo>
                    <a:lnTo>
                      <a:pt x="1760" y="5503"/>
                    </a:lnTo>
                    <a:lnTo>
                      <a:pt x="1704" y="5543"/>
                    </a:lnTo>
                    <a:lnTo>
                      <a:pt x="1688" y="5680"/>
                    </a:lnTo>
                    <a:lnTo>
                      <a:pt x="1719" y="5858"/>
                    </a:lnTo>
                    <a:lnTo>
                      <a:pt x="1760" y="5983"/>
                    </a:lnTo>
                    <a:lnTo>
                      <a:pt x="1707" y="6034"/>
                    </a:lnTo>
                    <a:lnTo>
                      <a:pt x="1602" y="6005"/>
                    </a:lnTo>
                    <a:lnTo>
                      <a:pt x="1484" y="6007"/>
                    </a:lnTo>
                    <a:lnTo>
                      <a:pt x="1385" y="6088"/>
                    </a:lnTo>
                    <a:lnTo>
                      <a:pt x="1266" y="6155"/>
                    </a:lnTo>
                    <a:lnTo>
                      <a:pt x="1169" y="6236"/>
                    </a:lnTo>
                    <a:lnTo>
                      <a:pt x="1005" y="6043"/>
                    </a:lnTo>
                    <a:lnTo>
                      <a:pt x="867" y="5981"/>
                    </a:lnTo>
                    <a:lnTo>
                      <a:pt x="732" y="6043"/>
                    </a:lnTo>
                    <a:lnTo>
                      <a:pt x="657" y="5981"/>
                    </a:lnTo>
                    <a:lnTo>
                      <a:pt x="554" y="6041"/>
                    </a:lnTo>
                    <a:lnTo>
                      <a:pt x="480" y="6001"/>
                    </a:lnTo>
                    <a:lnTo>
                      <a:pt x="402" y="6079"/>
                    </a:lnTo>
                    <a:lnTo>
                      <a:pt x="419" y="6166"/>
                    </a:lnTo>
                    <a:lnTo>
                      <a:pt x="354" y="6289"/>
                    </a:lnTo>
                    <a:lnTo>
                      <a:pt x="344" y="6454"/>
                    </a:lnTo>
                    <a:lnTo>
                      <a:pt x="392" y="6589"/>
                    </a:lnTo>
                    <a:lnTo>
                      <a:pt x="419" y="6694"/>
                    </a:lnTo>
                    <a:lnTo>
                      <a:pt x="491" y="6749"/>
                    </a:lnTo>
                    <a:lnTo>
                      <a:pt x="446" y="6893"/>
                    </a:lnTo>
                    <a:lnTo>
                      <a:pt x="561" y="6886"/>
                    </a:lnTo>
                    <a:lnTo>
                      <a:pt x="692" y="7052"/>
                    </a:lnTo>
                    <a:lnTo>
                      <a:pt x="767" y="7066"/>
                    </a:lnTo>
                    <a:lnTo>
                      <a:pt x="840" y="7117"/>
                    </a:lnTo>
                    <a:lnTo>
                      <a:pt x="857" y="7321"/>
                    </a:lnTo>
                    <a:lnTo>
                      <a:pt x="918" y="7408"/>
                    </a:lnTo>
                    <a:lnTo>
                      <a:pt x="983" y="7478"/>
                    </a:lnTo>
                    <a:lnTo>
                      <a:pt x="1040" y="7565"/>
                    </a:lnTo>
                    <a:lnTo>
                      <a:pt x="1010" y="7651"/>
                    </a:lnTo>
                    <a:lnTo>
                      <a:pt x="1068" y="7790"/>
                    </a:lnTo>
                    <a:lnTo>
                      <a:pt x="1056" y="7924"/>
                    </a:lnTo>
                    <a:lnTo>
                      <a:pt x="1118" y="8014"/>
                    </a:lnTo>
                    <a:lnTo>
                      <a:pt x="1227" y="7939"/>
                    </a:lnTo>
                    <a:lnTo>
                      <a:pt x="1337" y="7845"/>
                    </a:lnTo>
                    <a:lnTo>
                      <a:pt x="1433" y="7773"/>
                    </a:lnTo>
                    <a:lnTo>
                      <a:pt x="1561" y="7765"/>
                    </a:lnTo>
                    <a:lnTo>
                      <a:pt x="1673" y="7757"/>
                    </a:lnTo>
                    <a:lnTo>
                      <a:pt x="1809" y="7749"/>
                    </a:lnTo>
                    <a:lnTo>
                      <a:pt x="1913" y="7741"/>
                    </a:lnTo>
                    <a:lnTo>
                      <a:pt x="2057" y="7613"/>
                    </a:lnTo>
                    <a:lnTo>
                      <a:pt x="2161" y="7501"/>
                    </a:lnTo>
                    <a:lnTo>
                      <a:pt x="2225" y="7397"/>
                    </a:lnTo>
                    <a:lnTo>
                      <a:pt x="2265" y="7325"/>
                    </a:lnTo>
                    <a:lnTo>
                      <a:pt x="2321" y="7293"/>
                    </a:lnTo>
                    <a:lnTo>
                      <a:pt x="2369" y="7373"/>
                    </a:lnTo>
                    <a:lnTo>
                      <a:pt x="2473" y="7285"/>
                    </a:lnTo>
                    <a:lnTo>
                      <a:pt x="2545" y="7133"/>
                    </a:lnTo>
                    <a:lnTo>
                      <a:pt x="2689" y="7037"/>
                    </a:lnTo>
                    <a:lnTo>
                      <a:pt x="2793" y="6957"/>
                    </a:lnTo>
                    <a:lnTo>
                      <a:pt x="2929" y="6853"/>
                    </a:lnTo>
                    <a:lnTo>
                      <a:pt x="2945" y="6773"/>
                    </a:lnTo>
                    <a:lnTo>
                      <a:pt x="3161" y="6693"/>
                    </a:lnTo>
                    <a:lnTo>
                      <a:pt x="3385" y="6637"/>
                    </a:lnTo>
                    <a:lnTo>
                      <a:pt x="3593" y="6597"/>
                    </a:lnTo>
                    <a:lnTo>
                      <a:pt x="3745" y="6557"/>
                    </a:lnTo>
                    <a:lnTo>
                      <a:pt x="3817" y="6477"/>
                    </a:lnTo>
                    <a:lnTo>
                      <a:pt x="3977" y="6413"/>
                    </a:lnTo>
                    <a:lnTo>
                      <a:pt x="4129" y="6373"/>
                    </a:lnTo>
                    <a:lnTo>
                      <a:pt x="4273" y="6349"/>
                    </a:lnTo>
                    <a:lnTo>
                      <a:pt x="4401" y="6261"/>
                    </a:lnTo>
                    <a:lnTo>
                      <a:pt x="4561" y="6173"/>
                    </a:lnTo>
                    <a:lnTo>
                      <a:pt x="4729" y="6109"/>
                    </a:lnTo>
                    <a:lnTo>
                      <a:pt x="4857" y="6133"/>
                    </a:lnTo>
                    <a:lnTo>
                      <a:pt x="4969" y="6189"/>
                    </a:lnTo>
                    <a:lnTo>
                      <a:pt x="5097" y="6237"/>
                    </a:lnTo>
                    <a:lnTo>
                      <a:pt x="5209" y="6237"/>
                    </a:lnTo>
                    <a:lnTo>
                      <a:pt x="5441" y="6165"/>
                    </a:lnTo>
                    <a:lnTo>
                      <a:pt x="5481" y="6085"/>
                    </a:lnTo>
                    <a:lnTo>
                      <a:pt x="5577" y="6013"/>
                    </a:lnTo>
                    <a:lnTo>
                      <a:pt x="5737" y="6029"/>
                    </a:lnTo>
                    <a:lnTo>
                      <a:pt x="5857" y="6005"/>
                    </a:lnTo>
                    <a:lnTo>
                      <a:pt x="5937" y="5909"/>
                    </a:lnTo>
                    <a:lnTo>
                      <a:pt x="6105" y="5861"/>
                    </a:lnTo>
                    <a:lnTo>
                      <a:pt x="6225" y="5877"/>
                    </a:lnTo>
                    <a:lnTo>
                      <a:pt x="6337" y="5765"/>
                    </a:lnTo>
                    <a:lnTo>
                      <a:pt x="6449" y="5709"/>
                    </a:lnTo>
                    <a:lnTo>
                      <a:pt x="6601" y="5701"/>
                    </a:lnTo>
                    <a:lnTo>
                      <a:pt x="6681" y="5733"/>
                    </a:lnTo>
                    <a:lnTo>
                      <a:pt x="6785" y="5749"/>
                    </a:lnTo>
                    <a:lnTo>
                      <a:pt x="6929" y="5765"/>
                    </a:lnTo>
                    <a:lnTo>
                      <a:pt x="7017" y="5765"/>
                    </a:lnTo>
                    <a:lnTo>
                      <a:pt x="7129" y="5741"/>
                    </a:lnTo>
                    <a:lnTo>
                      <a:pt x="7233" y="5685"/>
                    </a:lnTo>
                    <a:lnTo>
                      <a:pt x="7361" y="5621"/>
                    </a:lnTo>
                    <a:lnTo>
                      <a:pt x="7465" y="5557"/>
                    </a:lnTo>
                    <a:lnTo>
                      <a:pt x="7593" y="5429"/>
                    </a:lnTo>
                    <a:lnTo>
                      <a:pt x="7697" y="5341"/>
                    </a:lnTo>
                    <a:lnTo>
                      <a:pt x="7833" y="5301"/>
                    </a:lnTo>
                    <a:lnTo>
                      <a:pt x="8009" y="5221"/>
                    </a:lnTo>
                    <a:lnTo>
                      <a:pt x="8089" y="5117"/>
                    </a:lnTo>
                    <a:lnTo>
                      <a:pt x="8169" y="5021"/>
                    </a:lnTo>
                    <a:lnTo>
                      <a:pt x="8249" y="4917"/>
                    </a:lnTo>
                    <a:lnTo>
                      <a:pt x="8361" y="4837"/>
                    </a:lnTo>
                    <a:lnTo>
                      <a:pt x="8497" y="4765"/>
                    </a:lnTo>
                    <a:lnTo>
                      <a:pt x="8609" y="4693"/>
                    </a:lnTo>
                    <a:lnTo>
                      <a:pt x="8697" y="4629"/>
                    </a:lnTo>
                    <a:lnTo>
                      <a:pt x="8785" y="4637"/>
                    </a:lnTo>
                    <a:lnTo>
                      <a:pt x="8969" y="4629"/>
                    </a:lnTo>
                    <a:lnTo>
                      <a:pt x="9129" y="4645"/>
                    </a:lnTo>
                    <a:lnTo>
                      <a:pt x="9281" y="4597"/>
                    </a:lnTo>
                    <a:lnTo>
                      <a:pt x="9393" y="4621"/>
                    </a:lnTo>
                    <a:lnTo>
                      <a:pt x="9537" y="4637"/>
                    </a:lnTo>
                    <a:lnTo>
                      <a:pt x="9697" y="4621"/>
                    </a:lnTo>
                    <a:lnTo>
                      <a:pt x="9865" y="4533"/>
                    </a:lnTo>
                    <a:lnTo>
                      <a:pt x="10033" y="4485"/>
                    </a:lnTo>
                    <a:lnTo>
                      <a:pt x="10169" y="4461"/>
                    </a:lnTo>
                    <a:lnTo>
                      <a:pt x="10289" y="4445"/>
                    </a:lnTo>
                    <a:lnTo>
                      <a:pt x="10449" y="4429"/>
                    </a:lnTo>
                    <a:lnTo>
                      <a:pt x="10529" y="4469"/>
                    </a:lnTo>
                    <a:lnTo>
                      <a:pt x="10641" y="4461"/>
                    </a:lnTo>
                    <a:lnTo>
                      <a:pt x="10785" y="4413"/>
                    </a:lnTo>
                    <a:lnTo>
                      <a:pt x="10873" y="4373"/>
                    </a:lnTo>
                    <a:lnTo>
                      <a:pt x="10985" y="4309"/>
                    </a:lnTo>
                    <a:lnTo>
                      <a:pt x="10993" y="4181"/>
                    </a:lnTo>
                    <a:lnTo>
                      <a:pt x="11081" y="4085"/>
                    </a:lnTo>
                    <a:lnTo>
                      <a:pt x="11153" y="3957"/>
                    </a:lnTo>
                    <a:lnTo>
                      <a:pt x="11217" y="3877"/>
                    </a:lnTo>
                    <a:lnTo>
                      <a:pt x="11265" y="3757"/>
                    </a:lnTo>
                    <a:lnTo>
                      <a:pt x="11329" y="3653"/>
                    </a:lnTo>
                    <a:lnTo>
                      <a:pt x="11393" y="3581"/>
                    </a:lnTo>
                    <a:lnTo>
                      <a:pt x="11497" y="3541"/>
                    </a:lnTo>
                    <a:lnTo>
                      <a:pt x="11649" y="3373"/>
                    </a:lnTo>
                    <a:lnTo>
                      <a:pt x="11673" y="3421"/>
                    </a:lnTo>
                    <a:lnTo>
                      <a:pt x="11769" y="3445"/>
                    </a:lnTo>
                    <a:lnTo>
                      <a:pt x="11849" y="3397"/>
                    </a:lnTo>
                    <a:lnTo>
                      <a:pt x="11913" y="3333"/>
                    </a:lnTo>
                    <a:lnTo>
                      <a:pt x="12025" y="3253"/>
                    </a:lnTo>
                    <a:lnTo>
                      <a:pt x="12137" y="3205"/>
                    </a:lnTo>
                    <a:lnTo>
                      <a:pt x="12265" y="3149"/>
                    </a:lnTo>
                    <a:lnTo>
                      <a:pt x="12433" y="3109"/>
                    </a:lnTo>
                    <a:lnTo>
                      <a:pt x="12617" y="3077"/>
                    </a:lnTo>
                    <a:lnTo>
                      <a:pt x="12705" y="3061"/>
                    </a:lnTo>
                    <a:lnTo>
                      <a:pt x="12777" y="3017"/>
                    </a:lnTo>
                    <a:lnTo>
                      <a:pt x="12933" y="3029"/>
                    </a:lnTo>
                    <a:lnTo>
                      <a:pt x="13089" y="3089"/>
                    </a:lnTo>
                    <a:lnTo>
                      <a:pt x="13245" y="3101"/>
                    </a:lnTo>
                    <a:lnTo>
                      <a:pt x="13401" y="3101"/>
                    </a:lnTo>
                    <a:lnTo>
                      <a:pt x="13566" y="3008"/>
                    </a:lnTo>
                    <a:lnTo>
                      <a:pt x="13703" y="2899"/>
                    </a:lnTo>
                    <a:lnTo>
                      <a:pt x="13886" y="2771"/>
                    </a:lnTo>
                    <a:lnTo>
                      <a:pt x="14050" y="2679"/>
                    </a:lnTo>
                    <a:lnTo>
                      <a:pt x="14187" y="2579"/>
                    </a:lnTo>
                    <a:lnTo>
                      <a:pt x="14352" y="2579"/>
                    </a:lnTo>
                    <a:lnTo>
                      <a:pt x="14516" y="2560"/>
                    </a:lnTo>
                    <a:lnTo>
                      <a:pt x="14599" y="2615"/>
                    </a:lnTo>
                    <a:lnTo>
                      <a:pt x="14690" y="2533"/>
                    </a:lnTo>
                    <a:lnTo>
                      <a:pt x="14827" y="2396"/>
                    </a:lnTo>
                    <a:lnTo>
                      <a:pt x="14946" y="2268"/>
                    </a:lnTo>
                    <a:lnTo>
                      <a:pt x="15019" y="2140"/>
                    </a:lnTo>
                    <a:lnTo>
                      <a:pt x="15129" y="2012"/>
                    </a:lnTo>
                    <a:lnTo>
                      <a:pt x="15248" y="1920"/>
                    </a:lnTo>
                    <a:lnTo>
                      <a:pt x="15312" y="1820"/>
                    </a:lnTo>
                    <a:lnTo>
                      <a:pt x="15394" y="1747"/>
                    </a:lnTo>
                    <a:lnTo>
                      <a:pt x="15504" y="1719"/>
                    </a:lnTo>
                    <a:lnTo>
                      <a:pt x="15604" y="1628"/>
                    </a:lnTo>
                    <a:lnTo>
                      <a:pt x="15714" y="1546"/>
                    </a:lnTo>
                    <a:lnTo>
                      <a:pt x="15815" y="1472"/>
                    </a:lnTo>
                    <a:lnTo>
                      <a:pt x="15897" y="1418"/>
                    </a:lnTo>
                    <a:lnTo>
                      <a:pt x="15988" y="1271"/>
                    </a:lnTo>
                    <a:lnTo>
                      <a:pt x="16126" y="1152"/>
                    </a:lnTo>
                    <a:lnTo>
                      <a:pt x="16263" y="1107"/>
                    </a:lnTo>
                    <a:lnTo>
                      <a:pt x="16363" y="997"/>
                    </a:lnTo>
                    <a:lnTo>
                      <a:pt x="16436" y="887"/>
                    </a:lnTo>
                    <a:lnTo>
                      <a:pt x="16537" y="832"/>
                    </a:lnTo>
                    <a:lnTo>
                      <a:pt x="16628" y="805"/>
                    </a:lnTo>
                    <a:lnTo>
                      <a:pt x="16647" y="686"/>
                    </a:lnTo>
                    <a:lnTo>
                      <a:pt x="16647" y="595"/>
                    </a:lnTo>
                    <a:lnTo>
                      <a:pt x="16601" y="531"/>
                    </a:lnTo>
                    <a:lnTo>
                      <a:pt x="16537" y="467"/>
                    </a:lnTo>
                    <a:lnTo>
                      <a:pt x="16382" y="430"/>
                    </a:lnTo>
                    <a:lnTo>
                      <a:pt x="16208" y="430"/>
                    </a:lnTo>
                    <a:lnTo>
                      <a:pt x="16089" y="348"/>
                    </a:lnTo>
                    <a:lnTo>
                      <a:pt x="15998" y="220"/>
                    </a:lnTo>
                    <a:lnTo>
                      <a:pt x="15888" y="110"/>
                    </a:lnTo>
                    <a:lnTo>
                      <a:pt x="15732" y="110"/>
                    </a:lnTo>
                    <a:lnTo>
                      <a:pt x="15641" y="211"/>
                    </a:lnTo>
                    <a:lnTo>
                      <a:pt x="15568" y="293"/>
                    </a:lnTo>
                    <a:lnTo>
                      <a:pt x="15422" y="330"/>
                    </a:lnTo>
                    <a:lnTo>
                      <a:pt x="15248" y="339"/>
                    </a:lnTo>
                    <a:lnTo>
                      <a:pt x="15156" y="293"/>
                    </a:lnTo>
                    <a:lnTo>
                      <a:pt x="15010" y="302"/>
                    </a:lnTo>
                    <a:lnTo>
                      <a:pt x="14928" y="211"/>
                    </a:lnTo>
                    <a:lnTo>
                      <a:pt x="14846" y="119"/>
                    </a:lnTo>
                    <a:lnTo>
                      <a:pt x="14672" y="119"/>
                    </a:lnTo>
                    <a:lnTo>
                      <a:pt x="14590" y="46"/>
                    </a:lnTo>
                    <a:lnTo>
                      <a:pt x="14425" y="10"/>
                    </a:lnTo>
                    <a:lnTo>
                      <a:pt x="14206" y="0"/>
                    </a:lnTo>
                    <a:lnTo>
                      <a:pt x="14096" y="64"/>
                    </a:lnTo>
                    <a:lnTo>
                      <a:pt x="14004" y="156"/>
                    </a:lnTo>
                    <a:lnTo>
                      <a:pt x="13913" y="238"/>
                    </a:lnTo>
                    <a:lnTo>
                      <a:pt x="13803" y="284"/>
                    </a:lnTo>
                    <a:lnTo>
                      <a:pt x="13648" y="357"/>
                    </a:lnTo>
                    <a:lnTo>
                      <a:pt x="13547" y="403"/>
                    </a:lnTo>
                    <a:lnTo>
                      <a:pt x="13447" y="476"/>
                    </a:lnTo>
                    <a:lnTo>
                      <a:pt x="13328" y="522"/>
                    </a:lnTo>
                    <a:lnTo>
                      <a:pt x="13227" y="595"/>
                    </a:lnTo>
                    <a:lnTo>
                      <a:pt x="13118" y="595"/>
                    </a:lnTo>
                    <a:lnTo>
                      <a:pt x="12990" y="677"/>
                    </a:lnTo>
                    <a:lnTo>
                      <a:pt x="12880" y="677"/>
                    </a:lnTo>
                    <a:lnTo>
                      <a:pt x="12770" y="613"/>
                    </a:lnTo>
                    <a:lnTo>
                      <a:pt x="12679" y="558"/>
                    </a:lnTo>
                    <a:lnTo>
                      <a:pt x="12560" y="576"/>
                    </a:lnTo>
                    <a:lnTo>
                      <a:pt x="12487" y="640"/>
                    </a:lnTo>
                    <a:lnTo>
                      <a:pt x="12453" y="701"/>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10" name="Freeform 8">
                <a:extLst>
                  <a:ext uri="{FF2B5EF4-FFF2-40B4-BE49-F238E27FC236}">
                    <a16:creationId xmlns:a16="http://schemas.microsoft.com/office/drawing/2014/main" id="{7A5B0134-431F-5B45-E716-EF8657CFF4AF}"/>
                  </a:ext>
                </a:extLst>
              </p:cNvPr>
              <p:cNvSpPr>
                <a:spLocks noChangeAspect="1"/>
              </p:cNvSpPr>
              <p:nvPr/>
            </p:nvSpPr>
            <p:spPr bwMode="auto">
              <a:xfrm>
                <a:off x="2271" y="15480"/>
                <a:ext cx="3041" cy="2403"/>
              </a:xfrm>
              <a:custGeom>
                <a:avLst/>
                <a:gdLst>
                  <a:gd name="T0" fmla="*/ 1101 w 3041"/>
                  <a:gd name="T1" fmla="*/ 588 h 2403"/>
                  <a:gd name="T2" fmla="*/ 813 w 3041"/>
                  <a:gd name="T3" fmla="*/ 708 h 2403"/>
                  <a:gd name="T4" fmla="*/ 657 w 3041"/>
                  <a:gd name="T5" fmla="*/ 972 h 2403"/>
                  <a:gd name="T6" fmla="*/ 441 w 3041"/>
                  <a:gd name="T7" fmla="*/ 1044 h 2403"/>
                  <a:gd name="T8" fmla="*/ 213 w 3041"/>
                  <a:gd name="T9" fmla="*/ 1164 h 2403"/>
                  <a:gd name="T10" fmla="*/ 30 w 3041"/>
                  <a:gd name="T11" fmla="*/ 1251 h 2403"/>
                  <a:gd name="T12" fmla="*/ 57 w 3041"/>
                  <a:gd name="T13" fmla="*/ 1599 h 2403"/>
                  <a:gd name="T14" fmla="*/ 345 w 3041"/>
                  <a:gd name="T15" fmla="*/ 1776 h 2403"/>
                  <a:gd name="T16" fmla="*/ 536 w 3041"/>
                  <a:gd name="T17" fmla="*/ 1800 h 2403"/>
                  <a:gd name="T18" fmla="*/ 682 w 3041"/>
                  <a:gd name="T19" fmla="*/ 1827 h 2403"/>
                  <a:gd name="T20" fmla="*/ 783 w 3041"/>
                  <a:gd name="T21" fmla="*/ 1736 h 2403"/>
                  <a:gd name="T22" fmla="*/ 792 w 3041"/>
                  <a:gd name="T23" fmla="*/ 1608 h 2403"/>
                  <a:gd name="T24" fmla="*/ 984 w 3041"/>
                  <a:gd name="T25" fmla="*/ 1507 h 2403"/>
                  <a:gd name="T26" fmla="*/ 1240 w 3041"/>
                  <a:gd name="T27" fmla="*/ 1462 h 2403"/>
                  <a:gd name="T28" fmla="*/ 1432 w 3041"/>
                  <a:gd name="T29" fmla="*/ 1608 h 2403"/>
                  <a:gd name="T30" fmla="*/ 1542 w 3041"/>
                  <a:gd name="T31" fmla="*/ 1782 h 2403"/>
                  <a:gd name="T32" fmla="*/ 1624 w 3041"/>
                  <a:gd name="T33" fmla="*/ 1974 h 2403"/>
                  <a:gd name="T34" fmla="*/ 1670 w 3041"/>
                  <a:gd name="T35" fmla="*/ 2175 h 2403"/>
                  <a:gd name="T36" fmla="*/ 1624 w 3041"/>
                  <a:gd name="T37" fmla="*/ 2394 h 2403"/>
                  <a:gd name="T38" fmla="*/ 1779 w 3041"/>
                  <a:gd name="T39" fmla="*/ 2321 h 2403"/>
                  <a:gd name="T40" fmla="*/ 1971 w 3041"/>
                  <a:gd name="T41" fmla="*/ 2275 h 2403"/>
                  <a:gd name="T42" fmla="*/ 2163 w 3041"/>
                  <a:gd name="T43" fmla="*/ 2248 h 2403"/>
                  <a:gd name="T44" fmla="*/ 2236 w 3041"/>
                  <a:gd name="T45" fmla="*/ 2083 h 2403"/>
                  <a:gd name="T46" fmla="*/ 2127 w 3041"/>
                  <a:gd name="T47" fmla="*/ 1946 h 2403"/>
                  <a:gd name="T48" fmla="*/ 2200 w 3041"/>
                  <a:gd name="T49" fmla="*/ 1818 h 2403"/>
                  <a:gd name="T50" fmla="*/ 2346 w 3041"/>
                  <a:gd name="T51" fmla="*/ 1626 h 2403"/>
                  <a:gd name="T52" fmla="*/ 2264 w 3041"/>
                  <a:gd name="T53" fmla="*/ 1498 h 2403"/>
                  <a:gd name="T54" fmla="*/ 2410 w 3041"/>
                  <a:gd name="T55" fmla="*/ 1370 h 2403"/>
                  <a:gd name="T56" fmla="*/ 2502 w 3041"/>
                  <a:gd name="T57" fmla="*/ 1224 h 2403"/>
                  <a:gd name="T58" fmla="*/ 2666 w 3041"/>
                  <a:gd name="T59" fmla="*/ 1187 h 2403"/>
                  <a:gd name="T60" fmla="*/ 2739 w 3041"/>
                  <a:gd name="T61" fmla="*/ 1050 h 2403"/>
                  <a:gd name="T62" fmla="*/ 2895 w 3041"/>
                  <a:gd name="T63" fmla="*/ 1005 h 2403"/>
                  <a:gd name="T64" fmla="*/ 2876 w 3041"/>
                  <a:gd name="T65" fmla="*/ 867 h 2403"/>
                  <a:gd name="T66" fmla="*/ 2922 w 3041"/>
                  <a:gd name="T67" fmla="*/ 611 h 2403"/>
                  <a:gd name="T68" fmla="*/ 2940 w 3041"/>
                  <a:gd name="T69" fmla="*/ 301 h 2403"/>
                  <a:gd name="T70" fmla="*/ 3032 w 3041"/>
                  <a:gd name="T71" fmla="*/ 81 h 2403"/>
                  <a:gd name="T72" fmla="*/ 2793 w 3041"/>
                  <a:gd name="T73" fmla="*/ 60 h 2403"/>
                  <a:gd name="T74" fmla="*/ 2433 w 3041"/>
                  <a:gd name="T75" fmla="*/ 96 h 2403"/>
                  <a:gd name="T76" fmla="*/ 2181 w 3041"/>
                  <a:gd name="T77" fmla="*/ 264 h 2403"/>
                  <a:gd name="T78" fmla="*/ 1725 w 3041"/>
                  <a:gd name="T79" fmla="*/ 300 h 2403"/>
                  <a:gd name="T80" fmla="*/ 1425 w 3041"/>
                  <a:gd name="T81" fmla="*/ 468 h 2403"/>
                  <a:gd name="T82" fmla="*/ 1197 w 3041"/>
                  <a:gd name="T83" fmla="*/ 540 h 240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41"/>
                  <a:gd name="T127" fmla="*/ 0 h 2403"/>
                  <a:gd name="T128" fmla="*/ 3041 w 3041"/>
                  <a:gd name="T129" fmla="*/ 2403 h 240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41" h="2403">
                    <a:moveTo>
                      <a:pt x="1197" y="540"/>
                    </a:moveTo>
                    <a:lnTo>
                      <a:pt x="1101" y="588"/>
                    </a:lnTo>
                    <a:lnTo>
                      <a:pt x="945" y="636"/>
                    </a:lnTo>
                    <a:lnTo>
                      <a:pt x="813" y="708"/>
                    </a:lnTo>
                    <a:lnTo>
                      <a:pt x="741" y="864"/>
                    </a:lnTo>
                    <a:lnTo>
                      <a:pt x="657" y="972"/>
                    </a:lnTo>
                    <a:lnTo>
                      <a:pt x="525" y="972"/>
                    </a:lnTo>
                    <a:lnTo>
                      <a:pt x="441" y="1044"/>
                    </a:lnTo>
                    <a:lnTo>
                      <a:pt x="345" y="1104"/>
                    </a:lnTo>
                    <a:lnTo>
                      <a:pt x="213" y="1164"/>
                    </a:lnTo>
                    <a:lnTo>
                      <a:pt x="129" y="1212"/>
                    </a:lnTo>
                    <a:lnTo>
                      <a:pt x="30" y="1251"/>
                    </a:lnTo>
                    <a:lnTo>
                      <a:pt x="0" y="1428"/>
                    </a:lnTo>
                    <a:lnTo>
                      <a:pt x="57" y="1599"/>
                    </a:lnTo>
                    <a:lnTo>
                      <a:pt x="141" y="1743"/>
                    </a:lnTo>
                    <a:lnTo>
                      <a:pt x="345" y="1776"/>
                    </a:lnTo>
                    <a:lnTo>
                      <a:pt x="472" y="1718"/>
                    </a:lnTo>
                    <a:lnTo>
                      <a:pt x="536" y="1800"/>
                    </a:lnTo>
                    <a:lnTo>
                      <a:pt x="591" y="1837"/>
                    </a:lnTo>
                    <a:lnTo>
                      <a:pt x="682" y="1827"/>
                    </a:lnTo>
                    <a:lnTo>
                      <a:pt x="783" y="1818"/>
                    </a:lnTo>
                    <a:lnTo>
                      <a:pt x="783" y="1736"/>
                    </a:lnTo>
                    <a:lnTo>
                      <a:pt x="856" y="1681"/>
                    </a:lnTo>
                    <a:lnTo>
                      <a:pt x="792" y="1608"/>
                    </a:lnTo>
                    <a:lnTo>
                      <a:pt x="920" y="1562"/>
                    </a:lnTo>
                    <a:lnTo>
                      <a:pt x="984" y="1507"/>
                    </a:lnTo>
                    <a:lnTo>
                      <a:pt x="1121" y="1443"/>
                    </a:lnTo>
                    <a:lnTo>
                      <a:pt x="1240" y="1462"/>
                    </a:lnTo>
                    <a:lnTo>
                      <a:pt x="1340" y="1507"/>
                    </a:lnTo>
                    <a:lnTo>
                      <a:pt x="1432" y="1608"/>
                    </a:lnTo>
                    <a:lnTo>
                      <a:pt x="1496" y="1672"/>
                    </a:lnTo>
                    <a:lnTo>
                      <a:pt x="1542" y="1782"/>
                    </a:lnTo>
                    <a:lnTo>
                      <a:pt x="1569" y="1873"/>
                    </a:lnTo>
                    <a:lnTo>
                      <a:pt x="1624" y="1974"/>
                    </a:lnTo>
                    <a:lnTo>
                      <a:pt x="1633" y="2083"/>
                    </a:lnTo>
                    <a:lnTo>
                      <a:pt x="1670" y="2175"/>
                    </a:lnTo>
                    <a:lnTo>
                      <a:pt x="1587" y="2312"/>
                    </a:lnTo>
                    <a:lnTo>
                      <a:pt x="1624" y="2394"/>
                    </a:lnTo>
                    <a:lnTo>
                      <a:pt x="1697" y="2403"/>
                    </a:lnTo>
                    <a:lnTo>
                      <a:pt x="1779" y="2321"/>
                    </a:lnTo>
                    <a:lnTo>
                      <a:pt x="1862" y="2349"/>
                    </a:lnTo>
                    <a:lnTo>
                      <a:pt x="1971" y="2275"/>
                    </a:lnTo>
                    <a:lnTo>
                      <a:pt x="2054" y="2239"/>
                    </a:lnTo>
                    <a:lnTo>
                      <a:pt x="2163" y="2248"/>
                    </a:lnTo>
                    <a:lnTo>
                      <a:pt x="2154" y="2120"/>
                    </a:lnTo>
                    <a:lnTo>
                      <a:pt x="2236" y="2083"/>
                    </a:lnTo>
                    <a:lnTo>
                      <a:pt x="2191" y="1992"/>
                    </a:lnTo>
                    <a:lnTo>
                      <a:pt x="2127" y="1946"/>
                    </a:lnTo>
                    <a:lnTo>
                      <a:pt x="2090" y="1864"/>
                    </a:lnTo>
                    <a:lnTo>
                      <a:pt x="2200" y="1818"/>
                    </a:lnTo>
                    <a:lnTo>
                      <a:pt x="2246" y="1709"/>
                    </a:lnTo>
                    <a:lnTo>
                      <a:pt x="2346" y="1626"/>
                    </a:lnTo>
                    <a:lnTo>
                      <a:pt x="2300" y="1571"/>
                    </a:lnTo>
                    <a:lnTo>
                      <a:pt x="2264" y="1498"/>
                    </a:lnTo>
                    <a:lnTo>
                      <a:pt x="2328" y="1352"/>
                    </a:lnTo>
                    <a:lnTo>
                      <a:pt x="2410" y="1370"/>
                    </a:lnTo>
                    <a:lnTo>
                      <a:pt x="2474" y="1315"/>
                    </a:lnTo>
                    <a:lnTo>
                      <a:pt x="2502" y="1224"/>
                    </a:lnTo>
                    <a:lnTo>
                      <a:pt x="2584" y="1197"/>
                    </a:lnTo>
                    <a:lnTo>
                      <a:pt x="2666" y="1187"/>
                    </a:lnTo>
                    <a:lnTo>
                      <a:pt x="2748" y="1169"/>
                    </a:lnTo>
                    <a:lnTo>
                      <a:pt x="2739" y="1050"/>
                    </a:lnTo>
                    <a:lnTo>
                      <a:pt x="2794" y="995"/>
                    </a:lnTo>
                    <a:lnTo>
                      <a:pt x="2895" y="1005"/>
                    </a:lnTo>
                    <a:lnTo>
                      <a:pt x="2931" y="922"/>
                    </a:lnTo>
                    <a:lnTo>
                      <a:pt x="2876" y="867"/>
                    </a:lnTo>
                    <a:lnTo>
                      <a:pt x="2831" y="712"/>
                    </a:lnTo>
                    <a:lnTo>
                      <a:pt x="2922" y="611"/>
                    </a:lnTo>
                    <a:lnTo>
                      <a:pt x="2931" y="465"/>
                    </a:lnTo>
                    <a:lnTo>
                      <a:pt x="2940" y="301"/>
                    </a:lnTo>
                    <a:lnTo>
                      <a:pt x="3041" y="246"/>
                    </a:lnTo>
                    <a:lnTo>
                      <a:pt x="3032" y="81"/>
                    </a:lnTo>
                    <a:lnTo>
                      <a:pt x="2949" y="84"/>
                    </a:lnTo>
                    <a:lnTo>
                      <a:pt x="2793" y="60"/>
                    </a:lnTo>
                    <a:lnTo>
                      <a:pt x="2613" y="0"/>
                    </a:lnTo>
                    <a:lnTo>
                      <a:pt x="2433" y="96"/>
                    </a:lnTo>
                    <a:lnTo>
                      <a:pt x="2313" y="180"/>
                    </a:lnTo>
                    <a:lnTo>
                      <a:pt x="2181" y="264"/>
                    </a:lnTo>
                    <a:lnTo>
                      <a:pt x="1965" y="276"/>
                    </a:lnTo>
                    <a:lnTo>
                      <a:pt x="1725" y="300"/>
                    </a:lnTo>
                    <a:lnTo>
                      <a:pt x="1581" y="396"/>
                    </a:lnTo>
                    <a:lnTo>
                      <a:pt x="1425" y="468"/>
                    </a:lnTo>
                    <a:lnTo>
                      <a:pt x="1317" y="540"/>
                    </a:lnTo>
                    <a:lnTo>
                      <a:pt x="1197" y="54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11" name="Freeform 9">
                <a:extLst>
                  <a:ext uri="{FF2B5EF4-FFF2-40B4-BE49-F238E27FC236}">
                    <a16:creationId xmlns:a16="http://schemas.microsoft.com/office/drawing/2014/main" id="{375F658B-06E7-839D-2E2B-1951B58F703E}"/>
                  </a:ext>
                </a:extLst>
              </p:cNvPr>
              <p:cNvSpPr>
                <a:spLocks noChangeAspect="1"/>
              </p:cNvSpPr>
              <p:nvPr/>
            </p:nvSpPr>
            <p:spPr bwMode="auto">
              <a:xfrm>
                <a:off x="12462" y="8155"/>
                <a:ext cx="1051" cy="1271"/>
              </a:xfrm>
              <a:custGeom>
                <a:avLst/>
                <a:gdLst>
                  <a:gd name="T0" fmla="*/ 905 w 1051"/>
                  <a:gd name="T1" fmla="*/ 0 h 1271"/>
                  <a:gd name="T2" fmla="*/ 685 w 1051"/>
                  <a:gd name="T3" fmla="*/ 192 h 1271"/>
                  <a:gd name="T4" fmla="*/ 548 w 1051"/>
                  <a:gd name="T5" fmla="*/ 339 h 1271"/>
                  <a:gd name="T6" fmla="*/ 466 w 1051"/>
                  <a:gd name="T7" fmla="*/ 458 h 1271"/>
                  <a:gd name="T8" fmla="*/ 375 w 1051"/>
                  <a:gd name="T9" fmla="*/ 613 h 1271"/>
                  <a:gd name="T10" fmla="*/ 247 w 1051"/>
                  <a:gd name="T11" fmla="*/ 640 h 1271"/>
                  <a:gd name="T12" fmla="*/ 164 w 1051"/>
                  <a:gd name="T13" fmla="*/ 704 h 1271"/>
                  <a:gd name="T14" fmla="*/ 155 w 1051"/>
                  <a:gd name="T15" fmla="*/ 787 h 1271"/>
                  <a:gd name="T16" fmla="*/ 0 w 1051"/>
                  <a:gd name="T17" fmla="*/ 979 h 1271"/>
                  <a:gd name="T18" fmla="*/ 109 w 1051"/>
                  <a:gd name="T19" fmla="*/ 1088 h 1271"/>
                  <a:gd name="T20" fmla="*/ 247 w 1051"/>
                  <a:gd name="T21" fmla="*/ 1189 h 1271"/>
                  <a:gd name="T22" fmla="*/ 393 w 1051"/>
                  <a:gd name="T23" fmla="*/ 1226 h 1271"/>
                  <a:gd name="T24" fmla="*/ 539 w 1051"/>
                  <a:gd name="T25" fmla="*/ 1262 h 1271"/>
                  <a:gd name="T26" fmla="*/ 631 w 1051"/>
                  <a:gd name="T27" fmla="*/ 1271 h 1271"/>
                  <a:gd name="T28" fmla="*/ 685 w 1051"/>
                  <a:gd name="T29" fmla="*/ 1189 h 1271"/>
                  <a:gd name="T30" fmla="*/ 759 w 1051"/>
                  <a:gd name="T31" fmla="*/ 1079 h 1271"/>
                  <a:gd name="T32" fmla="*/ 804 w 1051"/>
                  <a:gd name="T33" fmla="*/ 970 h 1271"/>
                  <a:gd name="T34" fmla="*/ 795 w 1051"/>
                  <a:gd name="T35" fmla="*/ 787 h 1271"/>
                  <a:gd name="T36" fmla="*/ 777 w 1051"/>
                  <a:gd name="T37" fmla="*/ 677 h 1271"/>
                  <a:gd name="T38" fmla="*/ 841 w 1051"/>
                  <a:gd name="T39" fmla="*/ 558 h 1271"/>
                  <a:gd name="T40" fmla="*/ 1015 w 1051"/>
                  <a:gd name="T41" fmla="*/ 375 h 1271"/>
                  <a:gd name="T42" fmla="*/ 1051 w 1051"/>
                  <a:gd name="T43" fmla="*/ 229 h 1271"/>
                  <a:gd name="T44" fmla="*/ 987 w 1051"/>
                  <a:gd name="T45" fmla="*/ 74 h 1271"/>
                  <a:gd name="T46" fmla="*/ 905 w 1051"/>
                  <a:gd name="T47" fmla="*/ 0 h 12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51"/>
                  <a:gd name="T73" fmla="*/ 0 h 1271"/>
                  <a:gd name="T74" fmla="*/ 1051 w 1051"/>
                  <a:gd name="T75" fmla="*/ 1271 h 12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51" h="1271">
                    <a:moveTo>
                      <a:pt x="905" y="0"/>
                    </a:moveTo>
                    <a:lnTo>
                      <a:pt x="685" y="192"/>
                    </a:lnTo>
                    <a:lnTo>
                      <a:pt x="548" y="339"/>
                    </a:lnTo>
                    <a:lnTo>
                      <a:pt x="466" y="458"/>
                    </a:lnTo>
                    <a:lnTo>
                      <a:pt x="375" y="613"/>
                    </a:lnTo>
                    <a:lnTo>
                      <a:pt x="247" y="640"/>
                    </a:lnTo>
                    <a:lnTo>
                      <a:pt x="164" y="704"/>
                    </a:lnTo>
                    <a:lnTo>
                      <a:pt x="155" y="787"/>
                    </a:lnTo>
                    <a:lnTo>
                      <a:pt x="0" y="979"/>
                    </a:lnTo>
                    <a:lnTo>
                      <a:pt x="109" y="1088"/>
                    </a:lnTo>
                    <a:lnTo>
                      <a:pt x="247" y="1189"/>
                    </a:lnTo>
                    <a:lnTo>
                      <a:pt x="393" y="1226"/>
                    </a:lnTo>
                    <a:lnTo>
                      <a:pt x="539" y="1262"/>
                    </a:lnTo>
                    <a:lnTo>
                      <a:pt x="631" y="1271"/>
                    </a:lnTo>
                    <a:lnTo>
                      <a:pt x="685" y="1189"/>
                    </a:lnTo>
                    <a:lnTo>
                      <a:pt x="759" y="1079"/>
                    </a:lnTo>
                    <a:lnTo>
                      <a:pt x="804" y="970"/>
                    </a:lnTo>
                    <a:lnTo>
                      <a:pt x="795" y="787"/>
                    </a:lnTo>
                    <a:lnTo>
                      <a:pt x="777" y="677"/>
                    </a:lnTo>
                    <a:lnTo>
                      <a:pt x="841" y="558"/>
                    </a:lnTo>
                    <a:lnTo>
                      <a:pt x="1015" y="375"/>
                    </a:lnTo>
                    <a:lnTo>
                      <a:pt x="1051" y="229"/>
                    </a:lnTo>
                    <a:lnTo>
                      <a:pt x="987" y="74"/>
                    </a:lnTo>
                    <a:lnTo>
                      <a:pt x="905"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10" name="Freeform 65">
              <a:extLst>
                <a:ext uri="{FF2B5EF4-FFF2-40B4-BE49-F238E27FC236}">
                  <a16:creationId xmlns:a16="http://schemas.microsoft.com/office/drawing/2014/main" id="{270C1288-A065-5FC2-DE61-768B313A2F1A}"/>
                </a:ext>
              </a:extLst>
            </p:cNvPr>
            <p:cNvSpPr>
              <a:spLocks noChangeAspect="1"/>
            </p:cNvSpPr>
            <p:nvPr/>
          </p:nvSpPr>
          <p:spPr bwMode="auto">
            <a:xfrm>
              <a:off x="7641945" y="4357597"/>
              <a:ext cx="38097" cy="39180"/>
            </a:xfrm>
            <a:custGeom>
              <a:avLst/>
              <a:gdLst>
                <a:gd name="T0" fmla="*/ 2147483647 w 214"/>
                <a:gd name="T1" fmla="*/ 2147483647 h 209"/>
                <a:gd name="T2" fmla="*/ 2147483647 w 214"/>
                <a:gd name="T3" fmla="*/ 2147483647 h 209"/>
                <a:gd name="T4" fmla="*/ 0 w 214"/>
                <a:gd name="T5" fmla="*/ 2147483647 h 209"/>
                <a:gd name="T6" fmla="*/ 2147483647 w 214"/>
                <a:gd name="T7" fmla="*/ 2147483647 h 209"/>
                <a:gd name="T8" fmla="*/ 2147483647 w 214"/>
                <a:gd name="T9" fmla="*/ 2147483647 h 209"/>
                <a:gd name="T10" fmla="*/ 2147483647 w 214"/>
                <a:gd name="T11" fmla="*/ 2147483647 h 209"/>
                <a:gd name="T12" fmla="*/ 2147483647 w 214"/>
                <a:gd name="T13" fmla="*/ 2147483647 h 209"/>
                <a:gd name="T14" fmla="*/ 2147483647 w 214"/>
                <a:gd name="T15" fmla="*/ 0 h 209"/>
                <a:gd name="T16" fmla="*/ 2147483647 w 214"/>
                <a:gd name="T17" fmla="*/ 2147483647 h 209"/>
                <a:gd name="T18" fmla="*/ 2147483647 w 214"/>
                <a:gd name="T19" fmla="*/ 2147483647 h 209"/>
                <a:gd name="T20" fmla="*/ 2147483647 w 214"/>
                <a:gd name="T21" fmla="*/ 2147483647 h 209"/>
                <a:gd name="T22" fmla="*/ 2147483647 w 214"/>
                <a:gd name="T23" fmla="*/ 2147483647 h 209"/>
                <a:gd name="T24" fmla="*/ 2147483647 w 214"/>
                <a:gd name="T25" fmla="*/ 2147483647 h 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09"/>
                <a:gd name="T41" fmla="*/ 197 w 214"/>
                <a:gd name="T42" fmla="*/ 227 h 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09">
                  <a:moveTo>
                    <a:pt x="107" y="209"/>
                  </a:moveTo>
                  <a:lnTo>
                    <a:pt x="36" y="207"/>
                  </a:lnTo>
                  <a:lnTo>
                    <a:pt x="0" y="149"/>
                  </a:lnTo>
                  <a:lnTo>
                    <a:pt x="6" y="85"/>
                  </a:lnTo>
                  <a:lnTo>
                    <a:pt x="32" y="68"/>
                  </a:lnTo>
                  <a:lnTo>
                    <a:pt x="42" y="75"/>
                  </a:lnTo>
                  <a:lnTo>
                    <a:pt x="57" y="78"/>
                  </a:lnTo>
                  <a:lnTo>
                    <a:pt x="67" y="71"/>
                  </a:lnTo>
                  <a:lnTo>
                    <a:pt x="78" y="78"/>
                  </a:lnTo>
                  <a:lnTo>
                    <a:pt x="78" y="92"/>
                  </a:lnTo>
                  <a:lnTo>
                    <a:pt x="93" y="84"/>
                  </a:lnTo>
                  <a:lnTo>
                    <a:pt x="91" y="71"/>
                  </a:lnTo>
                  <a:lnTo>
                    <a:pt x="102" y="62"/>
                  </a:lnTo>
                  <a:lnTo>
                    <a:pt x="108" y="47"/>
                  </a:lnTo>
                  <a:lnTo>
                    <a:pt x="137" y="44"/>
                  </a:lnTo>
                  <a:lnTo>
                    <a:pt x="154" y="29"/>
                  </a:lnTo>
                  <a:lnTo>
                    <a:pt x="160" y="15"/>
                  </a:lnTo>
                  <a:lnTo>
                    <a:pt x="174" y="2"/>
                  </a:lnTo>
                  <a:lnTo>
                    <a:pt x="186" y="0"/>
                  </a:lnTo>
                  <a:lnTo>
                    <a:pt x="180" y="9"/>
                  </a:lnTo>
                  <a:lnTo>
                    <a:pt x="181" y="23"/>
                  </a:lnTo>
                  <a:lnTo>
                    <a:pt x="190" y="21"/>
                  </a:lnTo>
                  <a:lnTo>
                    <a:pt x="202" y="12"/>
                  </a:lnTo>
                  <a:lnTo>
                    <a:pt x="214" y="17"/>
                  </a:lnTo>
                  <a:lnTo>
                    <a:pt x="214" y="27"/>
                  </a:lnTo>
                  <a:lnTo>
                    <a:pt x="213" y="42"/>
                  </a:lnTo>
                  <a:lnTo>
                    <a:pt x="202" y="41"/>
                  </a:lnTo>
                  <a:lnTo>
                    <a:pt x="193" y="36"/>
                  </a:lnTo>
                  <a:lnTo>
                    <a:pt x="184" y="48"/>
                  </a:lnTo>
                  <a:lnTo>
                    <a:pt x="193" y="62"/>
                  </a:lnTo>
                  <a:lnTo>
                    <a:pt x="198" y="71"/>
                  </a:lnTo>
                  <a:lnTo>
                    <a:pt x="196" y="84"/>
                  </a:lnTo>
                  <a:lnTo>
                    <a:pt x="181" y="114"/>
                  </a:lnTo>
                  <a:lnTo>
                    <a:pt x="168" y="143"/>
                  </a:lnTo>
                  <a:lnTo>
                    <a:pt x="137" y="166"/>
                  </a:lnTo>
                  <a:lnTo>
                    <a:pt x="107" y="209"/>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 name="Freeform 4">
              <a:extLst>
                <a:ext uri="{FF2B5EF4-FFF2-40B4-BE49-F238E27FC236}">
                  <a16:creationId xmlns:a16="http://schemas.microsoft.com/office/drawing/2014/main" id="{1B171589-6F0C-89AD-C1DD-82DDE0B0B918}"/>
                </a:ext>
              </a:extLst>
            </p:cNvPr>
            <p:cNvSpPr>
              <a:spLocks/>
            </p:cNvSpPr>
            <p:nvPr/>
          </p:nvSpPr>
          <p:spPr bwMode="auto">
            <a:xfrm>
              <a:off x="6366811" y="2456164"/>
              <a:ext cx="1568706" cy="1124726"/>
            </a:xfrm>
            <a:custGeom>
              <a:avLst/>
              <a:gdLst>
                <a:gd name="T0" fmla="*/ 2147483647 w 3501"/>
                <a:gd name="T1" fmla="*/ 2147483647 h 2441"/>
                <a:gd name="T2" fmla="*/ 2147483647 w 3501"/>
                <a:gd name="T3" fmla="*/ 2147483647 h 2441"/>
                <a:gd name="T4" fmla="*/ 2147483647 w 3501"/>
                <a:gd name="T5" fmla="*/ 2147483647 h 2441"/>
                <a:gd name="T6" fmla="*/ 2147483647 w 3501"/>
                <a:gd name="T7" fmla="*/ 2147483647 h 2441"/>
                <a:gd name="T8" fmla="*/ 2147483647 w 3501"/>
                <a:gd name="T9" fmla="*/ 2147483647 h 2441"/>
                <a:gd name="T10" fmla="*/ 2147483647 w 3501"/>
                <a:gd name="T11" fmla="*/ 2147483647 h 2441"/>
                <a:gd name="T12" fmla="*/ 2147483647 w 3501"/>
                <a:gd name="T13" fmla="*/ 2147483647 h 2441"/>
                <a:gd name="T14" fmla="*/ 2147483647 w 3501"/>
                <a:gd name="T15" fmla="*/ 2147483647 h 2441"/>
                <a:gd name="T16" fmla="*/ 2147483647 w 3501"/>
                <a:gd name="T17" fmla="*/ 2147483647 h 2441"/>
                <a:gd name="T18" fmla="*/ 2147483647 w 3501"/>
                <a:gd name="T19" fmla="*/ 2147483647 h 2441"/>
                <a:gd name="T20" fmla="*/ 2147483647 w 3501"/>
                <a:gd name="T21" fmla="*/ 2147483647 h 2441"/>
                <a:gd name="T22" fmla="*/ 2147483647 w 3501"/>
                <a:gd name="T23" fmla="*/ 2147483647 h 2441"/>
                <a:gd name="T24" fmla="*/ 2147483647 w 3501"/>
                <a:gd name="T25" fmla="*/ 2147483647 h 2441"/>
                <a:gd name="T26" fmla="*/ 2147483647 w 3501"/>
                <a:gd name="T27" fmla="*/ 2147483647 h 2441"/>
                <a:gd name="T28" fmla="*/ 2147483647 w 3501"/>
                <a:gd name="T29" fmla="*/ 2147483647 h 2441"/>
                <a:gd name="T30" fmla="*/ 2147483647 w 3501"/>
                <a:gd name="T31" fmla="*/ 2147483647 h 2441"/>
                <a:gd name="T32" fmla="*/ 2147483647 w 3501"/>
                <a:gd name="T33" fmla="*/ 2147483647 h 2441"/>
                <a:gd name="T34" fmla="*/ 2147483647 w 3501"/>
                <a:gd name="T35" fmla="*/ 2147483647 h 2441"/>
                <a:gd name="T36" fmla="*/ 2147483647 w 3501"/>
                <a:gd name="T37" fmla="*/ 2147483647 h 2441"/>
                <a:gd name="T38" fmla="*/ 2147483647 w 3501"/>
                <a:gd name="T39" fmla="*/ 2147483647 h 2441"/>
                <a:gd name="T40" fmla="*/ 2147483647 w 3501"/>
                <a:gd name="T41" fmla="*/ 2147483647 h 2441"/>
                <a:gd name="T42" fmla="*/ 2147483647 w 3501"/>
                <a:gd name="T43" fmla="*/ 2147483647 h 2441"/>
                <a:gd name="T44" fmla="*/ 2147483647 w 3501"/>
                <a:gd name="T45" fmla="*/ 2147483647 h 2441"/>
                <a:gd name="T46" fmla="*/ 2147483647 w 3501"/>
                <a:gd name="T47" fmla="*/ 2147483647 h 2441"/>
                <a:gd name="T48" fmla="*/ 2147483647 w 3501"/>
                <a:gd name="T49" fmla="*/ 2147483647 h 2441"/>
                <a:gd name="T50" fmla="*/ 2147483647 w 3501"/>
                <a:gd name="T51" fmla="*/ 2147483647 h 2441"/>
                <a:gd name="T52" fmla="*/ 2147483647 w 3501"/>
                <a:gd name="T53" fmla="*/ 2147483647 h 2441"/>
                <a:gd name="T54" fmla="*/ 2147483647 w 3501"/>
                <a:gd name="T55" fmla="*/ 2147483647 h 2441"/>
                <a:gd name="T56" fmla="*/ 2147483647 w 3501"/>
                <a:gd name="T57" fmla="*/ 2147483647 h 2441"/>
                <a:gd name="T58" fmla="*/ 2147483647 w 3501"/>
                <a:gd name="T59" fmla="*/ 2147483647 h 2441"/>
                <a:gd name="T60" fmla="*/ 2147483647 w 3501"/>
                <a:gd name="T61" fmla="*/ 2147483647 h 2441"/>
                <a:gd name="T62" fmla="*/ 2147483647 w 3501"/>
                <a:gd name="T63" fmla="*/ 2147483647 h 2441"/>
                <a:gd name="T64" fmla="*/ 2147483647 w 3501"/>
                <a:gd name="T65" fmla="*/ 2147483647 h 2441"/>
                <a:gd name="T66" fmla="*/ 2147483647 w 3501"/>
                <a:gd name="T67" fmla="*/ 2147483647 h 2441"/>
                <a:gd name="T68" fmla="*/ 2147483647 w 3501"/>
                <a:gd name="T69" fmla="*/ 2147483647 h 2441"/>
                <a:gd name="T70" fmla="*/ 2147483647 w 3501"/>
                <a:gd name="T71" fmla="*/ 2147483647 h 2441"/>
                <a:gd name="T72" fmla="*/ 2147483647 w 3501"/>
                <a:gd name="T73" fmla="*/ 2147483647 h 2441"/>
                <a:gd name="T74" fmla="*/ 2147483647 w 3501"/>
                <a:gd name="T75" fmla="*/ 2147483647 h 2441"/>
                <a:gd name="T76" fmla="*/ 2147483647 w 3501"/>
                <a:gd name="T77" fmla="*/ 2147483647 h 2441"/>
                <a:gd name="T78" fmla="*/ 2147483647 w 3501"/>
                <a:gd name="T79" fmla="*/ 2147483647 h 2441"/>
                <a:gd name="T80" fmla="*/ 2147483647 w 3501"/>
                <a:gd name="T81" fmla="*/ 2147483647 h 2441"/>
                <a:gd name="T82" fmla="*/ 2147483647 w 3501"/>
                <a:gd name="T83" fmla="*/ 2147483647 h 2441"/>
                <a:gd name="T84" fmla="*/ 2147483647 w 3501"/>
                <a:gd name="T85" fmla="*/ 2147483647 h 2441"/>
                <a:gd name="T86" fmla="*/ 2147483647 w 3501"/>
                <a:gd name="T87" fmla="*/ 2147483647 h 2441"/>
                <a:gd name="T88" fmla="*/ 2147483647 w 3501"/>
                <a:gd name="T89" fmla="*/ 2147483647 h 2441"/>
                <a:gd name="T90" fmla="*/ 2147483647 w 3501"/>
                <a:gd name="T91" fmla="*/ 2147483647 h 2441"/>
                <a:gd name="T92" fmla="*/ 2147483647 w 3501"/>
                <a:gd name="T93" fmla="*/ 2147483647 h 2441"/>
                <a:gd name="T94" fmla="*/ 2147483647 w 3501"/>
                <a:gd name="T95" fmla="*/ 2147483647 h 2441"/>
                <a:gd name="T96" fmla="*/ 2147483647 w 3501"/>
                <a:gd name="T97" fmla="*/ 2147483647 h 2441"/>
                <a:gd name="T98" fmla="*/ 2147483647 w 3501"/>
                <a:gd name="T99" fmla="*/ 2147483647 h 2441"/>
                <a:gd name="T100" fmla="*/ 2147483647 w 3501"/>
                <a:gd name="T101" fmla="*/ 2147483647 h 2441"/>
                <a:gd name="T102" fmla="*/ 2147483647 w 3501"/>
                <a:gd name="T103" fmla="*/ 2147483647 h 2441"/>
                <a:gd name="T104" fmla="*/ 2147483647 w 3501"/>
                <a:gd name="T105" fmla="*/ 2147483647 h 2441"/>
                <a:gd name="T106" fmla="*/ 2147483647 w 3501"/>
                <a:gd name="T107" fmla="*/ 2147483647 h 2441"/>
                <a:gd name="T108" fmla="*/ 2147483647 w 3501"/>
                <a:gd name="T109" fmla="*/ 2147483647 h 2441"/>
                <a:gd name="T110" fmla="*/ 2147483647 w 3501"/>
                <a:gd name="T111" fmla="*/ 2147483647 h 2441"/>
                <a:gd name="T112" fmla="*/ 2147483647 w 3501"/>
                <a:gd name="T113" fmla="*/ 2147483647 h 2441"/>
                <a:gd name="T114" fmla="*/ 2147483647 w 3501"/>
                <a:gd name="T115" fmla="*/ 2147483647 h 2441"/>
                <a:gd name="T116" fmla="*/ 2147483647 w 3501"/>
                <a:gd name="T117" fmla="*/ 2147483647 h 2441"/>
                <a:gd name="T118" fmla="*/ 2147483647 w 3501"/>
                <a:gd name="T119" fmla="*/ 2147483647 h 2441"/>
                <a:gd name="T120" fmla="*/ 2147483647 w 3501"/>
                <a:gd name="T121" fmla="*/ 2147483647 h 244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01"/>
                <a:gd name="T184" fmla="*/ 0 h 2441"/>
                <a:gd name="T185" fmla="*/ 4098 w 3501"/>
                <a:gd name="T186" fmla="*/ 2853 h 244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01" h="2441">
                  <a:moveTo>
                    <a:pt x="687" y="461"/>
                  </a:moveTo>
                  <a:lnTo>
                    <a:pt x="676" y="495"/>
                  </a:lnTo>
                  <a:lnTo>
                    <a:pt x="681" y="536"/>
                  </a:lnTo>
                  <a:lnTo>
                    <a:pt x="656" y="588"/>
                  </a:lnTo>
                  <a:lnTo>
                    <a:pt x="610" y="590"/>
                  </a:lnTo>
                  <a:lnTo>
                    <a:pt x="556" y="557"/>
                  </a:lnTo>
                  <a:lnTo>
                    <a:pt x="520" y="603"/>
                  </a:lnTo>
                  <a:lnTo>
                    <a:pt x="504" y="733"/>
                  </a:lnTo>
                  <a:lnTo>
                    <a:pt x="454" y="721"/>
                  </a:lnTo>
                  <a:lnTo>
                    <a:pt x="415" y="724"/>
                  </a:lnTo>
                  <a:lnTo>
                    <a:pt x="366" y="734"/>
                  </a:lnTo>
                  <a:lnTo>
                    <a:pt x="363" y="764"/>
                  </a:lnTo>
                  <a:lnTo>
                    <a:pt x="402" y="818"/>
                  </a:lnTo>
                  <a:lnTo>
                    <a:pt x="399" y="888"/>
                  </a:lnTo>
                  <a:lnTo>
                    <a:pt x="369" y="946"/>
                  </a:lnTo>
                  <a:lnTo>
                    <a:pt x="343" y="1005"/>
                  </a:lnTo>
                  <a:lnTo>
                    <a:pt x="297" y="1040"/>
                  </a:lnTo>
                  <a:lnTo>
                    <a:pt x="243" y="1051"/>
                  </a:lnTo>
                  <a:lnTo>
                    <a:pt x="181" y="1065"/>
                  </a:lnTo>
                  <a:lnTo>
                    <a:pt x="138" y="1113"/>
                  </a:lnTo>
                  <a:lnTo>
                    <a:pt x="92" y="1088"/>
                  </a:lnTo>
                  <a:lnTo>
                    <a:pt x="69" y="1121"/>
                  </a:lnTo>
                  <a:lnTo>
                    <a:pt x="0" y="1175"/>
                  </a:lnTo>
                  <a:lnTo>
                    <a:pt x="28" y="1234"/>
                  </a:lnTo>
                  <a:lnTo>
                    <a:pt x="61" y="1281"/>
                  </a:lnTo>
                  <a:lnTo>
                    <a:pt x="66" y="1336"/>
                  </a:lnTo>
                  <a:lnTo>
                    <a:pt x="118" y="1373"/>
                  </a:lnTo>
                  <a:lnTo>
                    <a:pt x="164" y="1403"/>
                  </a:lnTo>
                  <a:lnTo>
                    <a:pt x="199" y="1443"/>
                  </a:lnTo>
                  <a:lnTo>
                    <a:pt x="238" y="1460"/>
                  </a:lnTo>
                  <a:lnTo>
                    <a:pt x="287" y="1476"/>
                  </a:lnTo>
                  <a:lnTo>
                    <a:pt x="311" y="1506"/>
                  </a:lnTo>
                  <a:lnTo>
                    <a:pt x="302" y="1543"/>
                  </a:lnTo>
                  <a:lnTo>
                    <a:pt x="300" y="1578"/>
                  </a:lnTo>
                  <a:lnTo>
                    <a:pt x="312" y="1612"/>
                  </a:lnTo>
                  <a:lnTo>
                    <a:pt x="332" y="1639"/>
                  </a:lnTo>
                  <a:lnTo>
                    <a:pt x="312" y="1665"/>
                  </a:lnTo>
                  <a:lnTo>
                    <a:pt x="284" y="1697"/>
                  </a:lnTo>
                  <a:lnTo>
                    <a:pt x="305" y="1738"/>
                  </a:lnTo>
                  <a:lnTo>
                    <a:pt x="343" y="1774"/>
                  </a:lnTo>
                  <a:lnTo>
                    <a:pt x="395" y="1815"/>
                  </a:lnTo>
                  <a:lnTo>
                    <a:pt x="438" y="1807"/>
                  </a:lnTo>
                  <a:lnTo>
                    <a:pt x="497" y="1816"/>
                  </a:lnTo>
                  <a:lnTo>
                    <a:pt x="586" y="1864"/>
                  </a:lnTo>
                  <a:lnTo>
                    <a:pt x="664" y="1932"/>
                  </a:lnTo>
                  <a:lnTo>
                    <a:pt x="713" y="1963"/>
                  </a:lnTo>
                  <a:lnTo>
                    <a:pt x="789" y="1963"/>
                  </a:lnTo>
                  <a:lnTo>
                    <a:pt x="825" y="1960"/>
                  </a:lnTo>
                  <a:lnTo>
                    <a:pt x="890" y="1970"/>
                  </a:lnTo>
                  <a:lnTo>
                    <a:pt x="975" y="1956"/>
                  </a:lnTo>
                  <a:lnTo>
                    <a:pt x="1053" y="1938"/>
                  </a:lnTo>
                  <a:lnTo>
                    <a:pt x="1110" y="1916"/>
                  </a:lnTo>
                  <a:lnTo>
                    <a:pt x="1209" y="1905"/>
                  </a:lnTo>
                  <a:lnTo>
                    <a:pt x="1262" y="1901"/>
                  </a:lnTo>
                  <a:lnTo>
                    <a:pt x="1311" y="1930"/>
                  </a:lnTo>
                  <a:lnTo>
                    <a:pt x="1322" y="1956"/>
                  </a:lnTo>
                  <a:lnTo>
                    <a:pt x="1381" y="1938"/>
                  </a:lnTo>
                  <a:lnTo>
                    <a:pt x="1432" y="2004"/>
                  </a:lnTo>
                  <a:lnTo>
                    <a:pt x="1439" y="2041"/>
                  </a:lnTo>
                  <a:lnTo>
                    <a:pt x="1417" y="2087"/>
                  </a:lnTo>
                  <a:lnTo>
                    <a:pt x="1411" y="2140"/>
                  </a:lnTo>
                  <a:lnTo>
                    <a:pt x="1381" y="2179"/>
                  </a:lnTo>
                  <a:lnTo>
                    <a:pt x="1369" y="2220"/>
                  </a:lnTo>
                  <a:lnTo>
                    <a:pt x="1417" y="2225"/>
                  </a:lnTo>
                  <a:lnTo>
                    <a:pt x="1467" y="2246"/>
                  </a:lnTo>
                  <a:lnTo>
                    <a:pt x="1467" y="2297"/>
                  </a:lnTo>
                  <a:lnTo>
                    <a:pt x="1499" y="2337"/>
                  </a:lnTo>
                  <a:lnTo>
                    <a:pt x="1551" y="2374"/>
                  </a:lnTo>
                  <a:lnTo>
                    <a:pt x="1594" y="2358"/>
                  </a:lnTo>
                  <a:lnTo>
                    <a:pt x="1609" y="2319"/>
                  </a:lnTo>
                  <a:lnTo>
                    <a:pt x="1666" y="2302"/>
                  </a:lnTo>
                  <a:lnTo>
                    <a:pt x="1699" y="2287"/>
                  </a:lnTo>
                  <a:lnTo>
                    <a:pt x="1732" y="2314"/>
                  </a:lnTo>
                  <a:lnTo>
                    <a:pt x="1807" y="2254"/>
                  </a:lnTo>
                  <a:lnTo>
                    <a:pt x="1878" y="2282"/>
                  </a:lnTo>
                  <a:lnTo>
                    <a:pt x="1907" y="2325"/>
                  </a:lnTo>
                  <a:lnTo>
                    <a:pt x="1932" y="2356"/>
                  </a:lnTo>
                  <a:lnTo>
                    <a:pt x="1984" y="2371"/>
                  </a:lnTo>
                  <a:lnTo>
                    <a:pt x="2027" y="2364"/>
                  </a:lnTo>
                  <a:lnTo>
                    <a:pt x="2058" y="2369"/>
                  </a:lnTo>
                  <a:lnTo>
                    <a:pt x="2061" y="2405"/>
                  </a:lnTo>
                  <a:lnTo>
                    <a:pt x="2079" y="2441"/>
                  </a:lnTo>
                  <a:lnTo>
                    <a:pt x="2098" y="2436"/>
                  </a:lnTo>
                  <a:lnTo>
                    <a:pt x="2097" y="2407"/>
                  </a:lnTo>
                  <a:lnTo>
                    <a:pt x="2132" y="2371"/>
                  </a:lnTo>
                  <a:lnTo>
                    <a:pt x="2193" y="2388"/>
                  </a:lnTo>
                  <a:lnTo>
                    <a:pt x="2228" y="2378"/>
                  </a:lnTo>
                  <a:lnTo>
                    <a:pt x="2278" y="2341"/>
                  </a:lnTo>
                  <a:lnTo>
                    <a:pt x="2281" y="2301"/>
                  </a:lnTo>
                  <a:lnTo>
                    <a:pt x="2317" y="2341"/>
                  </a:lnTo>
                  <a:lnTo>
                    <a:pt x="2363" y="2308"/>
                  </a:lnTo>
                  <a:lnTo>
                    <a:pt x="2423" y="2293"/>
                  </a:lnTo>
                  <a:lnTo>
                    <a:pt x="2472" y="2272"/>
                  </a:lnTo>
                  <a:lnTo>
                    <a:pt x="2540" y="2213"/>
                  </a:lnTo>
                  <a:lnTo>
                    <a:pt x="2578" y="2176"/>
                  </a:lnTo>
                  <a:lnTo>
                    <a:pt x="2607" y="2118"/>
                  </a:lnTo>
                  <a:lnTo>
                    <a:pt x="2630" y="2061"/>
                  </a:lnTo>
                  <a:lnTo>
                    <a:pt x="2667" y="2033"/>
                  </a:lnTo>
                  <a:lnTo>
                    <a:pt x="2692" y="1982"/>
                  </a:lnTo>
                  <a:lnTo>
                    <a:pt x="2728" y="1956"/>
                  </a:lnTo>
                  <a:lnTo>
                    <a:pt x="2745" y="1916"/>
                  </a:lnTo>
                  <a:lnTo>
                    <a:pt x="2766" y="1883"/>
                  </a:lnTo>
                  <a:lnTo>
                    <a:pt x="2738" y="1843"/>
                  </a:lnTo>
                  <a:lnTo>
                    <a:pt x="2678" y="1828"/>
                  </a:lnTo>
                  <a:lnTo>
                    <a:pt x="2713" y="1787"/>
                  </a:lnTo>
                  <a:lnTo>
                    <a:pt x="2753" y="1758"/>
                  </a:lnTo>
                  <a:lnTo>
                    <a:pt x="2724" y="1715"/>
                  </a:lnTo>
                  <a:lnTo>
                    <a:pt x="2717" y="1670"/>
                  </a:lnTo>
                  <a:lnTo>
                    <a:pt x="2682" y="1652"/>
                  </a:lnTo>
                  <a:lnTo>
                    <a:pt x="2671" y="1609"/>
                  </a:lnTo>
                  <a:lnTo>
                    <a:pt x="2664" y="1542"/>
                  </a:lnTo>
                  <a:lnTo>
                    <a:pt x="2614" y="1538"/>
                  </a:lnTo>
                  <a:lnTo>
                    <a:pt x="2596" y="1506"/>
                  </a:lnTo>
                  <a:lnTo>
                    <a:pt x="2614" y="1461"/>
                  </a:lnTo>
                  <a:lnTo>
                    <a:pt x="2639" y="1418"/>
                  </a:lnTo>
                  <a:lnTo>
                    <a:pt x="2692" y="1378"/>
                  </a:lnTo>
                  <a:lnTo>
                    <a:pt x="2738" y="1359"/>
                  </a:lnTo>
                  <a:lnTo>
                    <a:pt x="2784" y="1362"/>
                  </a:lnTo>
                  <a:lnTo>
                    <a:pt x="2794" y="1323"/>
                  </a:lnTo>
                  <a:lnTo>
                    <a:pt x="2759" y="1323"/>
                  </a:lnTo>
                  <a:lnTo>
                    <a:pt x="2710" y="1289"/>
                  </a:lnTo>
                  <a:lnTo>
                    <a:pt x="2671" y="1289"/>
                  </a:lnTo>
                  <a:lnTo>
                    <a:pt x="2654" y="1307"/>
                  </a:lnTo>
                  <a:lnTo>
                    <a:pt x="2621" y="1348"/>
                  </a:lnTo>
                  <a:lnTo>
                    <a:pt x="2586" y="1326"/>
                  </a:lnTo>
                  <a:lnTo>
                    <a:pt x="2568" y="1278"/>
                  </a:lnTo>
                  <a:lnTo>
                    <a:pt x="2536" y="1289"/>
                  </a:lnTo>
                  <a:lnTo>
                    <a:pt x="2522" y="1271"/>
                  </a:lnTo>
                  <a:lnTo>
                    <a:pt x="2501" y="1241"/>
                  </a:lnTo>
                  <a:lnTo>
                    <a:pt x="2529" y="1205"/>
                  </a:lnTo>
                  <a:lnTo>
                    <a:pt x="2575" y="1194"/>
                  </a:lnTo>
                  <a:lnTo>
                    <a:pt x="2621" y="1153"/>
                  </a:lnTo>
                  <a:lnTo>
                    <a:pt x="2664" y="1117"/>
                  </a:lnTo>
                  <a:lnTo>
                    <a:pt x="2703" y="1076"/>
                  </a:lnTo>
                  <a:lnTo>
                    <a:pt x="2742" y="1051"/>
                  </a:lnTo>
                  <a:lnTo>
                    <a:pt x="2770" y="1073"/>
                  </a:lnTo>
                  <a:lnTo>
                    <a:pt x="2770" y="1099"/>
                  </a:lnTo>
                  <a:lnTo>
                    <a:pt x="2728" y="1132"/>
                  </a:lnTo>
                  <a:lnTo>
                    <a:pt x="2706" y="1153"/>
                  </a:lnTo>
                  <a:lnTo>
                    <a:pt x="2735" y="1179"/>
                  </a:lnTo>
                  <a:lnTo>
                    <a:pt x="2728" y="1223"/>
                  </a:lnTo>
                  <a:lnTo>
                    <a:pt x="2766" y="1183"/>
                  </a:lnTo>
                  <a:lnTo>
                    <a:pt x="2819" y="1161"/>
                  </a:lnTo>
                  <a:lnTo>
                    <a:pt x="2865" y="1146"/>
                  </a:lnTo>
                  <a:lnTo>
                    <a:pt x="2901" y="1095"/>
                  </a:lnTo>
                  <a:lnTo>
                    <a:pt x="2958" y="1081"/>
                  </a:lnTo>
                  <a:lnTo>
                    <a:pt x="2982" y="1040"/>
                  </a:lnTo>
                  <a:lnTo>
                    <a:pt x="3014" y="1011"/>
                  </a:lnTo>
                  <a:lnTo>
                    <a:pt x="3060" y="1040"/>
                  </a:lnTo>
                  <a:lnTo>
                    <a:pt x="3082" y="1015"/>
                  </a:lnTo>
                  <a:lnTo>
                    <a:pt x="3092" y="986"/>
                  </a:lnTo>
                  <a:lnTo>
                    <a:pt x="3121" y="963"/>
                  </a:lnTo>
                  <a:lnTo>
                    <a:pt x="3152" y="956"/>
                  </a:lnTo>
                  <a:lnTo>
                    <a:pt x="3195" y="898"/>
                  </a:lnTo>
                  <a:lnTo>
                    <a:pt x="3220" y="945"/>
                  </a:lnTo>
                  <a:lnTo>
                    <a:pt x="3269" y="930"/>
                  </a:lnTo>
                  <a:lnTo>
                    <a:pt x="3305" y="897"/>
                  </a:lnTo>
                  <a:lnTo>
                    <a:pt x="3291" y="749"/>
                  </a:lnTo>
                  <a:lnTo>
                    <a:pt x="3369" y="738"/>
                  </a:lnTo>
                  <a:lnTo>
                    <a:pt x="3450" y="631"/>
                  </a:lnTo>
                  <a:lnTo>
                    <a:pt x="3493" y="548"/>
                  </a:lnTo>
                  <a:lnTo>
                    <a:pt x="3501" y="489"/>
                  </a:lnTo>
                  <a:lnTo>
                    <a:pt x="3485" y="449"/>
                  </a:lnTo>
                  <a:lnTo>
                    <a:pt x="3398" y="502"/>
                  </a:lnTo>
                  <a:lnTo>
                    <a:pt x="3327" y="513"/>
                  </a:lnTo>
                  <a:lnTo>
                    <a:pt x="3269" y="500"/>
                  </a:lnTo>
                  <a:lnTo>
                    <a:pt x="3228" y="421"/>
                  </a:lnTo>
                  <a:lnTo>
                    <a:pt x="3175" y="399"/>
                  </a:lnTo>
                  <a:lnTo>
                    <a:pt x="3117" y="363"/>
                  </a:lnTo>
                  <a:lnTo>
                    <a:pt x="3083" y="357"/>
                  </a:lnTo>
                  <a:lnTo>
                    <a:pt x="3071" y="295"/>
                  </a:lnTo>
                  <a:lnTo>
                    <a:pt x="3034" y="181"/>
                  </a:lnTo>
                  <a:lnTo>
                    <a:pt x="2999" y="80"/>
                  </a:lnTo>
                  <a:lnTo>
                    <a:pt x="2929" y="33"/>
                  </a:lnTo>
                  <a:lnTo>
                    <a:pt x="2853" y="0"/>
                  </a:lnTo>
                  <a:lnTo>
                    <a:pt x="2742" y="22"/>
                  </a:lnTo>
                  <a:lnTo>
                    <a:pt x="2660" y="64"/>
                  </a:lnTo>
                  <a:lnTo>
                    <a:pt x="2689" y="118"/>
                  </a:lnTo>
                  <a:lnTo>
                    <a:pt x="2642" y="217"/>
                  </a:lnTo>
                  <a:lnTo>
                    <a:pt x="2608" y="279"/>
                  </a:lnTo>
                  <a:lnTo>
                    <a:pt x="2598" y="334"/>
                  </a:lnTo>
                  <a:lnTo>
                    <a:pt x="2521" y="349"/>
                  </a:lnTo>
                  <a:lnTo>
                    <a:pt x="2440" y="338"/>
                  </a:lnTo>
                  <a:lnTo>
                    <a:pt x="2398" y="472"/>
                  </a:lnTo>
                  <a:lnTo>
                    <a:pt x="2401" y="509"/>
                  </a:lnTo>
                  <a:lnTo>
                    <a:pt x="2451" y="524"/>
                  </a:lnTo>
                  <a:lnTo>
                    <a:pt x="2501" y="498"/>
                  </a:lnTo>
                  <a:lnTo>
                    <a:pt x="2547" y="490"/>
                  </a:lnTo>
                  <a:lnTo>
                    <a:pt x="2593" y="535"/>
                  </a:lnTo>
                  <a:lnTo>
                    <a:pt x="2614" y="553"/>
                  </a:lnTo>
                  <a:lnTo>
                    <a:pt x="2630" y="584"/>
                  </a:lnTo>
                  <a:lnTo>
                    <a:pt x="2622" y="613"/>
                  </a:lnTo>
                  <a:lnTo>
                    <a:pt x="2552" y="610"/>
                  </a:lnTo>
                  <a:lnTo>
                    <a:pt x="2511" y="613"/>
                  </a:lnTo>
                  <a:lnTo>
                    <a:pt x="2466" y="626"/>
                  </a:lnTo>
                  <a:lnTo>
                    <a:pt x="2430" y="663"/>
                  </a:lnTo>
                  <a:lnTo>
                    <a:pt x="2388" y="707"/>
                  </a:lnTo>
                  <a:lnTo>
                    <a:pt x="2353" y="715"/>
                  </a:lnTo>
                  <a:lnTo>
                    <a:pt x="2334" y="736"/>
                  </a:lnTo>
                  <a:lnTo>
                    <a:pt x="2304" y="759"/>
                  </a:lnTo>
                  <a:lnTo>
                    <a:pt x="2262" y="765"/>
                  </a:lnTo>
                  <a:lnTo>
                    <a:pt x="2220" y="749"/>
                  </a:lnTo>
                  <a:lnTo>
                    <a:pt x="2194" y="752"/>
                  </a:lnTo>
                  <a:lnTo>
                    <a:pt x="2167" y="774"/>
                  </a:lnTo>
                  <a:lnTo>
                    <a:pt x="2180" y="821"/>
                  </a:lnTo>
                  <a:lnTo>
                    <a:pt x="2188" y="854"/>
                  </a:lnTo>
                  <a:lnTo>
                    <a:pt x="2126" y="898"/>
                  </a:lnTo>
                  <a:lnTo>
                    <a:pt x="2079" y="939"/>
                  </a:lnTo>
                  <a:lnTo>
                    <a:pt x="2020" y="945"/>
                  </a:lnTo>
                  <a:lnTo>
                    <a:pt x="1970" y="952"/>
                  </a:lnTo>
                  <a:lnTo>
                    <a:pt x="1917" y="949"/>
                  </a:lnTo>
                  <a:lnTo>
                    <a:pt x="1856" y="960"/>
                  </a:lnTo>
                  <a:lnTo>
                    <a:pt x="1832" y="996"/>
                  </a:lnTo>
                  <a:lnTo>
                    <a:pt x="1786" y="1007"/>
                  </a:lnTo>
                  <a:lnTo>
                    <a:pt x="1747" y="999"/>
                  </a:lnTo>
                  <a:lnTo>
                    <a:pt x="1711" y="981"/>
                  </a:lnTo>
                  <a:lnTo>
                    <a:pt x="1651" y="967"/>
                  </a:lnTo>
                  <a:lnTo>
                    <a:pt x="1602" y="934"/>
                  </a:lnTo>
                  <a:lnTo>
                    <a:pt x="1534" y="945"/>
                  </a:lnTo>
                  <a:lnTo>
                    <a:pt x="1474" y="934"/>
                  </a:lnTo>
                  <a:lnTo>
                    <a:pt x="1382" y="930"/>
                  </a:lnTo>
                  <a:lnTo>
                    <a:pt x="1318" y="938"/>
                  </a:lnTo>
                  <a:lnTo>
                    <a:pt x="1305" y="898"/>
                  </a:lnTo>
                  <a:lnTo>
                    <a:pt x="1283" y="857"/>
                  </a:lnTo>
                  <a:lnTo>
                    <a:pt x="1247" y="798"/>
                  </a:lnTo>
                  <a:lnTo>
                    <a:pt x="1198" y="791"/>
                  </a:lnTo>
                  <a:lnTo>
                    <a:pt x="1170" y="761"/>
                  </a:lnTo>
                  <a:lnTo>
                    <a:pt x="1113" y="732"/>
                  </a:lnTo>
                  <a:lnTo>
                    <a:pt x="1082" y="750"/>
                  </a:lnTo>
                  <a:lnTo>
                    <a:pt x="1014" y="729"/>
                  </a:lnTo>
                  <a:lnTo>
                    <a:pt x="988" y="690"/>
                  </a:lnTo>
                  <a:lnTo>
                    <a:pt x="1007" y="619"/>
                  </a:lnTo>
                  <a:lnTo>
                    <a:pt x="993" y="549"/>
                  </a:lnTo>
                  <a:lnTo>
                    <a:pt x="929" y="487"/>
                  </a:lnTo>
                  <a:lnTo>
                    <a:pt x="897" y="458"/>
                  </a:lnTo>
                  <a:lnTo>
                    <a:pt x="842" y="448"/>
                  </a:lnTo>
                  <a:lnTo>
                    <a:pt x="836" y="413"/>
                  </a:lnTo>
                  <a:lnTo>
                    <a:pt x="771" y="400"/>
                  </a:lnTo>
                  <a:lnTo>
                    <a:pt x="687" y="461"/>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 name="Freeform 5">
              <a:extLst>
                <a:ext uri="{FF2B5EF4-FFF2-40B4-BE49-F238E27FC236}">
                  <a16:creationId xmlns:a16="http://schemas.microsoft.com/office/drawing/2014/main" id="{0E0DF541-895C-29C7-8764-998EA537465F}"/>
                </a:ext>
              </a:extLst>
            </p:cNvPr>
            <p:cNvSpPr>
              <a:spLocks/>
            </p:cNvSpPr>
            <p:nvPr/>
          </p:nvSpPr>
          <p:spPr bwMode="auto">
            <a:xfrm>
              <a:off x="5183558" y="769077"/>
              <a:ext cx="4154831" cy="2171089"/>
            </a:xfrm>
            <a:custGeom>
              <a:avLst/>
              <a:gdLst>
                <a:gd name="T0" fmla="*/ 2147483647 w 10860"/>
                <a:gd name="T1" fmla="*/ 2147483647 h 5516"/>
                <a:gd name="T2" fmla="*/ 2147483647 w 10860"/>
                <a:gd name="T3" fmla="*/ 2147483647 h 5516"/>
                <a:gd name="T4" fmla="*/ 2147483647 w 10860"/>
                <a:gd name="T5" fmla="*/ 2147483647 h 5516"/>
                <a:gd name="T6" fmla="*/ 2147483647 w 10860"/>
                <a:gd name="T7" fmla="*/ 2147483647 h 5516"/>
                <a:gd name="T8" fmla="*/ 2147483647 w 10860"/>
                <a:gd name="T9" fmla="*/ 2147483647 h 5516"/>
                <a:gd name="T10" fmla="*/ 2147483647 w 10860"/>
                <a:gd name="T11" fmla="*/ 2147483647 h 5516"/>
                <a:gd name="T12" fmla="*/ 2147483647 w 10860"/>
                <a:gd name="T13" fmla="*/ 2147483647 h 5516"/>
                <a:gd name="T14" fmla="*/ 2147483647 w 10860"/>
                <a:gd name="T15" fmla="*/ 2147483647 h 5516"/>
                <a:gd name="T16" fmla="*/ 2147483647 w 10860"/>
                <a:gd name="T17" fmla="*/ 2147483647 h 5516"/>
                <a:gd name="T18" fmla="*/ 2147483647 w 10860"/>
                <a:gd name="T19" fmla="*/ 2147483647 h 5516"/>
                <a:gd name="T20" fmla="*/ 2147483647 w 10860"/>
                <a:gd name="T21" fmla="*/ 2147483647 h 5516"/>
                <a:gd name="T22" fmla="*/ 2147483647 w 10860"/>
                <a:gd name="T23" fmla="*/ 2147483647 h 5516"/>
                <a:gd name="T24" fmla="*/ 2147483647 w 10860"/>
                <a:gd name="T25" fmla="*/ 2147483647 h 5516"/>
                <a:gd name="T26" fmla="*/ 2147483647 w 10860"/>
                <a:gd name="T27" fmla="*/ 2147483647 h 5516"/>
                <a:gd name="T28" fmla="*/ 2147483647 w 10860"/>
                <a:gd name="T29" fmla="*/ 2147483647 h 5516"/>
                <a:gd name="T30" fmla="*/ 2147483647 w 10860"/>
                <a:gd name="T31" fmla="*/ 2147483647 h 5516"/>
                <a:gd name="T32" fmla="*/ 2147483647 w 10860"/>
                <a:gd name="T33" fmla="*/ 2147483647 h 5516"/>
                <a:gd name="T34" fmla="*/ 2147483647 w 10860"/>
                <a:gd name="T35" fmla="*/ 2147483647 h 5516"/>
                <a:gd name="T36" fmla="*/ 2147483647 w 10860"/>
                <a:gd name="T37" fmla="*/ 2147483647 h 5516"/>
                <a:gd name="T38" fmla="*/ 2147483647 w 10860"/>
                <a:gd name="T39" fmla="*/ 2147483647 h 5516"/>
                <a:gd name="T40" fmla="*/ 2147483647 w 10860"/>
                <a:gd name="T41" fmla="*/ 2147483647 h 5516"/>
                <a:gd name="T42" fmla="*/ 2147483647 w 10860"/>
                <a:gd name="T43" fmla="*/ 2147483647 h 5516"/>
                <a:gd name="T44" fmla="*/ 2147483647 w 10860"/>
                <a:gd name="T45" fmla="*/ 2147483647 h 5516"/>
                <a:gd name="T46" fmla="*/ 2147483647 w 10860"/>
                <a:gd name="T47" fmla="*/ 2147483647 h 5516"/>
                <a:gd name="T48" fmla="*/ 2147483647 w 10860"/>
                <a:gd name="T49" fmla="*/ 2147483647 h 5516"/>
                <a:gd name="T50" fmla="*/ 2147483647 w 10860"/>
                <a:gd name="T51" fmla="*/ 2147483647 h 5516"/>
                <a:gd name="T52" fmla="*/ 2147483647 w 10860"/>
                <a:gd name="T53" fmla="*/ 2147483647 h 5516"/>
                <a:gd name="T54" fmla="*/ 2147483647 w 10860"/>
                <a:gd name="T55" fmla="*/ 2147483647 h 5516"/>
                <a:gd name="T56" fmla="*/ 2147483647 w 10860"/>
                <a:gd name="T57" fmla="*/ 2147483647 h 5516"/>
                <a:gd name="T58" fmla="*/ 2147483647 w 10860"/>
                <a:gd name="T59" fmla="*/ 2147483647 h 5516"/>
                <a:gd name="T60" fmla="*/ 2147483647 w 10860"/>
                <a:gd name="T61" fmla="*/ 2147483647 h 5516"/>
                <a:gd name="T62" fmla="*/ 2147483647 w 10860"/>
                <a:gd name="T63" fmla="*/ 2147483647 h 5516"/>
                <a:gd name="T64" fmla="*/ 2147483647 w 10860"/>
                <a:gd name="T65" fmla="*/ 2147483647 h 5516"/>
                <a:gd name="T66" fmla="*/ 2147483647 w 10860"/>
                <a:gd name="T67" fmla="*/ 2147483647 h 5516"/>
                <a:gd name="T68" fmla="*/ 2147483647 w 10860"/>
                <a:gd name="T69" fmla="*/ 2147483647 h 5516"/>
                <a:gd name="T70" fmla="*/ 2147483647 w 10860"/>
                <a:gd name="T71" fmla="*/ 2147483647 h 5516"/>
                <a:gd name="T72" fmla="*/ 2147483647 w 10860"/>
                <a:gd name="T73" fmla="*/ 2147483647 h 5516"/>
                <a:gd name="T74" fmla="*/ 2147483647 w 10860"/>
                <a:gd name="T75" fmla="*/ 2147483647 h 5516"/>
                <a:gd name="T76" fmla="*/ 2147483647 w 10860"/>
                <a:gd name="T77" fmla="*/ 2147483647 h 5516"/>
                <a:gd name="T78" fmla="*/ 2147483647 w 10860"/>
                <a:gd name="T79" fmla="*/ 2147483647 h 5516"/>
                <a:gd name="T80" fmla="*/ 2147483647 w 10860"/>
                <a:gd name="T81" fmla="*/ 2147483647 h 5516"/>
                <a:gd name="T82" fmla="*/ 2147483647 w 10860"/>
                <a:gd name="T83" fmla="*/ 2147483647 h 5516"/>
                <a:gd name="T84" fmla="*/ 2147483647 w 10860"/>
                <a:gd name="T85" fmla="*/ 2147483647 h 5516"/>
                <a:gd name="T86" fmla="*/ 2147483647 w 10860"/>
                <a:gd name="T87" fmla="*/ 2147483647 h 5516"/>
                <a:gd name="T88" fmla="*/ 2147483647 w 10860"/>
                <a:gd name="T89" fmla="*/ 2147483647 h 5516"/>
                <a:gd name="T90" fmla="*/ 2147483647 w 10860"/>
                <a:gd name="T91" fmla="*/ 2147483647 h 5516"/>
                <a:gd name="T92" fmla="*/ 2147483647 w 10860"/>
                <a:gd name="T93" fmla="*/ 2147483647 h 5516"/>
                <a:gd name="T94" fmla="*/ 2147483647 w 10860"/>
                <a:gd name="T95" fmla="*/ 2147483647 h 5516"/>
                <a:gd name="T96" fmla="*/ 2147483647 w 10860"/>
                <a:gd name="T97" fmla="*/ 2147483647 h 5516"/>
                <a:gd name="T98" fmla="*/ 2147483647 w 10860"/>
                <a:gd name="T99" fmla="*/ 2147483647 h 5516"/>
                <a:gd name="T100" fmla="*/ 2147483647 w 10860"/>
                <a:gd name="T101" fmla="*/ 2147483647 h 5516"/>
                <a:gd name="T102" fmla="*/ 2147483647 w 10860"/>
                <a:gd name="T103" fmla="*/ 2147483647 h 5516"/>
                <a:gd name="T104" fmla="*/ 2147483647 w 10860"/>
                <a:gd name="T105" fmla="*/ 2147483647 h 5516"/>
                <a:gd name="T106" fmla="*/ 2147483647 w 10860"/>
                <a:gd name="T107" fmla="*/ 2147483647 h 5516"/>
                <a:gd name="T108" fmla="*/ 2147483647 w 10860"/>
                <a:gd name="T109" fmla="*/ 2147483647 h 5516"/>
                <a:gd name="T110" fmla="*/ 2147483647 w 10860"/>
                <a:gd name="T111" fmla="*/ 2147483647 h 5516"/>
                <a:gd name="T112" fmla="*/ 2147483647 w 10860"/>
                <a:gd name="T113" fmla="*/ 2147483647 h 5516"/>
                <a:gd name="T114" fmla="*/ 2147483647 w 10860"/>
                <a:gd name="T115" fmla="*/ 2147483647 h 5516"/>
                <a:gd name="T116" fmla="*/ 2147483647 w 10860"/>
                <a:gd name="T117" fmla="*/ 2147483647 h 5516"/>
                <a:gd name="T118" fmla="*/ 2147483647 w 10860"/>
                <a:gd name="T119" fmla="*/ 2147483647 h 5516"/>
                <a:gd name="T120" fmla="*/ 2147483647 w 10860"/>
                <a:gd name="T121" fmla="*/ 2147483647 h 55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860"/>
                <a:gd name="T184" fmla="*/ 0 h 5516"/>
                <a:gd name="T185" fmla="*/ 10860 w 10860"/>
                <a:gd name="T186" fmla="*/ 5516 h 551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860" h="5516">
                  <a:moveTo>
                    <a:pt x="5143" y="0"/>
                  </a:moveTo>
                  <a:lnTo>
                    <a:pt x="5194" y="57"/>
                  </a:lnTo>
                  <a:lnTo>
                    <a:pt x="5259" y="84"/>
                  </a:lnTo>
                  <a:lnTo>
                    <a:pt x="5254" y="123"/>
                  </a:lnTo>
                  <a:lnTo>
                    <a:pt x="5210" y="142"/>
                  </a:lnTo>
                  <a:lnTo>
                    <a:pt x="5167" y="195"/>
                  </a:lnTo>
                  <a:lnTo>
                    <a:pt x="5233" y="215"/>
                  </a:lnTo>
                  <a:lnTo>
                    <a:pt x="5312" y="203"/>
                  </a:lnTo>
                  <a:lnTo>
                    <a:pt x="5349" y="248"/>
                  </a:lnTo>
                  <a:lnTo>
                    <a:pt x="5316" y="305"/>
                  </a:lnTo>
                  <a:lnTo>
                    <a:pt x="5292" y="348"/>
                  </a:lnTo>
                  <a:lnTo>
                    <a:pt x="5349" y="354"/>
                  </a:lnTo>
                  <a:lnTo>
                    <a:pt x="5386" y="344"/>
                  </a:lnTo>
                  <a:lnTo>
                    <a:pt x="5389" y="303"/>
                  </a:lnTo>
                  <a:lnTo>
                    <a:pt x="5427" y="294"/>
                  </a:lnTo>
                  <a:lnTo>
                    <a:pt x="5490" y="291"/>
                  </a:lnTo>
                  <a:lnTo>
                    <a:pt x="5568" y="290"/>
                  </a:lnTo>
                  <a:lnTo>
                    <a:pt x="5651" y="309"/>
                  </a:lnTo>
                  <a:lnTo>
                    <a:pt x="5732" y="444"/>
                  </a:lnTo>
                  <a:lnTo>
                    <a:pt x="5793" y="540"/>
                  </a:lnTo>
                  <a:lnTo>
                    <a:pt x="5791" y="603"/>
                  </a:lnTo>
                  <a:lnTo>
                    <a:pt x="5727" y="572"/>
                  </a:lnTo>
                  <a:lnTo>
                    <a:pt x="5722" y="621"/>
                  </a:lnTo>
                  <a:lnTo>
                    <a:pt x="5791" y="683"/>
                  </a:lnTo>
                  <a:lnTo>
                    <a:pt x="5736" y="750"/>
                  </a:lnTo>
                  <a:lnTo>
                    <a:pt x="5635" y="846"/>
                  </a:lnTo>
                  <a:lnTo>
                    <a:pt x="5526" y="950"/>
                  </a:lnTo>
                  <a:lnTo>
                    <a:pt x="5421" y="1064"/>
                  </a:lnTo>
                  <a:lnTo>
                    <a:pt x="5329" y="1134"/>
                  </a:lnTo>
                  <a:lnTo>
                    <a:pt x="5259" y="1200"/>
                  </a:lnTo>
                  <a:lnTo>
                    <a:pt x="5368" y="1223"/>
                  </a:lnTo>
                  <a:lnTo>
                    <a:pt x="5526" y="1149"/>
                  </a:lnTo>
                  <a:lnTo>
                    <a:pt x="5480" y="1057"/>
                  </a:lnTo>
                  <a:lnTo>
                    <a:pt x="5528" y="998"/>
                  </a:lnTo>
                  <a:lnTo>
                    <a:pt x="5626" y="1065"/>
                  </a:lnTo>
                  <a:lnTo>
                    <a:pt x="5740" y="1065"/>
                  </a:lnTo>
                  <a:lnTo>
                    <a:pt x="5846" y="1107"/>
                  </a:lnTo>
                  <a:lnTo>
                    <a:pt x="5940" y="1094"/>
                  </a:lnTo>
                  <a:lnTo>
                    <a:pt x="6030" y="1125"/>
                  </a:lnTo>
                  <a:lnTo>
                    <a:pt x="6116" y="1116"/>
                  </a:lnTo>
                  <a:lnTo>
                    <a:pt x="6074" y="1208"/>
                  </a:lnTo>
                  <a:lnTo>
                    <a:pt x="6129" y="1230"/>
                  </a:lnTo>
                  <a:lnTo>
                    <a:pt x="6172" y="1208"/>
                  </a:lnTo>
                  <a:lnTo>
                    <a:pt x="6234" y="1254"/>
                  </a:lnTo>
                  <a:lnTo>
                    <a:pt x="6318" y="1257"/>
                  </a:lnTo>
                  <a:lnTo>
                    <a:pt x="6369" y="1265"/>
                  </a:lnTo>
                  <a:lnTo>
                    <a:pt x="6420" y="1265"/>
                  </a:lnTo>
                  <a:lnTo>
                    <a:pt x="6414" y="1134"/>
                  </a:lnTo>
                  <a:lnTo>
                    <a:pt x="6450" y="1098"/>
                  </a:lnTo>
                  <a:lnTo>
                    <a:pt x="6481" y="1057"/>
                  </a:lnTo>
                  <a:lnTo>
                    <a:pt x="6579" y="1125"/>
                  </a:lnTo>
                  <a:lnTo>
                    <a:pt x="6645" y="1151"/>
                  </a:lnTo>
                  <a:lnTo>
                    <a:pt x="6688" y="1097"/>
                  </a:lnTo>
                  <a:lnTo>
                    <a:pt x="6758" y="1167"/>
                  </a:lnTo>
                  <a:lnTo>
                    <a:pt x="6807" y="1220"/>
                  </a:lnTo>
                  <a:lnTo>
                    <a:pt x="6813" y="1280"/>
                  </a:lnTo>
                  <a:lnTo>
                    <a:pt x="6807" y="1342"/>
                  </a:lnTo>
                  <a:lnTo>
                    <a:pt x="6791" y="1426"/>
                  </a:lnTo>
                  <a:lnTo>
                    <a:pt x="6777" y="1497"/>
                  </a:lnTo>
                  <a:lnTo>
                    <a:pt x="6775" y="1594"/>
                  </a:lnTo>
                  <a:lnTo>
                    <a:pt x="6831" y="1669"/>
                  </a:lnTo>
                  <a:lnTo>
                    <a:pt x="6889" y="1712"/>
                  </a:lnTo>
                  <a:lnTo>
                    <a:pt x="6931" y="1748"/>
                  </a:lnTo>
                  <a:lnTo>
                    <a:pt x="6970" y="1709"/>
                  </a:lnTo>
                  <a:lnTo>
                    <a:pt x="6979" y="1649"/>
                  </a:lnTo>
                  <a:lnTo>
                    <a:pt x="7006" y="1565"/>
                  </a:lnTo>
                  <a:lnTo>
                    <a:pt x="7036" y="1511"/>
                  </a:lnTo>
                  <a:lnTo>
                    <a:pt x="7062" y="1520"/>
                  </a:lnTo>
                  <a:lnTo>
                    <a:pt x="7076" y="1560"/>
                  </a:lnTo>
                  <a:lnTo>
                    <a:pt x="7116" y="1614"/>
                  </a:lnTo>
                  <a:lnTo>
                    <a:pt x="7171" y="1611"/>
                  </a:lnTo>
                  <a:lnTo>
                    <a:pt x="7204" y="1563"/>
                  </a:lnTo>
                  <a:lnTo>
                    <a:pt x="7247" y="1527"/>
                  </a:lnTo>
                  <a:lnTo>
                    <a:pt x="7328" y="1620"/>
                  </a:lnTo>
                  <a:lnTo>
                    <a:pt x="7389" y="1554"/>
                  </a:lnTo>
                  <a:lnTo>
                    <a:pt x="7443" y="1552"/>
                  </a:lnTo>
                  <a:lnTo>
                    <a:pt x="7471" y="1589"/>
                  </a:lnTo>
                  <a:lnTo>
                    <a:pt x="7497" y="1605"/>
                  </a:lnTo>
                  <a:lnTo>
                    <a:pt x="7528" y="1581"/>
                  </a:lnTo>
                  <a:lnTo>
                    <a:pt x="7501" y="1536"/>
                  </a:lnTo>
                  <a:lnTo>
                    <a:pt x="7501" y="1496"/>
                  </a:lnTo>
                  <a:lnTo>
                    <a:pt x="7533" y="1449"/>
                  </a:lnTo>
                  <a:lnTo>
                    <a:pt x="7488" y="1451"/>
                  </a:lnTo>
                  <a:lnTo>
                    <a:pt x="7470" y="1424"/>
                  </a:lnTo>
                  <a:lnTo>
                    <a:pt x="7504" y="1346"/>
                  </a:lnTo>
                  <a:lnTo>
                    <a:pt x="7543" y="1367"/>
                  </a:lnTo>
                  <a:lnTo>
                    <a:pt x="7570" y="1370"/>
                  </a:lnTo>
                  <a:lnTo>
                    <a:pt x="7584" y="1293"/>
                  </a:lnTo>
                  <a:lnTo>
                    <a:pt x="7631" y="1266"/>
                  </a:lnTo>
                  <a:lnTo>
                    <a:pt x="7651" y="1314"/>
                  </a:lnTo>
                  <a:lnTo>
                    <a:pt x="7707" y="1326"/>
                  </a:lnTo>
                  <a:lnTo>
                    <a:pt x="7782" y="1325"/>
                  </a:lnTo>
                  <a:lnTo>
                    <a:pt x="7833" y="1347"/>
                  </a:lnTo>
                  <a:lnTo>
                    <a:pt x="7913" y="1342"/>
                  </a:lnTo>
                  <a:lnTo>
                    <a:pt x="7972" y="1413"/>
                  </a:lnTo>
                  <a:lnTo>
                    <a:pt x="8029" y="1394"/>
                  </a:lnTo>
                  <a:lnTo>
                    <a:pt x="8111" y="1402"/>
                  </a:lnTo>
                  <a:lnTo>
                    <a:pt x="8187" y="1464"/>
                  </a:lnTo>
                  <a:lnTo>
                    <a:pt x="8208" y="1518"/>
                  </a:lnTo>
                  <a:lnTo>
                    <a:pt x="8127" y="1523"/>
                  </a:lnTo>
                  <a:lnTo>
                    <a:pt x="8128" y="1554"/>
                  </a:lnTo>
                  <a:lnTo>
                    <a:pt x="8242" y="1589"/>
                  </a:lnTo>
                  <a:lnTo>
                    <a:pt x="8310" y="1635"/>
                  </a:lnTo>
                  <a:lnTo>
                    <a:pt x="8341" y="1709"/>
                  </a:lnTo>
                  <a:lnTo>
                    <a:pt x="8419" y="1730"/>
                  </a:lnTo>
                  <a:lnTo>
                    <a:pt x="8566" y="1691"/>
                  </a:lnTo>
                  <a:lnTo>
                    <a:pt x="8682" y="1679"/>
                  </a:lnTo>
                  <a:lnTo>
                    <a:pt x="8770" y="1712"/>
                  </a:lnTo>
                  <a:lnTo>
                    <a:pt x="8845" y="1770"/>
                  </a:lnTo>
                  <a:lnTo>
                    <a:pt x="8859" y="1836"/>
                  </a:lnTo>
                  <a:lnTo>
                    <a:pt x="8838" y="1913"/>
                  </a:lnTo>
                  <a:lnTo>
                    <a:pt x="8859" y="1956"/>
                  </a:lnTo>
                  <a:lnTo>
                    <a:pt x="8911" y="1967"/>
                  </a:lnTo>
                  <a:lnTo>
                    <a:pt x="8929" y="2057"/>
                  </a:lnTo>
                  <a:lnTo>
                    <a:pt x="8970" y="2058"/>
                  </a:lnTo>
                  <a:lnTo>
                    <a:pt x="8988" y="1968"/>
                  </a:lnTo>
                  <a:lnTo>
                    <a:pt x="9072" y="1970"/>
                  </a:lnTo>
                  <a:lnTo>
                    <a:pt x="9104" y="1922"/>
                  </a:lnTo>
                  <a:lnTo>
                    <a:pt x="9165" y="1968"/>
                  </a:lnTo>
                  <a:lnTo>
                    <a:pt x="9228" y="1939"/>
                  </a:lnTo>
                  <a:lnTo>
                    <a:pt x="9315" y="1983"/>
                  </a:lnTo>
                  <a:lnTo>
                    <a:pt x="9372" y="1956"/>
                  </a:lnTo>
                  <a:lnTo>
                    <a:pt x="9423" y="1884"/>
                  </a:lnTo>
                  <a:lnTo>
                    <a:pt x="9495" y="1916"/>
                  </a:lnTo>
                  <a:lnTo>
                    <a:pt x="9474" y="1964"/>
                  </a:lnTo>
                  <a:lnTo>
                    <a:pt x="9424" y="1959"/>
                  </a:lnTo>
                  <a:lnTo>
                    <a:pt x="9418" y="2025"/>
                  </a:lnTo>
                  <a:lnTo>
                    <a:pt x="9468" y="2049"/>
                  </a:lnTo>
                  <a:lnTo>
                    <a:pt x="9499" y="2082"/>
                  </a:lnTo>
                  <a:lnTo>
                    <a:pt x="9508" y="2114"/>
                  </a:lnTo>
                  <a:lnTo>
                    <a:pt x="9556" y="2111"/>
                  </a:lnTo>
                  <a:lnTo>
                    <a:pt x="9597" y="2069"/>
                  </a:lnTo>
                  <a:lnTo>
                    <a:pt x="9577" y="1982"/>
                  </a:lnTo>
                  <a:lnTo>
                    <a:pt x="9558" y="1931"/>
                  </a:lnTo>
                  <a:lnTo>
                    <a:pt x="9571" y="1854"/>
                  </a:lnTo>
                  <a:lnTo>
                    <a:pt x="9626" y="1872"/>
                  </a:lnTo>
                  <a:lnTo>
                    <a:pt x="9756" y="1905"/>
                  </a:lnTo>
                  <a:lnTo>
                    <a:pt x="9861" y="1919"/>
                  </a:lnTo>
                  <a:lnTo>
                    <a:pt x="9944" y="1922"/>
                  </a:lnTo>
                  <a:lnTo>
                    <a:pt x="10008" y="1972"/>
                  </a:lnTo>
                  <a:lnTo>
                    <a:pt x="10117" y="2016"/>
                  </a:lnTo>
                  <a:lnTo>
                    <a:pt x="10192" y="2084"/>
                  </a:lnTo>
                  <a:lnTo>
                    <a:pt x="10243" y="2129"/>
                  </a:lnTo>
                  <a:lnTo>
                    <a:pt x="10334" y="2225"/>
                  </a:lnTo>
                  <a:lnTo>
                    <a:pt x="10424" y="2299"/>
                  </a:lnTo>
                  <a:lnTo>
                    <a:pt x="10461" y="2340"/>
                  </a:lnTo>
                  <a:lnTo>
                    <a:pt x="10498" y="2373"/>
                  </a:lnTo>
                  <a:lnTo>
                    <a:pt x="10530" y="2401"/>
                  </a:lnTo>
                  <a:lnTo>
                    <a:pt x="10519" y="2457"/>
                  </a:lnTo>
                  <a:lnTo>
                    <a:pt x="10524" y="2505"/>
                  </a:lnTo>
                  <a:lnTo>
                    <a:pt x="10549" y="2538"/>
                  </a:lnTo>
                  <a:lnTo>
                    <a:pt x="10591" y="2543"/>
                  </a:lnTo>
                  <a:lnTo>
                    <a:pt x="10581" y="2495"/>
                  </a:lnTo>
                  <a:lnTo>
                    <a:pt x="10579" y="2441"/>
                  </a:lnTo>
                  <a:lnTo>
                    <a:pt x="10612" y="2409"/>
                  </a:lnTo>
                  <a:lnTo>
                    <a:pt x="10686" y="2450"/>
                  </a:lnTo>
                  <a:lnTo>
                    <a:pt x="10744" y="2477"/>
                  </a:lnTo>
                  <a:lnTo>
                    <a:pt x="10792" y="2528"/>
                  </a:lnTo>
                  <a:lnTo>
                    <a:pt x="10860" y="2586"/>
                  </a:lnTo>
                  <a:lnTo>
                    <a:pt x="10809" y="2621"/>
                  </a:lnTo>
                  <a:lnTo>
                    <a:pt x="10777" y="2682"/>
                  </a:lnTo>
                  <a:lnTo>
                    <a:pt x="10735" y="2699"/>
                  </a:lnTo>
                  <a:lnTo>
                    <a:pt x="10684" y="2676"/>
                  </a:lnTo>
                  <a:lnTo>
                    <a:pt x="10687" y="2715"/>
                  </a:lnTo>
                  <a:lnTo>
                    <a:pt x="10696" y="2774"/>
                  </a:lnTo>
                  <a:lnTo>
                    <a:pt x="10663" y="2784"/>
                  </a:lnTo>
                  <a:lnTo>
                    <a:pt x="10668" y="2858"/>
                  </a:lnTo>
                  <a:lnTo>
                    <a:pt x="10632" y="2883"/>
                  </a:lnTo>
                  <a:lnTo>
                    <a:pt x="10563" y="2840"/>
                  </a:lnTo>
                  <a:lnTo>
                    <a:pt x="10527" y="2816"/>
                  </a:lnTo>
                  <a:lnTo>
                    <a:pt x="10491" y="2805"/>
                  </a:lnTo>
                  <a:lnTo>
                    <a:pt x="10453" y="2778"/>
                  </a:lnTo>
                  <a:lnTo>
                    <a:pt x="10446" y="2703"/>
                  </a:lnTo>
                  <a:lnTo>
                    <a:pt x="10398" y="2682"/>
                  </a:lnTo>
                  <a:lnTo>
                    <a:pt x="10342" y="2693"/>
                  </a:lnTo>
                  <a:lnTo>
                    <a:pt x="10310" y="2678"/>
                  </a:lnTo>
                  <a:lnTo>
                    <a:pt x="10276" y="2693"/>
                  </a:lnTo>
                  <a:lnTo>
                    <a:pt x="10258" y="2624"/>
                  </a:lnTo>
                  <a:lnTo>
                    <a:pt x="10272" y="2565"/>
                  </a:lnTo>
                  <a:lnTo>
                    <a:pt x="10198" y="2580"/>
                  </a:lnTo>
                  <a:lnTo>
                    <a:pt x="10183" y="2630"/>
                  </a:lnTo>
                  <a:lnTo>
                    <a:pt x="10215" y="2698"/>
                  </a:lnTo>
                  <a:lnTo>
                    <a:pt x="10182" y="2744"/>
                  </a:lnTo>
                  <a:lnTo>
                    <a:pt x="10170" y="2787"/>
                  </a:lnTo>
                  <a:lnTo>
                    <a:pt x="10117" y="2819"/>
                  </a:lnTo>
                  <a:lnTo>
                    <a:pt x="10047" y="2804"/>
                  </a:lnTo>
                  <a:lnTo>
                    <a:pt x="9970" y="2777"/>
                  </a:lnTo>
                  <a:lnTo>
                    <a:pt x="9975" y="2853"/>
                  </a:lnTo>
                  <a:lnTo>
                    <a:pt x="10110" y="2919"/>
                  </a:lnTo>
                  <a:lnTo>
                    <a:pt x="10101" y="2985"/>
                  </a:lnTo>
                  <a:lnTo>
                    <a:pt x="10179" y="3095"/>
                  </a:lnTo>
                  <a:lnTo>
                    <a:pt x="10147" y="3147"/>
                  </a:lnTo>
                  <a:lnTo>
                    <a:pt x="10102" y="3171"/>
                  </a:lnTo>
                  <a:lnTo>
                    <a:pt x="10035" y="3137"/>
                  </a:lnTo>
                  <a:lnTo>
                    <a:pt x="10000" y="3156"/>
                  </a:lnTo>
                  <a:lnTo>
                    <a:pt x="9934" y="3176"/>
                  </a:lnTo>
                  <a:lnTo>
                    <a:pt x="9855" y="3221"/>
                  </a:lnTo>
                  <a:lnTo>
                    <a:pt x="9754" y="3284"/>
                  </a:lnTo>
                  <a:lnTo>
                    <a:pt x="9658" y="3377"/>
                  </a:lnTo>
                  <a:lnTo>
                    <a:pt x="9579" y="3431"/>
                  </a:lnTo>
                  <a:lnTo>
                    <a:pt x="9546" y="3498"/>
                  </a:lnTo>
                  <a:lnTo>
                    <a:pt x="9512" y="3426"/>
                  </a:lnTo>
                  <a:lnTo>
                    <a:pt x="9450" y="3422"/>
                  </a:lnTo>
                  <a:lnTo>
                    <a:pt x="9390" y="3450"/>
                  </a:lnTo>
                  <a:lnTo>
                    <a:pt x="9308" y="3434"/>
                  </a:lnTo>
                  <a:lnTo>
                    <a:pt x="9219" y="3483"/>
                  </a:lnTo>
                  <a:lnTo>
                    <a:pt x="9154" y="3485"/>
                  </a:lnTo>
                  <a:lnTo>
                    <a:pt x="9103" y="3528"/>
                  </a:lnTo>
                  <a:lnTo>
                    <a:pt x="9076" y="3581"/>
                  </a:lnTo>
                  <a:lnTo>
                    <a:pt x="9036" y="3648"/>
                  </a:lnTo>
                  <a:lnTo>
                    <a:pt x="8995" y="3717"/>
                  </a:lnTo>
                  <a:lnTo>
                    <a:pt x="9015" y="3778"/>
                  </a:lnTo>
                  <a:lnTo>
                    <a:pt x="9067" y="3768"/>
                  </a:lnTo>
                  <a:lnTo>
                    <a:pt x="9084" y="3797"/>
                  </a:lnTo>
                  <a:lnTo>
                    <a:pt x="9046" y="3864"/>
                  </a:lnTo>
                  <a:lnTo>
                    <a:pt x="9076" y="3926"/>
                  </a:lnTo>
                  <a:lnTo>
                    <a:pt x="9094" y="3998"/>
                  </a:lnTo>
                  <a:lnTo>
                    <a:pt x="9022" y="3980"/>
                  </a:lnTo>
                  <a:lnTo>
                    <a:pt x="8989" y="4020"/>
                  </a:lnTo>
                  <a:lnTo>
                    <a:pt x="8971" y="4071"/>
                  </a:lnTo>
                  <a:lnTo>
                    <a:pt x="9001" y="4124"/>
                  </a:lnTo>
                  <a:lnTo>
                    <a:pt x="9006" y="4169"/>
                  </a:lnTo>
                  <a:lnTo>
                    <a:pt x="8933" y="4173"/>
                  </a:lnTo>
                  <a:lnTo>
                    <a:pt x="8854" y="4238"/>
                  </a:lnTo>
                  <a:lnTo>
                    <a:pt x="8847" y="4314"/>
                  </a:lnTo>
                  <a:lnTo>
                    <a:pt x="8767" y="4344"/>
                  </a:lnTo>
                  <a:lnTo>
                    <a:pt x="8772" y="4421"/>
                  </a:lnTo>
                  <a:lnTo>
                    <a:pt x="8719" y="4493"/>
                  </a:lnTo>
                  <a:lnTo>
                    <a:pt x="8671" y="4553"/>
                  </a:lnTo>
                  <a:lnTo>
                    <a:pt x="8607" y="4534"/>
                  </a:lnTo>
                  <a:lnTo>
                    <a:pt x="8611" y="4457"/>
                  </a:lnTo>
                  <a:lnTo>
                    <a:pt x="8590" y="4332"/>
                  </a:lnTo>
                  <a:lnTo>
                    <a:pt x="8574" y="4145"/>
                  </a:lnTo>
                  <a:lnTo>
                    <a:pt x="8577" y="4011"/>
                  </a:lnTo>
                  <a:lnTo>
                    <a:pt x="8601" y="3902"/>
                  </a:lnTo>
                  <a:lnTo>
                    <a:pt x="8659" y="3840"/>
                  </a:lnTo>
                  <a:lnTo>
                    <a:pt x="8653" y="3767"/>
                  </a:lnTo>
                  <a:lnTo>
                    <a:pt x="8769" y="3743"/>
                  </a:lnTo>
                  <a:lnTo>
                    <a:pt x="8818" y="3659"/>
                  </a:lnTo>
                  <a:lnTo>
                    <a:pt x="8859" y="3591"/>
                  </a:lnTo>
                  <a:lnTo>
                    <a:pt x="8940" y="3501"/>
                  </a:lnTo>
                  <a:lnTo>
                    <a:pt x="9019" y="3419"/>
                  </a:lnTo>
                  <a:lnTo>
                    <a:pt x="9111" y="3330"/>
                  </a:lnTo>
                  <a:lnTo>
                    <a:pt x="9145" y="3210"/>
                  </a:lnTo>
                  <a:lnTo>
                    <a:pt x="9192" y="3153"/>
                  </a:lnTo>
                  <a:lnTo>
                    <a:pt x="9163" y="3114"/>
                  </a:lnTo>
                  <a:lnTo>
                    <a:pt x="9112" y="3139"/>
                  </a:lnTo>
                  <a:lnTo>
                    <a:pt x="9070" y="3167"/>
                  </a:lnTo>
                  <a:lnTo>
                    <a:pt x="9057" y="3215"/>
                  </a:lnTo>
                  <a:lnTo>
                    <a:pt x="9024" y="3255"/>
                  </a:lnTo>
                  <a:lnTo>
                    <a:pt x="8955" y="3353"/>
                  </a:lnTo>
                  <a:lnTo>
                    <a:pt x="8886" y="3375"/>
                  </a:lnTo>
                  <a:lnTo>
                    <a:pt x="8859" y="3357"/>
                  </a:lnTo>
                  <a:lnTo>
                    <a:pt x="8896" y="3258"/>
                  </a:lnTo>
                  <a:lnTo>
                    <a:pt x="8851" y="3246"/>
                  </a:lnTo>
                  <a:lnTo>
                    <a:pt x="8787" y="3224"/>
                  </a:lnTo>
                  <a:lnTo>
                    <a:pt x="8689" y="3248"/>
                  </a:lnTo>
                  <a:lnTo>
                    <a:pt x="8638" y="3315"/>
                  </a:lnTo>
                  <a:lnTo>
                    <a:pt x="8562" y="3392"/>
                  </a:lnTo>
                  <a:lnTo>
                    <a:pt x="8514" y="3444"/>
                  </a:lnTo>
                  <a:lnTo>
                    <a:pt x="8496" y="3515"/>
                  </a:lnTo>
                  <a:lnTo>
                    <a:pt x="8481" y="3560"/>
                  </a:lnTo>
                  <a:lnTo>
                    <a:pt x="8544" y="3560"/>
                  </a:lnTo>
                  <a:lnTo>
                    <a:pt x="8562" y="3593"/>
                  </a:lnTo>
                  <a:lnTo>
                    <a:pt x="8515" y="3612"/>
                  </a:lnTo>
                  <a:lnTo>
                    <a:pt x="8425" y="3627"/>
                  </a:lnTo>
                  <a:lnTo>
                    <a:pt x="8297" y="3636"/>
                  </a:lnTo>
                  <a:lnTo>
                    <a:pt x="8299" y="3563"/>
                  </a:lnTo>
                  <a:lnTo>
                    <a:pt x="8226" y="3557"/>
                  </a:lnTo>
                  <a:lnTo>
                    <a:pt x="8167" y="3524"/>
                  </a:lnTo>
                  <a:lnTo>
                    <a:pt x="8139" y="3555"/>
                  </a:lnTo>
                  <a:lnTo>
                    <a:pt x="8118" y="3576"/>
                  </a:lnTo>
                  <a:lnTo>
                    <a:pt x="8086" y="3590"/>
                  </a:lnTo>
                  <a:lnTo>
                    <a:pt x="8005" y="3567"/>
                  </a:lnTo>
                  <a:lnTo>
                    <a:pt x="7883" y="3593"/>
                  </a:lnTo>
                  <a:lnTo>
                    <a:pt x="7744" y="3588"/>
                  </a:lnTo>
                  <a:lnTo>
                    <a:pt x="7669" y="3626"/>
                  </a:lnTo>
                  <a:lnTo>
                    <a:pt x="7632" y="3684"/>
                  </a:lnTo>
                  <a:lnTo>
                    <a:pt x="7575" y="3732"/>
                  </a:lnTo>
                  <a:lnTo>
                    <a:pt x="7551" y="3791"/>
                  </a:lnTo>
                  <a:lnTo>
                    <a:pt x="7491" y="3820"/>
                  </a:lnTo>
                  <a:lnTo>
                    <a:pt x="7360" y="3992"/>
                  </a:lnTo>
                  <a:lnTo>
                    <a:pt x="7299" y="4032"/>
                  </a:lnTo>
                  <a:lnTo>
                    <a:pt x="7261" y="4092"/>
                  </a:lnTo>
                  <a:lnTo>
                    <a:pt x="7203" y="4118"/>
                  </a:lnTo>
                  <a:lnTo>
                    <a:pt x="7239" y="4148"/>
                  </a:lnTo>
                  <a:lnTo>
                    <a:pt x="7264" y="4170"/>
                  </a:lnTo>
                  <a:lnTo>
                    <a:pt x="7296" y="4163"/>
                  </a:lnTo>
                  <a:lnTo>
                    <a:pt x="7324" y="4188"/>
                  </a:lnTo>
                  <a:lnTo>
                    <a:pt x="7299" y="4241"/>
                  </a:lnTo>
                  <a:lnTo>
                    <a:pt x="7380" y="4304"/>
                  </a:lnTo>
                  <a:lnTo>
                    <a:pt x="7427" y="4283"/>
                  </a:lnTo>
                  <a:lnTo>
                    <a:pt x="7440" y="4232"/>
                  </a:lnTo>
                  <a:lnTo>
                    <a:pt x="7496" y="4214"/>
                  </a:lnTo>
                  <a:lnTo>
                    <a:pt x="7535" y="4253"/>
                  </a:lnTo>
                  <a:lnTo>
                    <a:pt x="7548" y="4292"/>
                  </a:lnTo>
                  <a:lnTo>
                    <a:pt x="7581" y="4304"/>
                  </a:lnTo>
                  <a:lnTo>
                    <a:pt x="7606" y="4311"/>
                  </a:lnTo>
                  <a:lnTo>
                    <a:pt x="7611" y="4343"/>
                  </a:lnTo>
                  <a:lnTo>
                    <a:pt x="7589" y="4391"/>
                  </a:lnTo>
                  <a:lnTo>
                    <a:pt x="7604" y="4444"/>
                  </a:lnTo>
                  <a:lnTo>
                    <a:pt x="7599" y="4469"/>
                  </a:lnTo>
                  <a:lnTo>
                    <a:pt x="7572" y="4496"/>
                  </a:lnTo>
                  <a:lnTo>
                    <a:pt x="7551" y="4565"/>
                  </a:lnTo>
                  <a:lnTo>
                    <a:pt x="7548" y="4676"/>
                  </a:lnTo>
                  <a:lnTo>
                    <a:pt x="7527" y="4814"/>
                  </a:lnTo>
                  <a:lnTo>
                    <a:pt x="7475" y="4901"/>
                  </a:lnTo>
                  <a:lnTo>
                    <a:pt x="7422" y="4991"/>
                  </a:lnTo>
                  <a:lnTo>
                    <a:pt x="7379" y="5063"/>
                  </a:lnTo>
                  <a:lnTo>
                    <a:pt x="7320" y="5147"/>
                  </a:lnTo>
                  <a:lnTo>
                    <a:pt x="7247" y="5214"/>
                  </a:lnTo>
                  <a:lnTo>
                    <a:pt x="7157" y="5323"/>
                  </a:lnTo>
                  <a:lnTo>
                    <a:pt x="7076" y="5379"/>
                  </a:lnTo>
                  <a:lnTo>
                    <a:pt x="7027" y="5357"/>
                  </a:lnTo>
                  <a:lnTo>
                    <a:pt x="6958" y="5340"/>
                  </a:lnTo>
                  <a:lnTo>
                    <a:pt x="6943" y="5166"/>
                  </a:lnTo>
                  <a:lnTo>
                    <a:pt x="7032" y="5154"/>
                  </a:lnTo>
                  <a:lnTo>
                    <a:pt x="7128" y="5033"/>
                  </a:lnTo>
                  <a:lnTo>
                    <a:pt x="7180" y="4929"/>
                  </a:lnTo>
                  <a:lnTo>
                    <a:pt x="7188" y="4860"/>
                  </a:lnTo>
                  <a:lnTo>
                    <a:pt x="7168" y="4815"/>
                  </a:lnTo>
                  <a:lnTo>
                    <a:pt x="7068" y="4878"/>
                  </a:lnTo>
                  <a:lnTo>
                    <a:pt x="6984" y="4887"/>
                  </a:lnTo>
                  <a:lnTo>
                    <a:pt x="6915" y="4872"/>
                  </a:lnTo>
                  <a:lnTo>
                    <a:pt x="6871" y="4784"/>
                  </a:lnTo>
                  <a:lnTo>
                    <a:pt x="6804" y="4755"/>
                  </a:lnTo>
                  <a:lnTo>
                    <a:pt x="6739" y="4716"/>
                  </a:lnTo>
                  <a:lnTo>
                    <a:pt x="6700" y="4704"/>
                  </a:lnTo>
                  <a:lnTo>
                    <a:pt x="6684" y="4632"/>
                  </a:lnTo>
                  <a:lnTo>
                    <a:pt x="6642" y="4500"/>
                  </a:lnTo>
                  <a:lnTo>
                    <a:pt x="6603" y="4383"/>
                  </a:lnTo>
                  <a:lnTo>
                    <a:pt x="6525" y="4331"/>
                  </a:lnTo>
                  <a:lnTo>
                    <a:pt x="6430" y="4290"/>
                  </a:lnTo>
                  <a:lnTo>
                    <a:pt x="6306" y="4315"/>
                  </a:lnTo>
                  <a:lnTo>
                    <a:pt x="6207" y="4367"/>
                  </a:lnTo>
                  <a:lnTo>
                    <a:pt x="6239" y="4427"/>
                  </a:lnTo>
                  <a:lnTo>
                    <a:pt x="6216" y="4477"/>
                  </a:lnTo>
                  <a:lnTo>
                    <a:pt x="6179" y="4556"/>
                  </a:lnTo>
                  <a:lnTo>
                    <a:pt x="6146" y="4616"/>
                  </a:lnTo>
                  <a:lnTo>
                    <a:pt x="6132" y="4679"/>
                  </a:lnTo>
                  <a:lnTo>
                    <a:pt x="6045" y="4698"/>
                  </a:lnTo>
                  <a:lnTo>
                    <a:pt x="5958" y="4685"/>
                  </a:lnTo>
                  <a:lnTo>
                    <a:pt x="5862" y="4658"/>
                  </a:lnTo>
                  <a:lnTo>
                    <a:pt x="5789" y="4664"/>
                  </a:lnTo>
                  <a:lnTo>
                    <a:pt x="5732" y="4700"/>
                  </a:lnTo>
                  <a:lnTo>
                    <a:pt x="5654" y="4739"/>
                  </a:lnTo>
                  <a:lnTo>
                    <a:pt x="5554" y="4747"/>
                  </a:lnTo>
                  <a:lnTo>
                    <a:pt x="5455" y="4748"/>
                  </a:lnTo>
                  <a:lnTo>
                    <a:pt x="5411" y="4705"/>
                  </a:lnTo>
                  <a:lnTo>
                    <a:pt x="5292" y="4639"/>
                  </a:lnTo>
                  <a:lnTo>
                    <a:pt x="5234" y="4646"/>
                  </a:lnTo>
                  <a:lnTo>
                    <a:pt x="5178" y="4651"/>
                  </a:lnTo>
                  <a:lnTo>
                    <a:pt x="5123" y="4654"/>
                  </a:lnTo>
                  <a:lnTo>
                    <a:pt x="5066" y="4654"/>
                  </a:lnTo>
                  <a:lnTo>
                    <a:pt x="5027" y="4617"/>
                  </a:lnTo>
                  <a:lnTo>
                    <a:pt x="4992" y="4582"/>
                  </a:lnTo>
                  <a:lnTo>
                    <a:pt x="4978" y="4520"/>
                  </a:lnTo>
                  <a:lnTo>
                    <a:pt x="4912" y="4479"/>
                  </a:lnTo>
                  <a:lnTo>
                    <a:pt x="4863" y="4461"/>
                  </a:lnTo>
                  <a:lnTo>
                    <a:pt x="4770" y="4457"/>
                  </a:lnTo>
                  <a:lnTo>
                    <a:pt x="4711" y="4495"/>
                  </a:lnTo>
                  <a:lnTo>
                    <a:pt x="4713" y="4549"/>
                  </a:lnTo>
                  <a:lnTo>
                    <a:pt x="4719" y="4624"/>
                  </a:lnTo>
                  <a:lnTo>
                    <a:pt x="4688" y="4671"/>
                  </a:lnTo>
                  <a:lnTo>
                    <a:pt x="4642" y="4680"/>
                  </a:lnTo>
                  <a:lnTo>
                    <a:pt x="4521" y="4682"/>
                  </a:lnTo>
                  <a:lnTo>
                    <a:pt x="4476" y="4612"/>
                  </a:lnTo>
                  <a:lnTo>
                    <a:pt x="4420" y="4605"/>
                  </a:lnTo>
                  <a:lnTo>
                    <a:pt x="4344" y="4589"/>
                  </a:lnTo>
                  <a:lnTo>
                    <a:pt x="4284" y="4594"/>
                  </a:lnTo>
                  <a:lnTo>
                    <a:pt x="4250" y="4634"/>
                  </a:lnTo>
                  <a:lnTo>
                    <a:pt x="4209" y="4663"/>
                  </a:lnTo>
                  <a:lnTo>
                    <a:pt x="4142" y="4680"/>
                  </a:lnTo>
                  <a:lnTo>
                    <a:pt x="4062" y="4739"/>
                  </a:lnTo>
                  <a:lnTo>
                    <a:pt x="3995" y="4756"/>
                  </a:lnTo>
                  <a:lnTo>
                    <a:pt x="3957" y="4708"/>
                  </a:lnTo>
                  <a:lnTo>
                    <a:pt x="3863" y="4720"/>
                  </a:lnTo>
                  <a:lnTo>
                    <a:pt x="3810" y="4657"/>
                  </a:lnTo>
                  <a:lnTo>
                    <a:pt x="3758" y="4580"/>
                  </a:lnTo>
                  <a:lnTo>
                    <a:pt x="3707" y="4577"/>
                  </a:lnTo>
                  <a:lnTo>
                    <a:pt x="3625" y="4563"/>
                  </a:lnTo>
                  <a:lnTo>
                    <a:pt x="3540" y="4607"/>
                  </a:lnTo>
                  <a:lnTo>
                    <a:pt x="3468" y="4510"/>
                  </a:lnTo>
                  <a:lnTo>
                    <a:pt x="3407" y="4412"/>
                  </a:lnTo>
                  <a:lnTo>
                    <a:pt x="3381" y="4337"/>
                  </a:lnTo>
                  <a:lnTo>
                    <a:pt x="3326" y="4279"/>
                  </a:lnTo>
                  <a:lnTo>
                    <a:pt x="3285" y="4189"/>
                  </a:lnTo>
                  <a:lnTo>
                    <a:pt x="3266" y="4221"/>
                  </a:lnTo>
                  <a:lnTo>
                    <a:pt x="3153" y="4266"/>
                  </a:lnTo>
                  <a:lnTo>
                    <a:pt x="3135" y="4309"/>
                  </a:lnTo>
                  <a:lnTo>
                    <a:pt x="3074" y="4318"/>
                  </a:lnTo>
                  <a:lnTo>
                    <a:pt x="3072" y="4234"/>
                  </a:lnTo>
                  <a:lnTo>
                    <a:pt x="2988" y="4223"/>
                  </a:lnTo>
                  <a:lnTo>
                    <a:pt x="2915" y="4213"/>
                  </a:lnTo>
                  <a:lnTo>
                    <a:pt x="2883" y="4111"/>
                  </a:lnTo>
                  <a:lnTo>
                    <a:pt x="2775" y="4082"/>
                  </a:lnTo>
                  <a:lnTo>
                    <a:pt x="2695" y="4131"/>
                  </a:lnTo>
                  <a:lnTo>
                    <a:pt x="2624" y="4163"/>
                  </a:lnTo>
                  <a:lnTo>
                    <a:pt x="2553" y="4166"/>
                  </a:lnTo>
                  <a:lnTo>
                    <a:pt x="2492" y="4217"/>
                  </a:lnTo>
                  <a:lnTo>
                    <a:pt x="2402" y="4231"/>
                  </a:lnTo>
                  <a:lnTo>
                    <a:pt x="2306" y="4229"/>
                  </a:lnTo>
                  <a:lnTo>
                    <a:pt x="2237" y="4262"/>
                  </a:lnTo>
                  <a:lnTo>
                    <a:pt x="2264" y="4315"/>
                  </a:lnTo>
                  <a:lnTo>
                    <a:pt x="2301" y="4354"/>
                  </a:lnTo>
                  <a:lnTo>
                    <a:pt x="2243" y="4358"/>
                  </a:lnTo>
                  <a:lnTo>
                    <a:pt x="2234" y="4399"/>
                  </a:lnTo>
                  <a:lnTo>
                    <a:pt x="2235" y="4432"/>
                  </a:lnTo>
                  <a:lnTo>
                    <a:pt x="2183" y="4466"/>
                  </a:lnTo>
                  <a:lnTo>
                    <a:pt x="2255" y="4511"/>
                  </a:lnTo>
                  <a:lnTo>
                    <a:pt x="2280" y="4540"/>
                  </a:lnTo>
                  <a:lnTo>
                    <a:pt x="2280" y="4571"/>
                  </a:lnTo>
                  <a:lnTo>
                    <a:pt x="2243" y="4585"/>
                  </a:lnTo>
                  <a:lnTo>
                    <a:pt x="2211" y="4592"/>
                  </a:lnTo>
                  <a:lnTo>
                    <a:pt x="2169" y="4577"/>
                  </a:lnTo>
                  <a:lnTo>
                    <a:pt x="2144" y="4609"/>
                  </a:lnTo>
                  <a:lnTo>
                    <a:pt x="2100" y="4595"/>
                  </a:lnTo>
                  <a:lnTo>
                    <a:pt x="2069" y="4553"/>
                  </a:lnTo>
                  <a:lnTo>
                    <a:pt x="2051" y="4575"/>
                  </a:lnTo>
                  <a:lnTo>
                    <a:pt x="2008" y="4572"/>
                  </a:lnTo>
                  <a:lnTo>
                    <a:pt x="1966" y="4602"/>
                  </a:lnTo>
                  <a:lnTo>
                    <a:pt x="1939" y="4577"/>
                  </a:lnTo>
                  <a:lnTo>
                    <a:pt x="1848" y="4597"/>
                  </a:lnTo>
                  <a:lnTo>
                    <a:pt x="1791" y="4601"/>
                  </a:lnTo>
                  <a:lnTo>
                    <a:pt x="1746" y="4546"/>
                  </a:lnTo>
                  <a:lnTo>
                    <a:pt x="1709" y="4519"/>
                  </a:lnTo>
                  <a:lnTo>
                    <a:pt x="1668" y="4493"/>
                  </a:lnTo>
                  <a:lnTo>
                    <a:pt x="1598" y="4528"/>
                  </a:lnTo>
                  <a:lnTo>
                    <a:pt x="1557" y="4486"/>
                  </a:lnTo>
                  <a:lnTo>
                    <a:pt x="1535" y="4505"/>
                  </a:lnTo>
                  <a:lnTo>
                    <a:pt x="1496" y="4537"/>
                  </a:lnTo>
                  <a:lnTo>
                    <a:pt x="1473" y="4562"/>
                  </a:lnTo>
                  <a:lnTo>
                    <a:pt x="1452" y="4580"/>
                  </a:lnTo>
                  <a:lnTo>
                    <a:pt x="1413" y="4603"/>
                  </a:lnTo>
                  <a:lnTo>
                    <a:pt x="1420" y="4704"/>
                  </a:lnTo>
                  <a:lnTo>
                    <a:pt x="1341" y="4636"/>
                  </a:lnTo>
                  <a:lnTo>
                    <a:pt x="1317" y="4693"/>
                  </a:lnTo>
                  <a:lnTo>
                    <a:pt x="1293" y="4730"/>
                  </a:lnTo>
                  <a:lnTo>
                    <a:pt x="1295" y="4769"/>
                  </a:lnTo>
                  <a:lnTo>
                    <a:pt x="1284" y="4816"/>
                  </a:lnTo>
                  <a:lnTo>
                    <a:pt x="1310" y="4862"/>
                  </a:lnTo>
                  <a:lnTo>
                    <a:pt x="1311" y="4901"/>
                  </a:lnTo>
                  <a:lnTo>
                    <a:pt x="1341" y="4921"/>
                  </a:lnTo>
                  <a:lnTo>
                    <a:pt x="1404" y="4936"/>
                  </a:lnTo>
                  <a:lnTo>
                    <a:pt x="1431" y="4988"/>
                  </a:lnTo>
                  <a:lnTo>
                    <a:pt x="1437" y="5032"/>
                  </a:lnTo>
                  <a:lnTo>
                    <a:pt x="1454" y="5060"/>
                  </a:lnTo>
                  <a:lnTo>
                    <a:pt x="1395" y="5101"/>
                  </a:lnTo>
                  <a:lnTo>
                    <a:pt x="1349" y="5146"/>
                  </a:lnTo>
                  <a:lnTo>
                    <a:pt x="1305" y="5210"/>
                  </a:lnTo>
                  <a:lnTo>
                    <a:pt x="1341" y="5275"/>
                  </a:lnTo>
                  <a:lnTo>
                    <a:pt x="1341" y="5353"/>
                  </a:lnTo>
                  <a:lnTo>
                    <a:pt x="1380" y="5402"/>
                  </a:lnTo>
                  <a:lnTo>
                    <a:pt x="1416" y="5465"/>
                  </a:lnTo>
                  <a:lnTo>
                    <a:pt x="1344" y="5516"/>
                  </a:lnTo>
                  <a:lnTo>
                    <a:pt x="1292" y="5482"/>
                  </a:lnTo>
                  <a:lnTo>
                    <a:pt x="1236" y="5417"/>
                  </a:lnTo>
                  <a:lnTo>
                    <a:pt x="1168" y="5381"/>
                  </a:lnTo>
                  <a:lnTo>
                    <a:pt x="1085" y="5389"/>
                  </a:lnTo>
                  <a:lnTo>
                    <a:pt x="1040" y="5330"/>
                  </a:lnTo>
                  <a:lnTo>
                    <a:pt x="971" y="5336"/>
                  </a:lnTo>
                  <a:lnTo>
                    <a:pt x="876" y="5321"/>
                  </a:lnTo>
                  <a:lnTo>
                    <a:pt x="803" y="5293"/>
                  </a:lnTo>
                  <a:lnTo>
                    <a:pt x="753" y="5237"/>
                  </a:lnTo>
                  <a:lnTo>
                    <a:pt x="699" y="5206"/>
                  </a:lnTo>
                  <a:lnTo>
                    <a:pt x="650" y="5176"/>
                  </a:lnTo>
                  <a:lnTo>
                    <a:pt x="648" y="5149"/>
                  </a:lnTo>
                  <a:lnTo>
                    <a:pt x="680" y="5135"/>
                  </a:lnTo>
                  <a:lnTo>
                    <a:pt x="696" y="5090"/>
                  </a:lnTo>
                  <a:lnTo>
                    <a:pt x="705" y="5059"/>
                  </a:lnTo>
                  <a:lnTo>
                    <a:pt x="695" y="5016"/>
                  </a:lnTo>
                  <a:lnTo>
                    <a:pt x="732" y="4994"/>
                  </a:lnTo>
                  <a:lnTo>
                    <a:pt x="794" y="4982"/>
                  </a:lnTo>
                  <a:lnTo>
                    <a:pt x="734" y="4930"/>
                  </a:lnTo>
                  <a:lnTo>
                    <a:pt x="818" y="4892"/>
                  </a:lnTo>
                  <a:lnTo>
                    <a:pt x="834" y="4852"/>
                  </a:lnTo>
                  <a:lnTo>
                    <a:pt x="824" y="4814"/>
                  </a:lnTo>
                  <a:lnTo>
                    <a:pt x="825" y="4774"/>
                  </a:lnTo>
                  <a:lnTo>
                    <a:pt x="825" y="4750"/>
                  </a:lnTo>
                  <a:lnTo>
                    <a:pt x="836" y="4717"/>
                  </a:lnTo>
                  <a:lnTo>
                    <a:pt x="809" y="4702"/>
                  </a:lnTo>
                  <a:lnTo>
                    <a:pt x="777" y="4705"/>
                  </a:lnTo>
                  <a:lnTo>
                    <a:pt x="746" y="4691"/>
                  </a:lnTo>
                  <a:lnTo>
                    <a:pt x="707" y="4688"/>
                  </a:lnTo>
                  <a:lnTo>
                    <a:pt x="690" y="4667"/>
                  </a:lnTo>
                  <a:lnTo>
                    <a:pt x="671" y="4640"/>
                  </a:lnTo>
                  <a:lnTo>
                    <a:pt x="629" y="4630"/>
                  </a:lnTo>
                  <a:lnTo>
                    <a:pt x="590" y="4627"/>
                  </a:lnTo>
                  <a:lnTo>
                    <a:pt x="555" y="4588"/>
                  </a:lnTo>
                  <a:lnTo>
                    <a:pt x="500" y="4552"/>
                  </a:lnTo>
                  <a:lnTo>
                    <a:pt x="449" y="4526"/>
                  </a:lnTo>
                  <a:lnTo>
                    <a:pt x="459" y="4475"/>
                  </a:lnTo>
                  <a:lnTo>
                    <a:pt x="429" y="4427"/>
                  </a:lnTo>
                  <a:lnTo>
                    <a:pt x="399" y="4421"/>
                  </a:lnTo>
                  <a:lnTo>
                    <a:pt x="354" y="4451"/>
                  </a:lnTo>
                  <a:lnTo>
                    <a:pt x="290" y="4451"/>
                  </a:lnTo>
                  <a:lnTo>
                    <a:pt x="269" y="4412"/>
                  </a:lnTo>
                  <a:lnTo>
                    <a:pt x="255" y="4364"/>
                  </a:lnTo>
                  <a:lnTo>
                    <a:pt x="306" y="4346"/>
                  </a:lnTo>
                  <a:lnTo>
                    <a:pt x="350" y="4327"/>
                  </a:lnTo>
                  <a:lnTo>
                    <a:pt x="329" y="4291"/>
                  </a:lnTo>
                  <a:lnTo>
                    <a:pt x="297" y="4270"/>
                  </a:lnTo>
                  <a:lnTo>
                    <a:pt x="290" y="4237"/>
                  </a:lnTo>
                  <a:lnTo>
                    <a:pt x="276" y="4214"/>
                  </a:lnTo>
                  <a:lnTo>
                    <a:pt x="251" y="4183"/>
                  </a:lnTo>
                  <a:lnTo>
                    <a:pt x="230" y="4159"/>
                  </a:lnTo>
                  <a:lnTo>
                    <a:pt x="219" y="4124"/>
                  </a:lnTo>
                  <a:lnTo>
                    <a:pt x="233" y="4076"/>
                  </a:lnTo>
                  <a:lnTo>
                    <a:pt x="209" y="4045"/>
                  </a:lnTo>
                  <a:lnTo>
                    <a:pt x="165" y="4025"/>
                  </a:lnTo>
                  <a:lnTo>
                    <a:pt x="87" y="4006"/>
                  </a:lnTo>
                  <a:lnTo>
                    <a:pt x="29" y="3979"/>
                  </a:lnTo>
                  <a:lnTo>
                    <a:pt x="27" y="3866"/>
                  </a:lnTo>
                  <a:lnTo>
                    <a:pt x="0" y="3812"/>
                  </a:lnTo>
                  <a:lnTo>
                    <a:pt x="20" y="3743"/>
                  </a:lnTo>
                  <a:lnTo>
                    <a:pt x="21" y="3671"/>
                  </a:lnTo>
                  <a:lnTo>
                    <a:pt x="33" y="3617"/>
                  </a:lnTo>
                  <a:lnTo>
                    <a:pt x="47" y="3568"/>
                  </a:lnTo>
                  <a:lnTo>
                    <a:pt x="62" y="3545"/>
                  </a:lnTo>
                  <a:lnTo>
                    <a:pt x="123" y="3530"/>
                  </a:lnTo>
                  <a:lnTo>
                    <a:pt x="161" y="3524"/>
                  </a:lnTo>
                  <a:lnTo>
                    <a:pt x="158" y="3484"/>
                  </a:lnTo>
                  <a:lnTo>
                    <a:pt x="76" y="3428"/>
                  </a:lnTo>
                  <a:lnTo>
                    <a:pt x="99" y="3377"/>
                  </a:lnTo>
                  <a:lnTo>
                    <a:pt x="139" y="3314"/>
                  </a:lnTo>
                  <a:lnTo>
                    <a:pt x="166" y="3272"/>
                  </a:lnTo>
                  <a:lnTo>
                    <a:pt x="204" y="3204"/>
                  </a:lnTo>
                  <a:lnTo>
                    <a:pt x="252" y="3149"/>
                  </a:lnTo>
                  <a:lnTo>
                    <a:pt x="273" y="3074"/>
                  </a:lnTo>
                  <a:lnTo>
                    <a:pt x="237" y="3029"/>
                  </a:lnTo>
                  <a:lnTo>
                    <a:pt x="202" y="3002"/>
                  </a:lnTo>
                  <a:lnTo>
                    <a:pt x="189" y="2963"/>
                  </a:lnTo>
                  <a:lnTo>
                    <a:pt x="216" y="2904"/>
                  </a:lnTo>
                  <a:lnTo>
                    <a:pt x="174" y="2790"/>
                  </a:lnTo>
                  <a:lnTo>
                    <a:pt x="165" y="2693"/>
                  </a:lnTo>
                  <a:lnTo>
                    <a:pt x="183" y="2618"/>
                  </a:lnTo>
                  <a:lnTo>
                    <a:pt x="132" y="2514"/>
                  </a:lnTo>
                  <a:lnTo>
                    <a:pt x="172" y="2330"/>
                  </a:lnTo>
                  <a:lnTo>
                    <a:pt x="99" y="2240"/>
                  </a:lnTo>
                  <a:lnTo>
                    <a:pt x="106" y="2180"/>
                  </a:lnTo>
                  <a:lnTo>
                    <a:pt x="117" y="2064"/>
                  </a:lnTo>
                  <a:lnTo>
                    <a:pt x="142" y="2012"/>
                  </a:lnTo>
                  <a:lnTo>
                    <a:pt x="180" y="1965"/>
                  </a:lnTo>
                  <a:lnTo>
                    <a:pt x="183" y="1928"/>
                  </a:lnTo>
                  <a:lnTo>
                    <a:pt x="228" y="1934"/>
                  </a:lnTo>
                  <a:lnTo>
                    <a:pt x="272" y="1945"/>
                  </a:lnTo>
                  <a:lnTo>
                    <a:pt x="312" y="1910"/>
                  </a:lnTo>
                  <a:lnTo>
                    <a:pt x="366" y="1939"/>
                  </a:lnTo>
                  <a:lnTo>
                    <a:pt x="380" y="1963"/>
                  </a:lnTo>
                  <a:lnTo>
                    <a:pt x="365" y="2002"/>
                  </a:lnTo>
                  <a:lnTo>
                    <a:pt x="428" y="2030"/>
                  </a:lnTo>
                  <a:lnTo>
                    <a:pt x="558" y="2066"/>
                  </a:lnTo>
                  <a:lnTo>
                    <a:pt x="659" y="2134"/>
                  </a:lnTo>
                  <a:lnTo>
                    <a:pt x="768" y="2219"/>
                  </a:lnTo>
                  <a:lnTo>
                    <a:pt x="890" y="2309"/>
                  </a:lnTo>
                  <a:lnTo>
                    <a:pt x="926" y="2410"/>
                  </a:lnTo>
                  <a:lnTo>
                    <a:pt x="924" y="2488"/>
                  </a:lnTo>
                  <a:lnTo>
                    <a:pt x="872" y="2557"/>
                  </a:lnTo>
                  <a:lnTo>
                    <a:pt x="795" y="2602"/>
                  </a:lnTo>
                  <a:lnTo>
                    <a:pt x="645" y="2585"/>
                  </a:lnTo>
                  <a:lnTo>
                    <a:pt x="524" y="2537"/>
                  </a:lnTo>
                  <a:lnTo>
                    <a:pt x="420" y="2486"/>
                  </a:lnTo>
                  <a:lnTo>
                    <a:pt x="338" y="2435"/>
                  </a:lnTo>
                  <a:lnTo>
                    <a:pt x="332" y="2456"/>
                  </a:lnTo>
                  <a:lnTo>
                    <a:pt x="386" y="2525"/>
                  </a:lnTo>
                  <a:lnTo>
                    <a:pt x="414" y="2566"/>
                  </a:lnTo>
                  <a:lnTo>
                    <a:pt x="494" y="2641"/>
                  </a:lnTo>
                  <a:lnTo>
                    <a:pt x="495" y="2699"/>
                  </a:lnTo>
                  <a:lnTo>
                    <a:pt x="471" y="2725"/>
                  </a:lnTo>
                  <a:lnTo>
                    <a:pt x="489" y="2758"/>
                  </a:lnTo>
                  <a:lnTo>
                    <a:pt x="488" y="2819"/>
                  </a:lnTo>
                  <a:lnTo>
                    <a:pt x="519" y="2881"/>
                  </a:lnTo>
                  <a:lnTo>
                    <a:pt x="567" y="2897"/>
                  </a:lnTo>
                  <a:lnTo>
                    <a:pt x="608" y="2957"/>
                  </a:lnTo>
                  <a:lnTo>
                    <a:pt x="684" y="2968"/>
                  </a:lnTo>
                  <a:lnTo>
                    <a:pt x="689" y="2880"/>
                  </a:lnTo>
                  <a:lnTo>
                    <a:pt x="648" y="2786"/>
                  </a:lnTo>
                  <a:lnTo>
                    <a:pt x="722" y="2720"/>
                  </a:lnTo>
                  <a:lnTo>
                    <a:pt x="811" y="2761"/>
                  </a:lnTo>
                  <a:lnTo>
                    <a:pt x="901" y="2794"/>
                  </a:lnTo>
                  <a:lnTo>
                    <a:pt x="892" y="2670"/>
                  </a:lnTo>
                  <a:lnTo>
                    <a:pt x="958" y="2585"/>
                  </a:lnTo>
                  <a:lnTo>
                    <a:pt x="1040" y="2509"/>
                  </a:lnTo>
                  <a:lnTo>
                    <a:pt x="1089" y="2459"/>
                  </a:lnTo>
                  <a:lnTo>
                    <a:pt x="1153" y="2543"/>
                  </a:lnTo>
                  <a:lnTo>
                    <a:pt x="1202" y="2476"/>
                  </a:lnTo>
                  <a:lnTo>
                    <a:pt x="1153" y="2417"/>
                  </a:lnTo>
                  <a:lnTo>
                    <a:pt x="1153" y="2324"/>
                  </a:lnTo>
                  <a:lnTo>
                    <a:pt x="1186" y="2241"/>
                  </a:lnTo>
                  <a:lnTo>
                    <a:pt x="1137" y="2191"/>
                  </a:lnTo>
                  <a:lnTo>
                    <a:pt x="1159" y="2113"/>
                  </a:lnTo>
                  <a:lnTo>
                    <a:pt x="1244" y="2132"/>
                  </a:lnTo>
                  <a:lnTo>
                    <a:pt x="1337" y="2175"/>
                  </a:lnTo>
                  <a:lnTo>
                    <a:pt x="1358" y="2249"/>
                  </a:lnTo>
                  <a:lnTo>
                    <a:pt x="1309" y="2308"/>
                  </a:lnTo>
                  <a:lnTo>
                    <a:pt x="1244" y="2316"/>
                  </a:lnTo>
                  <a:lnTo>
                    <a:pt x="1276" y="2383"/>
                  </a:lnTo>
                  <a:lnTo>
                    <a:pt x="1316" y="2425"/>
                  </a:lnTo>
                  <a:lnTo>
                    <a:pt x="1397" y="2401"/>
                  </a:lnTo>
                  <a:lnTo>
                    <a:pt x="1431" y="2308"/>
                  </a:lnTo>
                  <a:lnTo>
                    <a:pt x="1520" y="2215"/>
                  </a:lnTo>
                  <a:lnTo>
                    <a:pt x="1651" y="2148"/>
                  </a:lnTo>
                  <a:lnTo>
                    <a:pt x="1723" y="2064"/>
                  </a:lnTo>
                  <a:lnTo>
                    <a:pt x="1805" y="2047"/>
                  </a:lnTo>
                  <a:lnTo>
                    <a:pt x="1789" y="2174"/>
                  </a:lnTo>
                  <a:lnTo>
                    <a:pt x="1854" y="2191"/>
                  </a:lnTo>
                  <a:lnTo>
                    <a:pt x="1928" y="2157"/>
                  </a:lnTo>
                  <a:lnTo>
                    <a:pt x="2051" y="2072"/>
                  </a:lnTo>
                  <a:lnTo>
                    <a:pt x="2139" y="2064"/>
                  </a:lnTo>
                  <a:lnTo>
                    <a:pt x="2203" y="2115"/>
                  </a:lnTo>
                  <a:lnTo>
                    <a:pt x="2238" y="2061"/>
                  </a:lnTo>
                  <a:lnTo>
                    <a:pt x="2191" y="1970"/>
                  </a:lnTo>
                  <a:lnTo>
                    <a:pt x="2082" y="1869"/>
                  </a:lnTo>
                  <a:lnTo>
                    <a:pt x="2116" y="1808"/>
                  </a:lnTo>
                  <a:lnTo>
                    <a:pt x="2185" y="1859"/>
                  </a:lnTo>
                  <a:lnTo>
                    <a:pt x="2256" y="1928"/>
                  </a:lnTo>
                  <a:lnTo>
                    <a:pt x="2338" y="1929"/>
                  </a:lnTo>
                  <a:lnTo>
                    <a:pt x="2413" y="1956"/>
                  </a:lnTo>
                  <a:lnTo>
                    <a:pt x="2490" y="1989"/>
                  </a:lnTo>
                  <a:lnTo>
                    <a:pt x="2553" y="2052"/>
                  </a:lnTo>
                  <a:lnTo>
                    <a:pt x="2652" y="2090"/>
                  </a:lnTo>
                  <a:lnTo>
                    <a:pt x="2682" y="2147"/>
                  </a:lnTo>
                  <a:lnTo>
                    <a:pt x="2743" y="2223"/>
                  </a:lnTo>
                  <a:lnTo>
                    <a:pt x="2792" y="2115"/>
                  </a:lnTo>
                  <a:lnTo>
                    <a:pt x="2739" y="2072"/>
                  </a:lnTo>
                  <a:lnTo>
                    <a:pt x="2722" y="2016"/>
                  </a:lnTo>
                  <a:lnTo>
                    <a:pt x="2693" y="1972"/>
                  </a:lnTo>
                  <a:lnTo>
                    <a:pt x="2646" y="1938"/>
                  </a:lnTo>
                  <a:lnTo>
                    <a:pt x="2660" y="1881"/>
                  </a:lnTo>
                  <a:lnTo>
                    <a:pt x="2677" y="1779"/>
                  </a:lnTo>
                  <a:lnTo>
                    <a:pt x="2623" y="1650"/>
                  </a:lnTo>
                  <a:lnTo>
                    <a:pt x="2709" y="1552"/>
                  </a:lnTo>
                  <a:lnTo>
                    <a:pt x="2784" y="1426"/>
                  </a:lnTo>
                  <a:lnTo>
                    <a:pt x="2800" y="1250"/>
                  </a:lnTo>
                  <a:lnTo>
                    <a:pt x="2877" y="1131"/>
                  </a:lnTo>
                  <a:lnTo>
                    <a:pt x="2962" y="1176"/>
                  </a:lnTo>
                  <a:lnTo>
                    <a:pt x="2961" y="1238"/>
                  </a:lnTo>
                  <a:lnTo>
                    <a:pt x="3048" y="1361"/>
                  </a:lnTo>
                  <a:lnTo>
                    <a:pt x="3000" y="1560"/>
                  </a:lnTo>
                  <a:lnTo>
                    <a:pt x="2971" y="1611"/>
                  </a:lnTo>
                  <a:lnTo>
                    <a:pt x="3027" y="1689"/>
                  </a:lnTo>
                  <a:lnTo>
                    <a:pt x="3039" y="1793"/>
                  </a:lnTo>
                  <a:lnTo>
                    <a:pt x="3010" y="1854"/>
                  </a:lnTo>
                  <a:lnTo>
                    <a:pt x="3044" y="2005"/>
                  </a:lnTo>
                  <a:lnTo>
                    <a:pt x="3024" y="2070"/>
                  </a:lnTo>
                  <a:lnTo>
                    <a:pt x="3085" y="2132"/>
                  </a:lnTo>
                  <a:lnTo>
                    <a:pt x="3092" y="2249"/>
                  </a:lnTo>
                  <a:lnTo>
                    <a:pt x="3036" y="2351"/>
                  </a:lnTo>
                  <a:lnTo>
                    <a:pt x="2946" y="2442"/>
                  </a:lnTo>
                  <a:lnTo>
                    <a:pt x="2874" y="2495"/>
                  </a:lnTo>
                  <a:lnTo>
                    <a:pt x="2865" y="2518"/>
                  </a:lnTo>
                  <a:lnTo>
                    <a:pt x="2877" y="2553"/>
                  </a:lnTo>
                  <a:lnTo>
                    <a:pt x="2932" y="2561"/>
                  </a:lnTo>
                  <a:lnTo>
                    <a:pt x="2997" y="2561"/>
                  </a:lnTo>
                  <a:lnTo>
                    <a:pt x="3016" y="2498"/>
                  </a:lnTo>
                  <a:lnTo>
                    <a:pt x="3109" y="2442"/>
                  </a:lnTo>
                  <a:lnTo>
                    <a:pt x="3165" y="2324"/>
                  </a:lnTo>
                  <a:lnTo>
                    <a:pt x="3182" y="2249"/>
                  </a:lnTo>
                  <a:lnTo>
                    <a:pt x="3149" y="2148"/>
                  </a:lnTo>
                  <a:lnTo>
                    <a:pt x="3182" y="2115"/>
                  </a:lnTo>
                  <a:lnTo>
                    <a:pt x="3252" y="2082"/>
                  </a:lnTo>
                  <a:lnTo>
                    <a:pt x="3231" y="2040"/>
                  </a:lnTo>
                  <a:lnTo>
                    <a:pt x="3114" y="2073"/>
                  </a:lnTo>
                  <a:lnTo>
                    <a:pt x="3117" y="1972"/>
                  </a:lnTo>
                  <a:lnTo>
                    <a:pt x="3126" y="1837"/>
                  </a:lnTo>
                  <a:lnTo>
                    <a:pt x="3134" y="1762"/>
                  </a:lnTo>
                  <a:lnTo>
                    <a:pt x="3064" y="1605"/>
                  </a:lnTo>
                  <a:lnTo>
                    <a:pt x="3092" y="1560"/>
                  </a:lnTo>
                  <a:lnTo>
                    <a:pt x="3117" y="1460"/>
                  </a:lnTo>
                  <a:lnTo>
                    <a:pt x="3165" y="1418"/>
                  </a:lnTo>
                  <a:lnTo>
                    <a:pt x="3171" y="1346"/>
                  </a:lnTo>
                  <a:lnTo>
                    <a:pt x="3145" y="1271"/>
                  </a:lnTo>
                  <a:lnTo>
                    <a:pt x="3126" y="1239"/>
                  </a:lnTo>
                  <a:lnTo>
                    <a:pt x="3162" y="1226"/>
                  </a:lnTo>
                  <a:lnTo>
                    <a:pt x="3220" y="1331"/>
                  </a:lnTo>
                  <a:lnTo>
                    <a:pt x="3238" y="1419"/>
                  </a:lnTo>
                  <a:lnTo>
                    <a:pt x="3208" y="1484"/>
                  </a:lnTo>
                  <a:lnTo>
                    <a:pt x="3216" y="1547"/>
                  </a:lnTo>
                  <a:lnTo>
                    <a:pt x="3213" y="1611"/>
                  </a:lnTo>
                  <a:lnTo>
                    <a:pt x="3270" y="1643"/>
                  </a:lnTo>
                  <a:lnTo>
                    <a:pt x="3327" y="1652"/>
                  </a:lnTo>
                  <a:lnTo>
                    <a:pt x="3406" y="1707"/>
                  </a:lnTo>
                  <a:lnTo>
                    <a:pt x="3427" y="1667"/>
                  </a:lnTo>
                  <a:lnTo>
                    <a:pt x="3369" y="1626"/>
                  </a:lnTo>
                  <a:lnTo>
                    <a:pt x="3292" y="1593"/>
                  </a:lnTo>
                  <a:lnTo>
                    <a:pt x="3264" y="1541"/>
                  </a:lnTo>
                  <a:lnTo>
                    <a:pt x="3258" y="1494"/>
                  </a:lnTo>
                  <a:lnTo>
                    <a:pt x="3288" y="1469"/>
                  </a:lnTo>
                  <a:lnTo>
                    <a:pt x="3328" y="1478"/>
                  </a:lnTo>
                  <a:lnTo>
                    <a:pt x="3363" y="1512"/>
                  </a:lnTo>
                  <a:lnTo>
                    <a:pt x="3402" y="1487"/>
                  </a:lnTo>
                  <a:lnTo>
                    <a:pt x="3363" y="1457"/>
                  </a:lnTo>
                  <a:lnTo>
                    <a:pt x="3361" y="1419"/>
                  </a:lnTo>
                  <a:lnTo>
                    <a:pt x="3310" y="1403"/>
                  </a:lnTo>
                  <a:lnTo>
                    <a:pt x="3354" y="1350"/>
                  </a:lnTo>
                  <a:lnTo>
                    <a:pt x="3409" y="1356"/>
                  </a:lnTo>
                  <a:lnTo>
                    <a:pt x="3477" y="1397"/>
                  </a:lnTo>
                  <a:lnTo>
                    <a:pt x="3565" y="1469"/>
                  </a:lnTo>
                  <a:lnTo>
                    <a:pt x="3636" y="1550"/>
                  </a:lnTo>
                  <a:lnTo>
                    <a:pt x="3690" y="1541"/>
                  </a:lnTo>
                  <a:lnTo>
                    <a:pt x="3696" y="1493"/>
                  </a:lnTo>
                  <a:lnTo>
                    <a:pt x="3676" y="1445"/>
                  </a:lnTo>
                  <a:lnTo>
                    <a:pt x="3585" y="1379"/>
                  </a:lnTo>
                  <a:lnTo>
                    <a:pt x="3582" y="1324"/>
                  </a:lnTo>
                  <a:lnTo>
                    <a:pt x="3565" y="1149"/>
                  </a:lnTo>
                  <a:lnTo>
                    <a:pt x="3651" y="1106"/>
                  </a:lnTo>
                  <a:lnTo>
                    <a:pt x="3756" y="1116"/>
                  </a:lnTo>
                  <a:lnTo>
                    <a:pt x="3886" y="1077"/>
                  </a:lnTo>
                  <a:lnTo>
                    <a:pt x="3988" y="1039"/>
                  </a:lnTo>
                  <a:lnTo>
                    <a:pt x="3914" y="964"/>
                  </a:lnTo>
                  <a:lnTo>
                    <a:pt x="3908" y="881"/>
                  </a:lnTo>
                  <a:lnTo>
                    <a:pt x="3924" y="804"/>
                  </a:lnTo>
                  <a:lnTo>
                    <a:pt x="3996" y="713"/>
                  </a:lnTo>
                  <a:lnTo>
                    <a:pt x="4056" y="717"/>
                  </a:lnTo>
                  <a:lnTo>
                    <a:pt x="4104" y="674"/>
                  </a:lnTo>
                  <a:lnTo>
                    <a:pt x="4218" y="611"/>
                  </a:lnTo>
                  <a:lnTo>
                    <a:pt x="4314" y="576"/>
                  </a:lnTo>
                  <a:lnTo>
                    <a:pt x="4399" y="548"/>
                  </a:lnTo>
                  <a:lnTo>
                    <a:pt x="4363" y="510"/>
                  </a:lnTo>
                  <a:lnTo>
                    <a:pt x="4413" y="473"/>
                  </a:lnTo>
                  <a:lnTo>
                    <a:pt x="4495" y="452"/>
                  </a:lnTo>
                  <a:lnTo>
                    <a:pt x="4566" y="416"/>
                  </a:lnTo>
                  <a:lnTo>
                    <a:pt x="4647" y="402"/>
                  </a:lnTo>
                  <a:lnTo>
                    <a:pt x="4657" y="449"/>
                  </a:lnTo>
                  <a:lnTo>
                    <a:pt x="4620" y="504"/>
                  </a:lnTo>
                  <a:lnTo>
                    <a:pt x="4701" y="485"/>
                  </a:lnTo>
                  <a:lnTo>
                    <a:pt x="4773" y="434"/>
                  </a:lnTo>
                  <a:lnTo>
                    <a:pt x="4762" y="360"/>
                  </a:lnTo>
                  <a:lnTo>
                    <a:pt x="4812" y="359"/>
                  </a:lnTo>
                  <a:lnTo>
                    <a:pt x="4887" y="372"/>
                  </a:lnTo>
                  <a:lnTo>
                    <a:pt x="4947" y="344"/>
                  </a:lnTo>
                  <a:lnTo>
                    <a:pt x="4917" y="279"/>
                  </a:lnTo>
                  <a:lnTo>
                    <a:pt x="4929" y="234"/>
                  </a:lnTo>
                  <a:lnTo>
                    <a:pt x="4969" y="141"/>
                  </a:lnTo>
                  <a:lnTo>
                    <a:pt x="5061" y="54"/>
                  </a:lnTo>
                  <a:lnTo>
                    <a:pt x="5143"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 name="Freeform 6">
              <a:extLst>
                <a:ext uri="{FF2B5EF4-FFF2-40B4-BE49-F238E27FC236}">
                  <a16:creationId xmlns:a16="http://schemas.microsoft.com/office/drawing/2014/main" id="{E7C2CA34-46F7-72B2-569E-6CAF2526BCAA}"/>
                </a:ext>
              </a:extLst>
            </p:cNvPr>
            <p:cNvSpPr>
              <a:spLocks/>
            </p:cNvSpPr>
            <p:nvPr/>
          </p:nvSpPr>
          <p:spPr bwMode="auto">
            <a:xfrm>
              <a:off x="5676581" y="2375499"/>
              <a:ext cx="1035345" cy="571582"/>
            </a:xfrm>
            <a:custGeom>
              <a:avLst/>
              <a:gdLst>
                <a:gd name="T0" fmla="*/ 2147483647 w 2709"/>
                <a:gd name="T1" fmla="*/ 2147483647 h 1449"/>
                <a:gd name="T2" fmla="*/ 2147483647 w 2709"/>
                <a:gd name="T3" fmla="*/ 2147483647 h 1449"/>
                <a:gd name="T4" fmla="*/ 2147483647 w 2709"/>
                <a:gd name="T5" fmla="*/ 2147483647 h 1449"/>
                <a:gd name="T6" fmla="*/ 2147483647 w 2709"/>
                <a:gd name="T7" fmla="*/ 2147483647 h 1449"/>
                <a:gd name="T8" fmla="*/ 2147483647 w 2709"/>
                <a:gd name="T9" fmla="*/ 2147483647 h 1449"/>
                <a:gd name="T10" fmla="*/ 2147483647 w 2709"/>
                <a:gd name="T11" fmla="*/ 2147483647 h 1449"/>
                <a:gd name="T12" fmla="*/ 2147483647 w 2709"/>
                <a:gd name="T13" fmla="*/ 2147483647 h 1449"/>
                <a:gd name="T14" fmla="*/ 2147483647 w 2709"/>
                <a:gd name="T15" fmla="*/ 2147483647 h 1449"/>
                <a:gd name="T16" fmla="*/ 2147483647 w 2709"/>
                <a:gd name="T17" fmla="*/ 2147483647 h 1449"/>
                <a:gd name="T18" fmla="*/ 2147483647 w 2709"/>
                <a:gd name="T19" fmla="*/ 2147483647 h 1449"/>
                <a:gd name="T20" fmla="*/ 2147483647 w 2709"/>
                <a:gd name="T21" fmla="*/ 2147483647 h 1449"/>
                <a:gd name="T22" fmla="*/ 2147483647 w 2709"/>
                <a:gd name="T23" fmla="*/ 2147483647 h 1449"/>
                <a:gd name="T24" fmla="*/ 2147483647 w 2709"/>
                <a:gd name="T25" fmla="*/ 2147483647 h 1449"/>
                <a:gd name="T26" fmla="*/ 2147483647 w 2709"/>
                <a:gd name="T27" fmla="*/ 2147483647 h 1449"/>
                <a:gd name="T28" fmla="*/ 2147483647 w 2709"/>
                <a:gd name="T29" fmla="*/ 2147483647 h 1449"/>
                <a:gd name="T30" fmla="*/ 2147483647 w 2709"/>
                <a:gd name="T31" fmla="*/ 2147483647 h 1449"/>
                <a:gd name="T32" fmla="*/ 2147483647 w 2709"/>
                <a:gd name="T33" fmla="*/ 2147483647 h 1449"/>
                <a:gd name="T34" fmla="*/ 2147483647 w 2709"/>
                <a:gd name="T35" fmla="*/ 2147483647 h 1449"/>
                <a:gd name="T36" fmla="*/ 2147483647 w 2709"/>
                <a:gd name="T37" fmla="*/ 2147483647 h 1449"/>
                <a:gd name="T38" fmla="*/ 2147483647 w 2709"/>
                <a:gd name="T39" fmla="*/ 2147483647 h 1449"/>
                <a:gd name="T40" fmla="*/ 2147483647 w 2709"/>
                <a:gd name="T41" fmla="*/ 2147483647 h 1449"/>
                <a:gd name="T42" fmla="*/ 2147483647 w 2709"/>
                <a:gd name="T43" fmla="*/ 2147483647 h 1449"/>
                <a:gd name="T44" fmla="*/ 2147483647 w 2709"/>
                <a:gd name="T45" fmla="*/ 2147483647 h 1449"/>
                <a:gd name="T46" fmla="*/ 2147483647 w 2709"/>
                <a:gd name="T47" fmla="*/ 2147483647 h 1449"/>
                <a:gd name="T48" fmla="*/ 2147483647 w 2709"/>
                <a:gd name="T49" fmla="*/ 2147483647 h 1449"/>
                <a:gd name="T50" fmla="*/ 2147483647 w 2709"/>
                <a:gd name="T51" fmla="*/ 2147483647 h 1449"/>
                <a:gd name="T52" fmla="*/ 2147483647 w 2709"/>
                <a:gd name="T53" fmla="*/ 2147483647 h 1449"/>
                <a:gd name="T54" fmla="*/ 2147483647 w 2709"/>
                <a:gd name="T55" fmla="*/ 2147483647 h 1449"/>
                <a:gd name="T56" fmla="*/ 2147483647 w 2709"/>
                <a:gd name="T57" fmla="*/ 2147483647 h 1449"/>
                <a:gd name="T58" fmla="*/ 2147483647 w 2709"/>
                <a:gd name="T59" fmla="*/ 2147483647 h 1449"/>
                <a:gd name="T60" fmla="*/ 2147483647 w 2709"/>
                <a:gd name="T61" fmla="*/ 2147483647 h 1449"/>
                <a:gd name="T62" fmla="*/ 2147483647 w 2709"/>
                <a:gd name="T63" fmla="*/ 2147483647 h 1449"/>
                <a:gd name="T64" fmla="*/ 2147483647 w 2709"/>
                <a:gd name="T65" fmla="*/ 2147483647 h 1449"/>
                <a:gd name="T66" fmla="*/ 2147483647 w 2709"/>
                <a:gd name="T67" fmla="*/ 2147483647 h 1449"/>
                <a:gd name="T68" fmla="*/ 2147483647 w 2709"/>
                <a:gd name="T69" fmla="*/ 2147483647 h 1449"/>
                <a:gd name="T70" fmla="*/ 2147483647 w 2709"/>
                <a:gd name="T71" fmla="*/ 2147483647 h 1449"/>
                <a:gd name="T72" fmla="*/ 2147483647 w 2709"/>
                <a:gd name="T73" fmla="*/ 2147483647 h 1449"/>
                <a:gd name="T74" fmla="*/ 2147483647 w 2709"/>
                <a:gd name="T75" fmla="*/ 2147483647 h 1449"/>
                <a:gd name="T76" fmla="*/ 2147483647 w 2709"/>
                <a:gd name="T77" fmla="*/ 2147483647 h 1449"/>
                <a:gd name="T78" fmla="*/ 2147483647 w 2709"/>
                <a:gd name="T79" fmla="*/ 2147483647 h 1449"/>
                <a:gd name="T80" fmla="*/ 2147483647 w 2709"/>
                <a:gd name="T81" fmla="*/ 2147483647 h 1449"/>
                <a:gd name="T82" fmla="*/ 2147483647 w 2709"/>
                <a:gd name="T83" fmla="*/ 2147483647 h 1449"/>
                <a:gd name="T84" fmla="*/ 2147483647 w 2709"/>
                <a:gd name="T85" fmla="*/ 2147483647 h 1449"/>
                <a:gd name="T86" fmla="*/ 2147483647 w 2709"/>
                <a:gd name="T87" fmla="*/ 2147483647 h 1449"/>
                <a:gd name="T88" fmla="*/ 2147483647 w 2709"/>
                <a:gd name="T89" fmla="*/ 2147483647 h 1449"/>
                <a:gd name="T90" fmla="*/ 2147483647 w 2709"/>
                <a:gd name="T91" fmla="*/ 2147483647 h 1449"/>
                <a:gd name="T92" fmla="*/ 2147483647 w 2709"/>
                <a:gd name="T93" fmla="*/ 2147483647 h 1449"/>
                <a:gd name="T94" fmla="*/ 2147483647 w 2709"/>
                <a:gd name="T95" fmla="*/ 2147483647 h 1449"/>
                <a:gd name="T96" fmla="*/ 2147483647 w 2709"/>
                <a:gd name="T97" fmla="*/ 2147483647 h 1449"/>
                <a:gd name="T98" fmla="*/ 2147483647 w 2709"/>
                <a:gd name="T99" fmla="*/ 2147483647 h 1449"/>
                <a:gd name="T100" fmla="*/ 2147483647 w 2709"/>
                <a:gd name="T101" fmla="*/ 2147483647 h 1449"/>
                <a:gd name="T102" fmla="*/ 2147483647 w 2709"/>
                <a:gd name="T103" fmla="*/ 2147483647 h 1449"/>
                <a:gd name="T104" fmla="*/ 2147483647 w 2709"/>
                <a:gd name="T105" fmla="*/ 2147483647 h 1449"/>
                <a:gd name="T106" fmla="*/ 2147483647 w 2709"/>
                <a:gd name="T107" fmla="*/ 2147483647 h 1449"/>
                <a:gd name="T108" fmla="*/ 2147483647 w 2709"/>
                <a:gd name="T109" fmla="*/ 2147483647 h 14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09"/>
                <a:gd name="T166" fmla="*/ 0 h 1449"/>
                <a:gd name="T167" fmla="*/ 2709 w 2709"/>
                <a:gd name="T168" fmla="*/ 1449 h 144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09" h="1449">
                  <a:moveTo>
                    <a:pt x="312" y="444"/>
                  </a:moveTo>
                  <a:lnTo>
                    <a:pt x="273" y="405"/>
                  </a:lnTo>
                  <a:lnTo>
                    <a:pt x="210" y="454"/>
                  </a:lnTo>
                  <a:lnTo>
                    <a:pt x="174" y="495"/>
                  </a:lnTo>
                  <a:lnTo>
                    <a:pt x="129" y="520"/>
                  </a:lnTo>
                  <a:lnTo>
                    <a:pt x="134" y="621"/>
                  </a:lnTo>
                  <a:lnTo>
                    <a:pt x="54" y="553"/>
                  </a:lnTo>
                  <a:lnTo>
                    <a:pt x="33" y="609"/>
                  </a:lnTo>
                  <a:lnTo>
                    <a:pt x="9" y="648"/>
                  </a:lnTo>
                  <a:lnTo>
                    <a:pt x="8" y="688"/>
                  </a:lnTo>
                  <a:lnTo>
                    <a:pt x="0" y="733"/>
                  </a:lnTo>
                  <a:lnTo>
                    <a:pt x="24" y="780"/>
                  </a:lnTo>
                  <a:lnTo>
                    <a:pt x="27" y="820"/>
                  </a:lnTo>
                  <a:lnTo>
                    <a:pt x="59" y="840"/>
                  </a:lnTo>
                  <a:lnTo>
                    <a:pt x="117" y="853"/>
                  </a:lnTo>
                  <a:lnTo>
                    <a:pt x="147" y="909"/>
                  </a:lnTo>
                  <a:lnTo>
                    <a:pt x="152" y="948"/>
                  </a:lnTo>
                  <a:lnTo>
                    <a:pt x="170" y="978"/>
                  </a:lnTo>
                  <a:lnTo>
                    <a:pt x="213" y="934"/>
                  </a:lnTo>
                  <a:lnTo>
                    <a:pt x="246" y="923"/>
                  </a:lnTo>
                  <a:lnTo>
                    <a:pt x="308" y="889"/>
                  </a:lnTo>
                  <a:lnTo>
                    <a:pt x="353" y="906"/>
                  </a:lnTo>
                  <a:lnTo>
                    <a:pt x="394" y="893"/>
                  </a:lnTo>
                  <a:lnTo>
                    <a:pt x="423" y="914"/>
                  </a:lnTo>
                  <a:lnTo>
                    <a:pt x="415" y="949"/>
                  </a:lnTo>
                  <a:lnTo>
                    <a:pt x="419" y="991"/>
                  </a:lnTo>
                  <a:lnTo>
                    <a:pt x="444" y="1015"/>
                  </a:lnTo>
                  <a:lnTo>
                    <a:pt x="440" y="1056"/>
                  </a:lnTo>
                  <a:lnTo>
                    <a:pt x="403" y="1061"/>
                  </a:lnTo>
                  <a:lnTo>
                    <a:pt x="353" y="1056"/>
                  </a:lnTo>
                  <a:lnTo>
                    <a:pt x="316" y="1060"/>
                  </a:lnTo>
                  <a:lnTo>
                    <a:pt x="299" y="1081"/>
                  </a:lnTo>
                  <a:lnTo>
                    <a:pt x="295" y="1107"/>
                  </a:lnTo>
                  <a:lnTo>
                    <a:pt x="248" y="1104"/>
                  </a:lnTo>
                  <a:lnTo>
                    <a:pt x="248" y="1147"/>
                  </a:lnTo>
                  <a:lnTo>
                    <a:pt x="290" y="1185"/>
                  </a:lnTo>
                  <a:lnTo>
                    <a:pt x="317" y="1228"/>
                  </a:lnTo>
                  <a:lnTo>
                    <a:pt x="332" y="1269"/>
                  </a:lnTo>
                  <a:lnTo>
                    <a:pt x="374" y="1291"/>
                  </a:lnTo>
                  <a:lnTo>
                    <a:pt x="407" y="1308"/>
                  </a:lnTo>
                  <a:lnTo>
                    <a:pt x="390" y="1344"/>
                  </a:lnTo>
                  <a:lnTo>
                    <a:pt x="387" y="1402"/>
                  </a:lnTo>
                  <a:lnTo>
                    <a:pt x="416" y="1392"/>
                  </a:lnTo>
                  <a:lnTo>
                    <a:pt x="435" y="1354"/>
                  </a:lnTo>
                  <a:lnTo>
                    <a:pt x="481" y="1329"/>
                  </a:lnTo>
                  <a:lnTo>
                    <a:pt x="527" y="1333"/>
                  </a:lnTo>
                  <a:lnTo>
                    <a:pt x="551" y="1372"/>
                  </a:lnTo>
                  <a:lnTo>
                    <a:pt x="593" y="1423"/>
                  </a:lnTo>
                  <a:lnTo>
                    <a:pt x="644" y="1407"/>
                  </a:lnTo>
                  <a:lnTo>
                    <a:pt x="647" y="1359"/>
                  </a:lnTo>
                  <a:lnTo>
                    <a:pt x="654" y="1299"/>
                  </a:lnTo>
                  <a:lnTo>
                    <a:pt x="630" y="1249"/>
                  </a:lnTo>
                  <a:lnTo>
                    <a:pt x="644" y="1182"/>
                  </a:lnTo>
                  <a:lnTo>
                    <a:pt x="632" y="1153"/>
                  </a:lnTo>
                  <a:lnTo>
                    <a:pt x="642" y="1095"/>
                  </a:lnTo>
                  <a:lnTo>
                    <a:pt x="678" y="1078"/>
                  </a:lnTo>
                  <a:lnTo>
                    <a:pt x="709" y="1064"/>
                  </a:lnTo>
                  <a:lnTo>
                    <a:pt x="749" y="1054"/>
                  </a:lnTo>
                  <a:lnTo>
                    <a:pt x="792" y="1059"/>
                  </a:lnTo>
                  <a:lnTo>
                    <a:pt x="767" y="1017"/>
                  </a:lnTo>
                  <a:lnTo>
                    <a:pt x="819" y="985"/>
                  </a:lnTo>
                  <a:lnTo>
                    <a:pt x="861" y="941"/>
                  </a:lnTo>
                  <a:lnTo>
                    <a:pt x="908" y="914"/>
                  </a:lnTo>
                  <a:lnTo>
                    <a:pt x="957" y="902"/>
                  </a:lnTo>
                  <a:lnTo>
                    <a:pt x="982" y="927"/>
                  </a:lnTo>
                  <a:lnTo>
                    <a:pt x="970" y="962"/>
                  </a:lnTo>
                  <a:lnTo>
                    <a:pt x="957" y="1017"/>
                  </a:lnTo>
                  <a:lnTo>
                    <a:pt x="1007" y="1021"/>
                  </a:lnTo>
                  <a:lnTo>
                    <a:pt x="978" y="1090"/>
                  </a:lnTo>
                  <a:lnTo>
                    <a:pt x="945" y="1137"/>
                  </a:lnTo>
                  <a:lnTo>
                    <a:pt x="945" y="1171"/>
                  </a:lnTo>
                  <a:lnTo>
                    <a:pt x="995" y="1201"/>
                  </a:lnTo>
                  <a:lnTo>
                    <a:pt x="1048" y="1205"/>
                  </a:lnTo>
                  <a:lnTo>
                    <a:pt x="1107" y="1210"/>
                  </a:lnTo>
                  <a:lnTo>
                    <a:pt x="1168" y="1188"/>
                  </a:lnTo>
                  <a:lnTo>
                    <a:pt x="1218" y="1197"/>
                  </a:lnTo>
                  <a:lnTo>
                    <a:pt x="1251" y="1235"/>
                  </a:lnTo>
                  <a:lnTo>
                    <a:pt x="1287" y="1266"/>
                  </a:lnTo>
                  <a:lnTo>
                    <a:pt x="1288" y="1321"/>
                  </a:lnTo>
                  <a:lnTo>
                    <a:pt x="1320" y="1368"/>
                  </a:lnTo>
                  <a:lnTo>
                    <a:pt x="1331" y="1404"/>
                  </a:lnTo>
                  <a:lnTo>
                    <a:pt x="1363" y="1441"/>
                  </a:lnTo>
                  <a:lnTo>
                    <a:pt x="1417" y="1449"/>
                  </a:lnTo>
                  <a:lnTo>
                    <a:pt x="1487" y="1419"/>
                  </a:lnTo>
                  <a:lnTo>
                    <a:pt x="1528" y="1376"/>
                  </a:lnTo>
                  <a:lnTo>
                    <a:pt x="1574" y="1347"/>
                  </a:lnTo>
                  <a:lnTo>
                    <a:pt x="1624" y="1304"/>
                  </a:lnTo>
                  <a:lnTo>
                    <a:pt x="1682" y="1304"/>
                  </a:lnTo>
                  <a:lnTo>
                    <a:pt x="1744" y="1299"/>
                  </a:lnTo>
                  <a:lnTo>
                    <a:pt x="1802" y="1253"/>
                  </a:lnTo>
                  <a:lnTo>
                    <a:pt x="1850" y="1243"/>
                  </a:lnTo>
                  <a:lnTo>
                    <a:pt x="1877" y="1273"/>
                  </a:lnTo>
                  <a:lnTo>
                    <a:pt x="1950" y="1287"/>
                  </a:lnTo>
                  <a:lnTo>
                    <a:pt x="2021" y="1282"/>
                  </a:lnTo>
                  <a:lnTo>
                    <a:pt x="2103" y="1299"/>
                  </a:lnTo>
                  <a:lnTo>
                    <a:pt x="2153" y="1308"/>
                  </a:lnTo>
                  <a:lnTo>
                    <a:pt x="2196" y="1288"/>
                  </a:lnTo>
                  <a:lnTo>
                    <a:pt x="2237" y="1313"/>
                  </a:lnTo>
                  <a:lnTo>
                    <a:pt x="2273" y="1243"/>
                  </a:lnTo>
                  <a:lnTo>
                    <a:pt x="2275" y="1163"/>
                  </a:lnTo>
                  <a:lnTo>
                    <a:pt x="2229" y="1099"/>
                  </a:lnTo>
                  <a:lnTo>
                    <a:pt x="2237" y="1065"/>
                  </a:lnTo>
                  <a:lnTo>
                    <a:pt x="2298" y="1055"/>
                  </a:lnTo>
                  <a:lnTo>
                    <a:pt x="2344" y="1052"/>
                  </a:lnTo>
                  <a:lnTo>
                    <a:pt x="2397" y="1067"/>
                  </a:lnTo>
                  <a:lnTo>
                    <a:pt x="2407" y="993"/>
                  </a:lnTo>
                  <a:lnTo>
                    <a:pt x="2415" y="911"/>
                  </a:lnTo>
                  <a:lnTo>
                    <a:pt x="2459" y="861"/>
                  </a:lnTo>
                  <a:lnTo>
                    <a:pt x="2522" y="897"/>
                  </a:lnTo>
                  <a:lnTo>
                    <a:pt x="2577" y="895"/>
                  </a:lnTo>
                  <a:lnTo>
                    <a:pt x="2601" y="833"/>
                  </a:lnTo>
                  <a:lnTo>
                    <a:pt x="2599" y="781"/>
                  </a:lnTo>
                  <a:lnTo>
                    <a:pt x="2609" y="748"/>
                  </a:lnTo>
                  <a:lnTo>
                    <a:pt x="2709" y="673"/>
                  </a:lnTo>
                  <a:lnTo>
                    <a:pt x="2673" y="628"/>
                  </a:lnTo>
                  <a:lnTo>
                    <a:pt x="2574" y="637"/>
                  </a:lnTo>
                  <a:lnTo>
                    <a:pt x="2522" y="571"/>
                  </a:lnTo>
                  <a:lnTo>
                    <a:pt x="2474" y="498"/>
                  </a:lnTo>
                  <a:lnTo>
                    <a:pt x="2430" y="496"/>
                  </a:lnTo>
                  <a:lnTo>
                    <a:pt x="2340" y="483"/>
                  </a:lnTo>
                  <a:lnTo>
                    <a:pt x="2253" y="523"/>
                  </a:lnTo>
                  <a:lnTo>
                    <a:pt x="2184" y="430"/>
                  </a:lnTo>
                  <a:lnTo>
                    <a:pt x="2121" y="331"/>
                  </a:lnTo>
                  <a:lnTo>
                    <a:pt x="2096" y="256"/>
                  </a:lnTo>
                  <a:lnTo>
                    <a:pt x="2039" y="193"/>
                  </a:lnTo>
                  <a:lnTo>
                    <a:pt x="2000" y="106"/>
                  </a:lnTo>
                  <a:lnTo>
                    <a:pt x="1977" y="141"/>
                  </a:lnTo>
                  <a:lnTo>
                    <a:pt x="1866" y="184"/>
                  </a:lnTo>
                  <a:lnTo>
                    <a:pt x="1848" y="228"/>
                  </a:lnTo>
                  <a:lnTo>
                    <a:pt x="1788" y="237"/>
                  </a:lnTo>
                  <a:lnTo>
                    <a:pt x="1788" y="154"/>
                  </a:lnTo>
                  <a:lnTo>
                    <a:pt x="1629" y="130"/>
                  </a:lnTo>
                  <a:lnTo>
                    <a:pt x="1598" y="30"/>
                  </a:lnTo>
                  <a:lnTo>
                    <a:pt x="1491" y="0"/>
                  </a:lnTo>
                  <a:lnTo>
                    <a:pt x="1415" y="46"/>
                  </a:lnTo>
                  <a:lnTo>
                    <a:pt x="1340" y="81"/>
                  </a:lnTo>
                  <a:lnTo>
                    <a:pt x="1266" y="85"/>
                  </a:lnTo>
                  <a:lnTo>
                    <a:pt x="1209" y="133"/>
                  </a:lnTo>
                  <a:lnTo>
                    <a:pt x="1112" y="151"/>
                  </a:lnTo>
                  <a:lnTo>
                    <a:pt x="1020" y="147"/>
                  </a:lnTo>
                  <a:lnTo>
                    <a:pt x="951" y="180"/>
                  </a:lnTo>
                  <a:lnTo>
                    <a:pt x="977" y="232"/>
                  </a:lnTo>
                  <a:lnTo>
                    <a:pt x="1017" y="270"/>
                  </a:lnTo>
                  <a:lnTo>
                    <a:pt x="957" y="277"/>
                  </a:lnTo>
                  <a:lnTo>
                    <a:pt x="950" y="315"/>
                  </a:lnTo>
                  <a:lnTo>
                    <a:pt x="951" y="349"/>
                  </a:lnTo>
                  <a:lnTo>
                    <a:pt x="902" y="384"/>
                  </a:lnTo>
                  <a:lnTo>
                    <a:pt x="972" y="432"/>
                  </a:lnTo>
                  <a:lnTo>
                    <a:pt x="993" y="457"/>
                  </a:lnTo>
                  <a:lnTo>
                    <a:pt x="995" y="490"/>
                  </a:lnTo>
                  <a:lnTo>
                    <a:pt x="963" y="501"/>
                  </a:lnTo>
                  <a:lnTo>
                    <a:pt x="927" y="510"/>
                  </a:lnTo>
                  <a:lnTo>
                    <a:pt x="887" y="496"/>
                  </a:lnTo>
                  <a:lnTo>
                    <a:pt x="858" y="526"/>
                  </a:lnTo>
                  <a:lnTo>
                    <a:pt x="812" y="511"/>
                  </a:lnTo>
                  <a:lnTo>
                    <a:pt x="786" y="472"/>
                  </a:lnTo>
                  <a:lnTo>
                    <a:pt x="764" y="492"/>
                  </a:lnTo>
                  <a:lnTo>
                    <a:pt x="720" y="492"/>
                  </a:lnTo>
                  <a:lnTo>
                    <a:pt x="681" y="522"/>
                  </a:lnTo>
                  <a:lnTo>
                    <a:pt x="656" y="496"/>
                  </a:lnTo>
                  <a:lnTo>
                    <a:pt x="554" y="517"/>
                  </a:lnTo>
                  <a:lnTo>
                    <a:pt x="506" y="519"/>
                  </a:lnTo>
                  <a:lnTo>
                    <a:pt x="461" y="463"/>
                  </a:lnTo>
                  <a:lnTo>
                    <a:pt x="381" y="412"/>
                  </a:lnTo>
                  <a:lnTo>
                    <a:pt x="312" y="444"/>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 name="Freeform 7">
              <a:extLst>
                <a:ext uri="{FF2B5EF4-FFF2-40B4-BE49-F238E27FC236}">
                  <a16:creationId xmlns:a16="http://schemas.microsoft.com/office/drawing/2014/main" id="{69D657F2-012C-4017-455A-1BA378457EAD}"/>
                </a:ext>
              </a:extLst>
            </p:cNvPr>
            <p:cNvSpPr>
              <a:spLocks/>
            </p:cNvSpPr>
            <p:nvPr/>
          </p:nvSpPr>
          <p:spPr bwMode="auto">
            <a:xfrm>
              <a:off x="7269939" y="4023404"/>
              <a:ext cx="255475" cy="223563"/>
            </a:xfrm>
            <a:custGeom>
              <a:avLst/>
              <a:gdLst>
                <a:gd name="T0" fmla="*/ 24 w 1063626"/>
                <a:gd name="T1" fmla="*/ 61 h 901451"/>
                <a:gd name="T2" fmla="*/ 12 w 1063626"/>
                <a:gd name="T3" fmla="*/ 47 h 901451"/>
                <a:gd name="T4" fmla="*/ 4 w 1063626"/>
                <a:gd name="T5" fmla="*/ 52 h 901451"/>
                <a:gd name="T6" fmla="*/ 0 w 1063626"/>
                <a:gd name="T7" fmla="*/ 59 h 901451"/>
                <a:gd name="T8" fmla="*/ 1 w 1063626"/>
                <a:gd name="T9" fmla="*/ 68 h 901451"/>
                <a:gd name="T10" fmla="*/ 2 w 1063626"/>
                <a:gd name="T11" fmla="*/ 77 h 901451"/>
                <a:gd name="T12" fmla="*/ 6 w 1063626"/>
                <a:gd name="T13" fmla="*/ 88 h 901451"/>
                <a:gd name="T14" fmla="*/ 14 w 1063626"/>
                <a:gd name="T15" fmla="*/ 88 h 901451"/>
                <a:gd name="T16" fmla="*/ 18 w 1063626"/>
                <a:gd name="T17" fmla="*/ 93 h 901451"/>
                <a:gd name="T18" fmla="*/ 15 w 1063626"/>
                <a:gd name="T19" fmla="*/ 100 h 901451"/>
                <a:gd name="T20" fmla="*/ 17 w 1063626"/>
                <a:gd name="T21" fmla="*/ 106 h 901451"/>
                <a:gd name="T22" fmla="*/ 22 w 1063626"/>
                <a:gd name="T23" fmla="*/ 112 h 901451"/>
                <a:gd name="T24" fmla="*/ 29 w 1063626"/>
                <a:gd name="T25" fmla="*/ 116 h 901451"/>
                <a:gd name="T26" fmla="*/ 37 w 1063626"/>
                <a:gd name="T27" fmla="*/ 115 h 901451"/>
                <a:gd name="T28" fmla="*/ 42 w 1063626"/>
                <a:gd name="T29" fmla="*/ 114 h 901451"/>
                <a:gd name="T30" fmla="*/ 44 w 1063626"/>
                <a:gd name="T31" fmla="*/ 123 h 901451"/>
                <a:gd name="T32" fmla="*/ 53 w 1063626"/>
                <a:gd name="T33" fmla="*/ 126 h 901451"/>
                <a:gd name="T34" fmla="*/ 61 w 1063626"/>
                <a:gd name="T35" fmla="*/ 123 h 901451"/>
                <a:gd name="T36" fmla="*/ 66 w 1063626"/>
                <a:gd name="T37" fmla="*/ 115 h 901451"/>
                <a:gd name="T38" fmla="*/ 71 w 1063626"/>
                <a:gd name="T39" fmla="*/ 123 h 901451"/>
                <a:gd name="T40" fmla="*/ 80 w 1063626"/>
                <a:gd name="T41" fmla="*/ 128 h 901451"/>
                <a:gd name="T42" fmla="*/ 92 w 1063626"/>
                <a:gd name="T43" fmla="*/ 131 h 901451"/>
                <a:gd name="T44" fmla="*/ 103 w 1063626"/>
                <a:gd name="T45" fmla="*/ 125 h 901451"/>
                <a:gd name="T46" fmla="*/ 111 w 1063626"/>
                <a:gd name="T47" fmla="*/ 120 h 901451"/>
                <a:gd name="T48" fmla="*/ 120 w 1063626"/>
                <a:gd name="T49" fmla="*/ 108 h 901451"/>
                <a:gd name="T50" fmla="*/ 116 w 1063626"/>
                <a:gd name="T51" fmla="*/ 102 h 901451"/>
                <a:gd name="T52" fmla="*/ 117 w 1063626"/>
                <a:gd name="T53" fmla="*/ 93 h 901451"/>
                <a:gd name="T54" fmla="*/ 124 w 1063626"/>
                <a:gd name="T55" fmla="*/ 89 h 901451"/>
                <a:gd name="T56" fmla="*/ 132 w 1063626"/>
                <a:gd name="T57" fmla="*/ 78 h 901451"/>
                <a:gd name="T58" fmla="*/ 131 w 1063626"/>
                <a:gd name="T59" fmla="*/ 70 h 901451"/>
                <a:gd name="T60" fmla="*/ 133 w 1063626"/>
                <a:gd name="T61" fmla="*/ 63 h 901451"/>
                <a:gd name="T62" fmla="*/ 136 w 1063626"/>
                <a:gd name="T63" fmla="*/ 57 h 901451"/>
                <a:gd name="T64" fmla="*/ 143 w 1063626"/>
                <a:gd name="T65" fmla="*/ 55 h 901451"/>
                <a:gd name="T66" fmla="*/ 152 w 1063626"/>
                <a:gd name="T67" fmla="*/ 57 h 901451"/>
                <a:gd name="T68" fmla="*/ 150 w 1063626"/>
                <a:gd name="T69" fmla="*/ 49 h 901451"/>
                <a:gd name="T70" fmla="*/ 141 w 1063626"/>
                <a:gd name="T71" fmla="*/ 44 h 901451"/>
                <a:gd name="T72" fmla="*/ 136 w 1063626"/>
                <a:gd name="T73" fmla="*/ 39 h 901451"/>
                <a:gd name="T74" fmla="*/ 139 w 1063626"/>
                <a:gd name="T75" fmla="*/ 34 h 901451"/>
                <a:gd name="T76" fmla="*/ 133 w 1063626"/>
                <a:gd name="T77" fmla="*/ 29 h 901451"/>
                <a:gd name="T78" fmla="*/ 128 w 1063626"/>
                <a:gd name="T79" fmla="*/ 23 h 901451"/>
                <a:gd name="T80" fmla="*/ 132 w 1063626"/>
                <a:gd name="T81" fmla="*/ 13 h 901451"/>
                <a:gd name="T82" fmla="*/ 131 w 1063626"/>
                <a:gd name="T83" fmla="*/ 7 h 901451"/>
                <a:gd name="T84" fmla="*/ 129 w 1063626"/>
                <a:gd name="T85" fmla="*/ 1 h 901451"/>
                <a:gd name="T86" fmla="*/ 121 w 1063626"/>
                <a:gd name="T87" fmla="*/ 4 h 901451"/>
                <a:gd name="T88" fmla="*/ 114 w 1063626"/>
                <a:gd name="T89" fmla="*/ 2 h 901451"/>
                <a:gd name="T90" fmla="*/ 106 w 1063626"/>
                <a:gd name="T91" fmla="*/ 0 h 901451"/>
                <a:gd name="T92" fmla="*/ 101 w 1063626"/>
                <a:gd name="T93" fmla="*/ 4 h 901451"/>
                <a:gd name="T94" fmla="*/ 97 w 1063626"/>
                <a:gd name="T95" fmla="*/ 11 h 901451"/>
                <a:gd name="T96" fmla="*/ 97 w 1063626"/>
                <a:gd name="T97" fmla="*/ 20 h 901451"/>
                <a:gd name="T98" fmla="*/ 90 w 1063626"/>
                <a:gd name="T99" fmla="*/ 28 h 901451"/>
                <a:gd name="T100" fmla="*/ 88 w 1063626"/>
                <a:gd name="T101" fmla="*/ 36 h 901451"/>
                <a:gd name="T102" fmla="*/ 84 w 1063626"/>
                <a:gd name="T103" fmla="*/ 47 h 901451"/>
                <a:gd name="T104" fmla="*/ 73 w 1063626"/>
                <a:gd name="T105" fmla="*/ 48 h 901451"/>
                <a:gd name="T106" fmla="*/ 62 w 1063626"/>
                <a:gd name="T107" fmla="*/ 47 h 901451"/>
                <a:gd name="T108" fmla="*/ 54 w 1063626"/>
                <a:gd name="T109" fmla="*/ 45 h 901451"/>
                <a:gd name="T110" fmla="*/ 48 w 1063626"/>
                <a:gd name="T111" fmla="*/ 53 h 901451"/>
                <a:gd name="T112" fmla="*/ 35 w 1063626"/>
                <a:gd name="T113" fmla="*/ 55 h 901451"/>
                <a:gd name="T114" fmla="*/ 24 w 1063626"/>
                <a:gd name="T115" fmla="*/ 61 h 90145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63626"/>
                <a:gd name="T175" fmla="*/ 0 h 901451"/>
                <a:gd name="T176" fmla="*/ 1063626 w 1063626"/>
                <a:gd name="T177" fmla="*/ 901451 h 90145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63626" h="901451">
                  <a:moveTo>
                    <a:pt x="169312" y="419514"/>
                  </a:moveTo>
                  <a:lnTo>
                    <a:pt x="86827" y="325804"/>
                  </a:lnTo>
                  <a:lnTo>
                    <a:pt x="30389" y="357041"/>
                  </a:lnTo>
                  <a:lnTo>
                    <a:pt x="0" y="406127"/>
                  </a:lnTo>
                  <a:lnTo>
                    <a:pt x="8683" y="468600"/>
                  </a:lnTo>
                  <a:lnTo>
                    <a:pt x="13024" y="531074"/>
                  </a:lnTo>
                  <a:lnTo>
                    <a:pt x="43413" y="602472"/>
                  </a:lnTo>
                  <a:lnTo>
                    <a:pt x="99851" y="606934"/>
                  </a:lnTo>
                  <a:lnTo>
                    <a:pt x="125899" y="638171"/>
                  </a:lnTo>
                  <a:lnTo>
                    <a:pt x="104192" y="687257"/>
                  </a:lnTo>
                  <a:lnTo>
                    <a:pt x="117216" y="730393"/>
                  </a:lnTo>
                  <a:lnTo>
                    <a:pt x="151947" y="772042"/>
                  </a:lnTo>
                  <a:lnTo>
                    <a:pt x="204043" y="797329"/>
                  </a:lnTo>
                  <a:lnTo>
                    <a:pt x="256139" y="789892"/>
                  </a:lnTo>
                  <a:lnTo>
                    <a:pt x="290869" y="780967"/>
                  </a:lnTo>
                  <a:lnTo>
                    <a:pt x="308234" y="847902"/>
                  </a:lnTo>
                  <a:lnTo>
                    <a:pt x="369013" y="865752"/>
                  </a:lnTo>
                  <a:lnTo>
                    <a:pt x="425450" y="843440"/>
                  </a:lnTo>
                  <a:lnTo>
                    <a:pt x="460181" y="794354"/>
                  </a:lnTo>
                  <a:lnTo>
                    <a:pt x="499253" y="843440"/>
                  </a:lnTo>
                  <a:lnTo>
                    <a:pt x="564373" y="883601"/>
                  </a:lnTo>
                  <a:lnTo>
                    <a:pt x="642517" y="901451"/>
                  </a:lnTo>
                  <a:lnTo>
                    <a:pt x="725002" y="856827"/>
                  </a:lnTo>
                  <a:lnTo>
                    <a:pt x="781440" y="825591"/>
                  </a:lnTo>
                  <a:lnTo>
                    <a:pt x="842218" y="745268"/>
                  </a:lnTo>
                  <a:lnTo>
                    <a:pt x="816170" y="700644"/>
                  </a:lnTo>
                  <a:lnTo>
                    <a:pt x="820511" y="642633"/>
                  </a:lnTo>
                  <a:lnTo>
                    <a:pt x="872607" y="611396"/>
                  </a:lnTo>
                  <a:lnTo>
                    <a:pt x="924703" y="535536"/>
                  </a:lnTo>
                  <a:lnTo>
                    <a:pt x="920362" y="481987"/>
                  </a:lnTo>
                  <a:lnTo>
                    <a:pt x="929045" y="432901"/>
                  </a:lnTo>
                  <a:lnTo>
                    <a:pt x="950751" y="392740"/>
                  </a:lnTo>
                  <a:lnTo>
                    <a:pt x="1002847" y="379353"/>
                  </a:lnTo>
                  <a:lnTo>
                    <a:pt x="1063626" y="392740"/>
                  </a:lnTo>
                  <a:lnTo>
                    <a:pt x="1054943" y="339191"/>
                  </a:lnTo>
                  <a:lnTo>
                    <a:pt x="989823" y="303492"/>
                  </a:lnTo>
                  <a:lnTo>
                    <a:pt x="950751" y="267793"/>
                  </a:lnTo>
                  <a:lnTo>
                    <a:pt x="976799" y="236557"/>
                  </a:lnTo>
                  <a:lnTo>
                    <a:pt x="933386" y="196395"/>
                  </a:lnTo>
                  <a:lnTo>
                    <a:pt x="894314" y="156234"/>
                  </a:lnTo>
                  <a:lnTo>
                    <a:pt x="924703" y="89298"/>
                  </a:lnTo>
                  <a:lnTo>
                    <a:pt x="916021" y="49137"/>
                  </a:lnTo>
                  <a:lnTo>
                    <a:pt x="902035" y="9525"/>
                  </a:lnTo>
                  <a:lnTo>
                    <a:pt x="847266" y="30956"/>
                  </a:lnTo>
                  <a:lnTo>
                    <a:pt x="802022" y="14288"/>
                  </a:lnTo>
                  <a:lnTo>
                    <a:pt x="742491" y="0"/>
                  </a:lnTo>
                  <a:lnTo>
                    <a:pt x="711535" y="30956"/>
                  </a:lnTo>
                  <a:lnTo>
                    <a:pt x="678197" y="78581"/>
                  </a:lnTo>
                  <a:lnTo>
                    <a:pt x="678197" y="140494"/>
                  </a:lnTo>
                  <a:lnTo>
                    <a:pt x="630572" y="190500"/>
                  </a:lnTo>
                  <a:lnTo>
                    <a:pt x="613903" y="250031"/>
                  </a:lnTo>
                  <a:lnTo>
                    <a:pt x="590421" y="321342"/>
                  </a:lnTo>
                  <a:lnTo>
                    <a:pt x="511510" y="330994"/>
                  </a:lnTo>
                  <a:lnTo>
                    <a:pt x="437691" y="326231"/>
                  </a:lnTo>
                  <a:lnTo>
                    <a:pt x="382037" y="307955"/>
                  </a:lnTo>
                  <a:lnTo>
                    <a:pt x="337678" y="361950"/>
                  </a:lnTo>
                  <a:lnTo>
                    <a:pt x="247456" y="379353"/>
                  </a:lnTo>
                  <a:lnTo>
                    <a:pt x="169312" y="419514"/>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 name="Freeform 8">
              <a:extLst>
                <a:ext uri="{FF2B5EF4-FFF2-40B4-BE49-F238E27FC236}">
                  <a16:creationId xmlns:a16="http://schemas.microsoft.com/office/drawing/2014/main" id="{DC278E64-EF97-F7EC-2681-9EE0B4492212}"/>
                </a:ext>
              </a:extLst>
            </p:cNvPr>
            <p:cNvSpPr>
              <a:spLocks/>
            </p:cNvSpPr>
            <p:nvPr/>
          </p:nvSpPr>
          <p:spPr bwMode="auto">
            <a:xfrm>
              <a:off x="6232351" y="3209824"/>
              <a:ext cx="737293" cy="700649"/>
            </a:xfrm>
            <a:custGeom>
              <a:avLst/>
              <a:gdLst>
                <a:gd name="T0" fmla="*/ 173 w 3052763"/>
                <a:gd name="T1" fmla="*/ 36 h 2835275"/>
                <a:gd name="T2" fmla="*/ 182 w 3052763"/>
                <a:gd name="T3" fmla="*/ 60 h 2835275"/>
                <a:gd name="T4" fmla="*/ 207 w 3052763"/>
                <a:gd name="T5" fmla="*/ 85 h 2835275"/>
                <a:gd name="T6" fmla="*/ 244 w 3052763"/>
                <a:gd name="T7" fmla="*/ 93 h 2835275"/>
                <a:gd name="T8" fmla="*/ 302 w 3052763"/>
                <a:gd name="T9" fmla="*/ 116 h 2835275"/>
                <a:gd name="T10" fmla="*/ 306 w 3052763"/>
                <a:gd name="T11" fmla="*/ 87 h 2835275"/>
                <a:gd name="T12" fmla="*/ 324 w 3052763"/>
                <a:gd name="T13" fmla="*/ 106 h 2835275"/>
                <a:gd name="T14" fmla="*/ 361 w 3052763"/>
                <a:gd name="T15" fmla="*/ 111 h 2835275"/>
                <a:gd name="T16" fmla="*/ 366 w 3052763"/>
                <a:gd name="T17" fmla="*/ 96 h 2835275"/>
                <a:gd name="T18" fmla="*/ 384 w 3052763"/>
                <a:gd name="T19" fmla="*/ 74 h 2835275"/>
                <a:gd name="T20" fmla="*/ 439 w 3052763"/>
                <a:gd name="T21" fmla="*/ 78 h 2835275"/>
                <a:gd name="T22" fmla="*/ 448 w 3052763"/>
                <a:gd name="T23" fmla="*/ 102 h 2835275"/>
                <a:gd name="T24" fmla="*/ 405 w 3052763"/>
                <a:gd name="T25" fmla="*/ 151 h 2835275"/>
                <a:gd name="T26" fmla="*/ 385 w 3052763"/>
                <a:gd name="T27" fmla="*/ 182 h 2835275"/>
                <a:gd name="T28" fmla="*/ 357 w 3052763"/>
                <a:gd name="T29" fmla="*/ 157 h 2835275"/>
                <a:gd name="T30" fmla="*/ 358 w 3052763"/>
                <a:gd name="T31" fmla="*/ 140 h 2835275"/>
                <a:gd name="T32" fmla="*/ 319 w 3052763"/>
                <a:gd name="T33" fmla="*/ 114 h 2835275"/>
                <a:gd name="T34" fmla="*/ 314 w 3052763"/>
                <a:gd name="T35" fmla="*/ 130 h 2835275"/>
                <a:gd name="T36" fmla="*/ 317 w 3052763"/>
                <a:gd name="T37" fmla="*/ 154 h 2835275"/>
                <a:gd name="T38" fmla="*/ 322 w 3052763"/>
                <a:gd name="T39" fmla="*/ 190 h 2835275"/>
                <a:gd name="T40" fmla="*/ 296 w 3052763"/>
                <a:gd name="T41" fmla="*/ 193 h 2835275"/>
                <a:gd name="T42" fmla="*/ 285 w 3052763"/>
                <a:gd name="T43" fmla="*/ 217 h 2835275"/>
                <a:gd name="T44" fmla="*/ 257 w 3052763"/>
                <a:gd name="T45" fmla="*/ 236 h 2835275"/>
                <a:gd name="T46" fmla="*/ 230 w 3052763"/>
                <a:gd name="T47" fmla="*/ 260 h 2835275"/>
                <a:gd name="T48" fmla="*/ 213 w 3052763"/>
                <a:gd name="T49" fmla="*/ 278 h 2835275"/>
                <a:gd name="T50" fmla="*/ 198 w 3052763"/>
                <a:gd name="T51" fmla="*/ 288 h 2835275"/>
                <a:gd name="T52" fmla="*/ 184 w 3052763"/>
                <a:gd name="T53" fmla="*/ 317 h 2835275"/>
                <a:gd name="T54" fmla="*/ 176 w 3052763"/>
                <a:gd name="T55" fmla="*/ 350 h 2835275"/>
                <a:gd name="T56" fmla="*/ 170 w 3052763"/>
                <a:gd name="T57" fmla="*/ 376 h 2835275"/>
                <a:gd name="T58" fmla="*/ 150 w 3052763"/>
                <a:gd name="T59" fmla="*/ 396 h 2835275"/>
                <a:gd name="T60" fmla="*/ 128 w 3052763"/>
                <a:gd name="T61" fmla="*/ 394 h 2835275"/>
                <a:gd name="T62" fmla="*/ 111 w 3052763"/>
                <a:gd name="T63" fmla="*/ 354 h 2835275"/>
                <a:gd name="T64" fmla="*/ 93 w 3052763"/>
                <a:gd name="T65" fmla="*/ 309 h 2835275"/>
                <a:gd name="T66" fmla="*/ 70 w 3052763"/>
                <a:gd name="T67" fmla="*/ 234 h 2835275"/>
                <a:gd name="T68" fmla="*/ 60 w 3052763"/>
                <a:gd name="T69" fmla="*/ 186 h 2835275"/>
                <a:gd name="T70" fmla="*/ 35 w 3052763"/>
                <a:gd name="T71" fmla="*/ 207 h 2835275"/>
                <a:gd name="T72" fmla="*/ 31 w 3052763"/>
                <a:gd name="T73" fmla="*/ 176 h 2835275"/>
                <a:gd name="T74" fmla="*/ 6 w 3052763"/>
                <a:gd name="T75" fmla="*/ 169 h 2835275"/>
                <a:gd name="T76" fmla="*/ 25 w 3052763"/>
                <a:gd name="T77" fmla="*/ 152 h 2835275"/>
                <a:gd name="T78" fmla="*/ 37 w 3052763"/>
                <a:gd name="T79" fmla="*/ 134 h 2835275"/>
                <a:gd name="T80" fmla="*/ 22 w 3052763"/>
                <a:gd name="T81" fmla="*/ 101 h 2835275"/>
                <a:gd name="T82" fmla="*/ 64 w 3052763"/>
                <a:gd name="T83" fmla="*/ 93 h 2835275"/>
                <a:gd name="T84" fmla="*/ 85 w 3052763"/>
                <a:gd name="T85" fmla="*/ 63 h 2835275"/>
                <a:gd name="T86" fmla="*/ 96 w 3052763"/>
                <a:gd name="T87" fmla="*/ 22 h 2835275"/>
                <a:gd name="T88" fmla="*/ 116 w 3052763"/>
                <a:gd name="T89" fmla="*/ 7 h 2835275"/>
                <a:gd name="T90" fmla="*/ 150 w 3052763"/>
                <a:gd name="T91" fmla="*/ 5 h 283527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052763"/>
                <a:gd name="T139" fmla="*/ 0 h 2835275"/>
                <a:gd name="T140" fmla="*/ 3052763 w 3052763"/>
                <a:gd name="T141" fmla="*/ 2835275 h 283527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052763" h="2835275">
                  <a:moveTo>
                    <a:pt x="1081088" y="104775"/>
                  </a:moveTo>
                  <a:lnTo>
                    <a:pt x="1122363" y="190500"/>
                  </a:lnTo>
                  <a:lnTo>
                    <a:pt x="1181100" y="249238"/>
                  </a:lnTo>
                  <a:lnTo>
                    <a:pt x="1241425" y="296863"/>
                  </a:lnTo>
                  <a:lnTo>
                    <a:pt x="1289050" y="334963"/>
                  </a:lnTo>
                  <a:lnTo>
                    <a:pt x="1241425" y="419100"/>
                  </a:lnTo>
                  <a:lnTo>
                    <a:pt x="1247775" y="515938"/>
                  </a:lnTo>
                  <a:lnTo>
                    <a:pt x="1327150" y="566738"/>
                  </a:lnTo>
                  <a:lnTo>
                    <a:pt x="1409700" y="596900"/>
                  </a:lnTo>
                  <a:lnTo>
                    <a:pt x="1500188" y="635000"/>
                  </a:lnTo>
                  <a:lnTo>
                    <a:pt x="1546225" y="658813"/>
                  </a:lnTo>
                  <a:lnTo>
                    <a:pt x="1666875" y="654050"/>
                  </a:lnTo>
                  <a:lnTo>
                    <a:pt x="1763713" y="741363"/>
                  </a:lnTo>
                  <a:lnTo>
                    <a:pt x="1946275" y="779463"/>
                  </a:lnTo>
                  <a:lnTo>
                    <a:pt x="2058988" y="809625"/>
                  </a:lnTo>
                  <a:lnTo>
                    <a:pt x="2089150" y="757238"/>
                  </a:lnTo>
                  <a:lnTo>
                    <a:pt x="2108200" y="696913"/>
                  </a:lnTo>
                  <a:lnTo>
                    <a:pt x="2089150" y="606425"/>
                  </a:lnTo>
                  <a:lnTo>
                    <a:pt x="2212975" y="625475"/>
                  </a:lnTo>
                  <a:lnTo>
                    <a:pt x="2208213" y="715963"/>
                  </a:lnTo>
                  <a:lnTo>
                    <a:pt x="2209800" y="744538"/>
                  </a:lnTo>
                  <a:lnTo>
                    <a:pt x="2282825" y="754063"/>
                  </a:lnTo>
                  <a:lnTo>
                    <a:pt x="2373313" y="774700"/>
                  </a:lnTo>
                  <a:lnTo>
                    <a:pt x="2463800" y="779463"/>
                  </a:lnTo>
                  <a:lnTo>
                    <a:pt x="2544763" y="768350"/>
                  </a:lnTo>
                  <a:lnTo>
                    <a:pt x="2538413" y="700088"/>
                  </a:lnTo>
                  <a:lnTo>
                    <a:pt x="2500313" y="671513"/>
                  </a:lnTo>
                  <a:lnTo>
                    <a:pt x="2413000" y="587375"/>
                  </a:lnTo>
                  <a:lnTo>
                    <a:pt x="2517775" y="561975"/>
                  </a:lnTo>
                  <a:lnTo>
                    <a:pt x="2619375" y="520700"/>
                  </a:lnTo>
                  <a:lnTo>
                    <a:pt x="2798763" y="504825"/>
                  </a:lnTo>
                  <a:lnTo>
                    <a:pt x="2900363" y="495300"/>
                  </a:lnTo>
                  <a:lnTo>
                    <a:pt x="2995550" y="546746"/>
                  </a:lnTo>
                  <a:lnTo>
                    <a:pt x="3012219" y="597943"/>
                  </a:lnTo>
                  <a:lnTo>
                    <a:pt x="3036888" y="654050"/>
                  </a:lnTo>
                  <a:lnTo>
                    <a:pt x="3052763" y="714375"/>
                  </a:lnTo>
                  <a:lnTo>
                    <a:pt x="2932447" y="713433"/>
                  </a:lnTo>
                  <a:lnTo>
                    <a:pt x="2836863" y="781050"/>
                  </a:lnTo>
                  <a:lnTo>
                    <a:pt x="2763378" y="1055143"/>
                  </a:lnTo>
                  <a:lnTo>
                    <a:pt x="2643188" y="1090613"/>
                  </a:lnTo>
                  <a:lnTo>
                    <a:pt x="2647950" y="1209675"/>
                  </a:lnTo>
                  <a:lnTo>
                    <a:pt x="2627647" y="1270646"/>
                  </a:lnTo>
                  <a:lnTo>
                    <a:pt x="2552700" y="1133475"/>
                  </a:lnTo>
                  <a:lnTo>
                    <a:pt x="2447925" y="1168400"/>
                  </a:lnTo>
                  <a:lnTo>
                    <a:pt x="2432050" y="1100138"/>
                  </a:lnTo>
                  <a:lnTo>
                    <a:pt x="2495550" y="1039813"/>
                  </a:lnTo>
                  <a:lnTo>
                    <a:pt x="2532063" y="965200"/>
                  </a:lnTo>
                  <a:lnTo>
                    <a:pt x="2441575" y="981075"/>
                  </a:lnTo>
                  <a:lnTo>
                    <a:pt x="2303463" y="949325"/>
                  </a:lnTo>
                  <a:lnTo>
                    <a:pt x="2282825" y="842963"/>
                  </a:lnTo>
                  <a:lnTo>
                    <a:pt x="2179638" y="800100"/>
                  </a:lnTo>
                  <a:lnTo>
                    <a:pt x="2085975" y="849313"/>
                  </a:lnTo>
                  <a:lnTo>
                    <a:pt x="2093913" y="885825"/>
                  </a:lnTo>
                  <a:lnTo>
                    <a:pt x="2143125" y="906463"/>
                  </a:lnTo>
                  <a:lnTo>
                    <a:pt x="2162175" y="958850"/>
                  </a:lnTo>
                  <a:lnTo>
                    <a:pt x="2114550" y="996950"/>
                  </a:lnTo>
                  <a:lnTo>
                    <a:pt x="2160588" y="1076325"/>
                  </a:lnTo>
                  <a:lnTo>
                    <a:pt x="2170113" y="1177925"/>
                  </a:lnTo>
                  <a:lnTo>
                    <a:pt x="2189163" y="1273175"/>
                  </a:lnTo>
                  <a:lnTo>
                    <a:pt x="2198688" y="1333500"/>
                  </a:lnTo>
                  <a:lnTo>
                    <a:pt x="2138363" y="1358900"/>
                  </a:lnTo>
                  <a:lnTo>
                    <a:pt x="2109788" y="1296988"/>
                  </a:lnTo>
                  <a:lnTo>
                    <a:pt x="2019300" y="1349375"/>
                  </a:lnTo>
                  <a:lnTo>
                    <a:pt x="1962150" y="1404938"/>
                  </a:lnTo>
                  <a:lnTo>
                    <a:pt x="1989138" y="1481138"/>
                  </a:lnTo>
                  <a:lnTo>
                    <a:pt x="1943100" y="1520825"/>
                  </a:lnTo>
                  <a:lnTo>
                    <a:pt x="1884363" y="1554163"/>
                  </a:lnTo>
                  <a:lnTo>
                    <a:pt x="1817688" y="1587500"/>
                  </a:lnTo>
                  <a:lnTo>
                    <a:pt x="1755775" y="1654175"/>
                  </a:lnTo>
                  <a:lnTo>
                    <a:pt x="1708150" y="1711325"/>
                  </a:lnTo>
                  <a:lnTo>
                    <a:pt x="1643063" y="1762125"/>
                  </a:lnTo>
                  <a:lnTo>
                    <a:pt x="1570038" y="1820863"/>
                  </a:lnTo>
                  <a:lnTo>
                    <a:pt x="1504950" y="1871663"/>
                  </a:lnTo>
                  <a:lnTo>
                    <a:pt x="1479550" y="1924050"/>
                  </a:lnTo>
                  <a:lnTo>
                    <a:pt x="1450975" y="1944688"/>
                  </a:lnTo>
                  <a:lnTo>
                    <a:pt x="1395413" y="1963738"/>
                  </a:lnTo>
                  <a:lnTo>
                    <a:pt x="1408113" y="2001838"/>
                  </a:lnTo>
                  <a:lnTo>
                    <a:pt x="1347788" y="2014538"/>
                  </a:lnTo>
                  <a:lnTo>
                    <a:pt x="1266825" y="2033588"/>
                  </a:lnTo>
                  <a:lnTo>
                    <a:pt x="1262063" y="2116138"/>
                  </a:lnTo>
                  <a:lnTo>
                    <a:pt x="1257300" y="2216150"/>
                  </a:lnTo>
                  <a:lnTo>
                    <a:pt x="1284288" y="2305050"/>
                  </a:lnTo>
                  <a:lnTo>
                    <a:pt x="1236663" y="2400300"/>
                  </a:lnTo>
                  <a:lnTo>
                    <a:pt x="1203325" y="2449513"/>
                  </a:lnTo>
                  <a:lnTo>
                    <a:pt x="1228725" y="2506663"/>
                  </a:lnTo>
                  <a:lnTo>
                    <a:pt x="1223963" y="2587625"/>
                  </a:lnTo>
                  <a:lnTo>
                    <a:pt x="1162050" y="2628900"/>
                  </a:lnTo>
                  <a:lnTo>
                    <a:pt x="1138238" y="2692400"/>
                  </a:lnTo>
                  <a:lnTo>
                    <a:pt x="1095375" y="2720975"/>
                  </a:lnTo>
                  <a:lnTo>
                    <a:pt x="1023938" y="2771775"/>
                  </a:lnTo>
                  <a:lnTo>
                    <a:pt x="1014413" y="2835275"/>
                  </a:lnTo>
                  <a:lnTo>
                    <a:pt x="927100" y="2828925"/>
                  </a:lnTo>
                  <a:lnTo>
                    <a:pt x="871538" y="2757488"/>
                  </a:lnTo>
                  <a:lnTo>
                    <a:pt x="841375" y="2682875"/>
                  </a:lnTo>
                  <a:lnTo>
                    <a:pt x="828675" y="2597150"/>
                  </a:lnTo>
                  <a:lnTo>
                    <a:pt x="760413" y="2476500"/>
                  </a:lnTo>
                  <a:lnTo>
                    <a:pt x="708025" y="2359025"/>
                  </a:lnTo>
                  <a:lnTo>
                    <a:pt x="684213" y="2257425"/>
                  </a:lnTo>
                  <a:lnTo>
                    <a:pt x="633413" y="2162175"/>
                  </a:lnTo>
                  <a:lnTo>
                    <a:pt x="557213" y="2035175"/>
                  </a:lnTo>
                  <a:lnTo>
                    <a:pt x="509588" y="1824038"/>
                  </a:lnTo>
                  <a:lnTo>
                    <a:pt x="481013" y="1635125"/>
                  </a:lnTo>
                  <a:lnTo>
                    <a:pt x="479425" y="1490663"/>
                  </a:lnTo>
                  <a:lnTo>
                    <a:pt x="466725" y="1319213"/>
                  </a:lnTo>
                  <a:lnTo>
                    <a:pt x="409575" y="1300163"/>
                  </a:lnTo>
                  <a:lnTo>
                    <a:pt x="395288" y="1400175"/>
                  </a:lnTo>
                  <a:lnTo>
                    <a:pt x="328613" y="1438275"/>
                  </a:lnTo>
                  <a:lnTo>
                    <a:pt x="241300" y="1446213"/>
                  </a:lnTo>
                  <a:lnTo>
                    <a:pt x="76200" y="1316038"/>
                  </a:lnTo>
                  <a:lnTo>
                    <a:pt x="150813" y="1273175"/>
                  </a:lnTo>
                  <a:lnTo>
                    <a:pt x="209550" y="1233488"/>
                  </a:lnTo>
                  <a:lnTo>
                    <a:pt x="184150" y="1192213"/>
                  </a:lnTo>
                  <a:lnTo>
                    <a:pt x="107950" y="1204913"/>
                  </a:lnTo>
                  <a:lnTo>
                    <a:pt x="38100" y="1181100"/>
                  </a:lnTo>
                  <a:lnTo>
                    <a:pt x="0" y="1106488"/>
                  </a:lnTo>
                  <a:lnTo>
                    <a:pt x="50800" y="1071563"/>
                  </a:lnTo>
                  <a:lnTo>
                    <a:pt x="168275" y="1066800"/>
                  </a:lnTo>
                  <a:lnTo>
                    <a:pt x="279400" y="1066800"/>
                  </a:lnTo>
                  <a:lnTo>
                    <a:pt x="298450" y="1019175"/>
                  </a:lnTo>
                  <a:lnTo>
                    <a:pt x="255588" y="935038"/>
                  </a:lnTo>
                  <a:lnTo>
                    <a:pt x="217488" y="871538"/>
                  </a:lnTo>
                  <a:lnTo>
                    <a:pt x="214313" y="787400"/>
                  </a:lnTo>
                  <a:lnTo>
                    <a:pt x="152400" y="704850"/>
                  </a:lnTo>
                  <a:lnTo>
                    <a:pt x="306388" y="631825"/>
                  </a:lnTo>
                  <a:lnTo>
                    <a:pt x="350838" y="668338"/>
                  </a:lnTo>
                  <a:lnTo>
                    <a:pt x="436563" y="652463"/>
                  </a:lnTo>
                  <a:lnTo>
                    <a:pt x="496888" y="584200"/>
                  </a:lnTo>
                  <a:lnTo>
                    <a:pt x="568325" y="530225"/>
                  </a:lnTo>
                  <a:lnTo>
                    <a:pt x="581025" y="441325"/>
                  </a:lnTo>
                  <a:lnTo>
                    <a:pt x="654050" y="360363"/>
                  </a:lnTo>
                  <a:lnTo>
                    <a:pt x="660400" y="273050"/>
                  </a:lnTo>
                  <a:lnTo>
                    <a:pt x="657225" y="157163"/>
                  </a:lnTo>
                  <a:lnTo>
                    <a:pt x="712788" y="90488"/>
                  </a:lnTo>
                  <a:lnTo>
                    <a:pt x="736600" y="47625"/>
                  </a:lnTo>
                  <a:lnTo>
                    <a:pt x="792163" y="49213"/>
                  </a:lnTo>
                  <a:lnTo>
                    <a:pt x="876300" y="0"/>
                  </a:lnTo>
                  <a:lnTo>
                    <a:pt x="952500" y="14288"/>
                  </a:lnTo>
                  <a:lnTo>
                    <a:pt x="1020763" y="33338"/>
                  </a:lnTo>
                  <a:lnTo>
                    <a:pt x="1081088" y="104775"/>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 name="Freeform 9">
              <a:extLst>
                <a:ext uri="{FF2B5EF4-FFF2-40B4-BE49-F238E27FC236}">
                  <a16:creationId xmlns:a16="http://schemas.microsoft.com/office/drawing/2014/main" id="{6144371D-B7FD-89F6-6580-8FFEF7FACAA2}"/>
                </a:ext>
              </a:extLst>
            </p:cNvPr>
            <p:cNvSpPr>
              <a:spLocks/>
            </p:cNvSpPr>
            <p:nvPr/>
          </p:nvSpPr>
          <p:spPr bwMode="auto">
            <a:xfrm>
              <a:off x="6736579" y="3408034"/>
              <a:ext cx="129978" cy="156723"/>
            </a:xfrm>
            <a:custGeom>
              <a:avLst/>
              <a:gdLst>
                <a:gd name="T0" fmla="*/ 28 w 542591"/>
                <a:gd name="T1" fmla="*/ 6 h 631972"/>
                <a:gd name="T2" fmla="*/ 13 w 542591"/>
                <a:gd name="T3" fmla="*/ 0 h 631972"/>
                <a:gd name="T4" fmla="*/ 0 w 542591"/>
                <a:gd name="T5" fmla="*/ 7 h 631972"/>
                <a:gd name="T6" fmla="*/ 2 w 542591"/>
                <a:gd name="T7" fmla="*/ 12 h 631972"/>
                <a:gd name="T8" fmla="*/ 9 w 542591"/>
                <a:gd name="T9" fmla="*/ 15 h 631972"/>
                <a:gd name="T10" fmla="*/ 11 w 542591"/>
                <a:gd name="T11" fmla="*/ 24 h 631972"/>
                <a:gd name="T12" fmla="*/ 4 w 542591"/>
                <a:gd name="T13" fmla="*/ 28 h 631972"/>
                <a:gd name="T14" fmla="*/ 11 w 542591"/>
                <a:gd name="T15" fmla="*/ 39 h 631972"/>
                <a:gd name="T16" fmla="*/ 12 w 542591"/>
                <a:gd name="T17" fmla="*/ 56 h 631972"/>
                <a:gd name="T18" fmla="*/ 15 w 542591"/>
                <a:gd name="T19" fmla="*/ 68 h 631972"/>
                <a:gd name="T20" fmla="*/ 16 w 542591"/>
                <a:gd name="T21" fmla="*/ 77 h 631972"/>
                <a:gd name="T22" fmla="*/ 34 w 542591"/>
                <a:gd name="T23" fmla="*/ 73 h 631972"/>
                <a:gd name="T24" fmla="*/ 46 w 542591"/>
                <a:gd name="T25" fmla="*/ 75 h 631972"/>
                <a:gd name="T26" fmla="*/ 56 w 542591"/>
                <a:gd name="T27" fmla="*/ 70 h 631972"/>
                <a:gd name="T28" fmla="*/ 64 w 542591"/>
                <a:gd name="T29" fmla="*/ 71 h 631972"/>
                <a:gd name="T30" fmla="*/ 64 w 542591"/>
                <a:gd name="T31" fmla="*/ 84 h 631972"/>
                <a:gd name="T32" fmla="*/ 69 w 542591"/>
                <a:gd name="T33" fmla="*/ 92 h 631972"/>
                <a:gd name="T34" fmla="*/ 74 w 542591"/>
                <a:gd name="T35" fmla="*/ 83 h 631972"/>
                <a:gd name="T36" fmla="*/ 76 w 542591"/>
                <a:gd name="T37" fmla="*/ 69 h 631972"/>
                <a:gd name="T38" fmla="*/ 73 w 542591"/>
                <a:gd name="T39" fmla="*/ 63 h 631972"/>
                <a:gd name="T40" fmla="*/ 66 w 542591"/>
                <a:gd name="T41" fmla="*/ 48 h 631972"/>
                <a:gd name="T42" fmla="*/ 51 w 542591"/>
                <a:gd name="T43" fmla="*/ 54 h 631972"/>
                <a:gd name="T44" fmla="*/ 49 w 542591"/>
                <a:gd name="T45" fmla="*/ 44 h 631972"/>
                <a:gd name="T46" fmla="*/ 58 w 542591"/>
                <a:gd name="T47" fmla="*/ 35 h 631972"/>
                <a:gd name="T48" fmla="*/ 62 w 542591"/>
                <a:gd name="T49" fmla="*/ 24 h 631972"/>
                <a:gd name="T50" fmla="*/ 51 w 542591"/>
                <a:gd name="T51" fmla="*/ 26 h 631972"/>
                <a:gd name="T52" fmla="*/ 31 w 542591"/>
                <a:gd name="T53" fmla="*/ 21 h 631972"/>
                <a:gd name="T54" fmla="*/ 29 w 542591"/>
                <a:gd name="T55" fmla="*/ 12 h 631972"/>
                <a:gd name="T56" fmla="*/ 28 w 542591"/>
                <a:gd name="T57" fmla="*/ 6 h 6319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42591"/>
                <a:gd name="T88" fmla="*/ 0 h 631972"/>
                <a:gd name="T89" fmla="*/ 542591 w 542591"/>
                <a:gd name="T90" fmla="*/ 631972 h 6319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42591" h="631972">
                  <a:moveTo>
                    <a:pt x="201216" y="40481"/>
                  </a:moveTo>
                  <a:lnTo>
                    <a:pt x="92869" y="0"/>
                  </a:lnTo>
                  <a:lnTo>
                    <a:pt x="0" y="48815"/>
                  </a:lnTo>
                  <a:lnTo>
                    <a:pt x="10778" y="84285"/>
                  </a:lnTo>
                  <a:lnTo>
                    <a:pt x="61578" y="104922"/>
                  </a:lnTo>
                  <a:lnTo>
                    <a:pt x="75866" y="162072"/>
                  </a:lnTo>
                  <a:lnTo>
                    <a:pt x="29828" y="195410"/>
                  </a:lnTo>
                  <a:lnTo>
                    <a:pt x="77453" y="271610"/>
                  </a:lnTo>
                  <a:lnTo>
                    <a:pt x="85391" y="381147"/>
                  </a:lnTo>
                  <a:lnTo>
                    <a:pt x="104441" y="470047"/>
                  </a:lnTo>
                  <a:lnTo>
                    <a:pt x="113966" y="528785"/>
                  </a:lnTo>
                  <a:lnTo>
                    <a:pt x="240966" y="501797"/>
                  </a:lnTo>
                  <a:lnTo>
                    <a:pt x="326691" y="514497"/>
                  </a:lnTo>
                  <a:lnTo>
                    <a:pt x="399716" y="481160"/>
                  </a:lnTo>
                  <a:lnTo>
                    <a:pt x="458453" y="487510"/>
                  </a:lnTo>
                  <a:lnTo>
                    <a:pt x="452103" y="576410"/>
                  </a:lnTo>
                  <a:lnTo>
                    <a:pt x="490203" y="631972"/>
                  </a:lnTo>
                  <a:lnTo>
                    <a:pt x="529891" y="570060"/>
                  </a:lnTo>
                  <a:lnTo>
                    <a:pt x="542591" y="473222"/>
                  </a:lnTo>
                  <a:lnTo>
                    <a:pt x="521953" y="431947"/>
                  </a:lnTo>
                  <a:lnTo>
                    <a:pt x="467978" y="328760"/>
                  </a:lnTo>
                  <a:lnTo>
                    <a:pt x="361616" y="370035"/>
                  </a:lnTo>
                  <a:lnTo>
                    <a:pt x="348853" y="300037"/>
                  </a:lnTo>
                  <a:lnTo>
                    <a:pt x="414003" y="236685"/>
                  </a:lnTo>
                  <a:lnTo>
                    <a:pt x="444166" y="165247"/>
                  </a:lnTo>
                  <a:lnTo>
                    <a:pt x="359569" y="178593"/>
                  </a:lnTo>
                  <a:lnTo>
                    <a:pt x="218741" y="146197"/>
                  </a:lnTo>
                  <a:lnTo>
                    <a:pt x="206041" y="81110"/>
                  </a:lnTo>
                  <a:lnTo>
                    <a:pt x="201216" y="4048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 name="Freeform 10">
              <a:extLst>
                <a:ext uri="{FF2B5EF4-FFF2-40B4-BE49-F238E27FC236}">
                  <a16:creationId xmlns:a16="http://schemas.microsoft.com/office/drawing/2014/main" id="{E2C368F3-30FE-D935-6657-716430E6F83E}"/>
                </a:ext>
              </a:extLst>
            </p:cNvPr>
            <p:cNvSpPr>
              <a:spLocks/>
            </p:cNvSpPr>
            <p:nvPr/>
          </p:nvSpPr>
          <p:spPr bwMode="auto">
            <a:xfrm>
              <a:off x="6853110" y="3348109"/>
              <a:ext cx="208414" cy="500134"/>
            </a:xfrm>
            <a:custGeom>
              <a:avLst/>
              <a:gdLst>
                <a:gd name="T0" fmla="*/ 39 w 861678"/>
                <a:gd name="T1" fmla="*/ 32 h 2017860"/>
                <a:gd name="T2" fmla="*/ 32 w 861678"/>
                <a:gd name="T3" fmla="*/ 59 h 2017860"/>
                <a:gd name="T4" fmla="*/ 19 w 861678"/>
                <a:gd name="T5" fmla="*/ 74 h 2017860"/>
                <a:gd name="T6" fmla="*/ 10 w 861678"/>
                <a:gd name="T7" fmla="*/ 88 h 2017860"/>
                <a:gd name="T8" fmla="*/ 8 w 861678"/>
                <a:gd name="T9" fmla="*/ 102 h 2017860"/>
                <a:gd name="T10" fmla="*/ 0 w 861678"/>
                <a:gd name="T11" fmla="*/ 126 h 2017860"/>
                <a:gd name="T12" fmla="*/ 12 w 861678"/>
                <a:gd name="T13" fmla="*/ 138 h 2017860"/>
                <a:gd name="T14" fmla="*/ 14 w 861678"/>
                <a:gd name="T15" fmla="*/ 150 h 2017860"/>
                <a:gd name="T16" fmla="*/ 26 w 861678"/>
                <a:gd name="T17" fmla="*/ 163 h 2017860"/>
                <a:gd name="T18" fmla="*/ 30 w 861678"/>
                <a:gd name="T19" fmla="*/ 186 h 2017860"/>
                <a:gd name="T20" fmla="*/ 23 w 861678"/>
                <a:gd name="T21" fmla="*/ 200 h 2017860"/>
                <a:gd name="T22" fmla="*/ 36 w 861678"/>
                <a:gd name="T23" fmla="*/ 210 h 2017860"/>
                <a:gd name="T24" fmla="*/ 51 w 861678"/>
                <a:gd name="T25" fmla="*/ 205 h 2017860"/>
                <a:gd name="T26" fmla="*/ 63 w 861678"/>
                <a:gd name="T27" fmla="*/ 195 h 2017860"/>
                <a:gd name="T28" fmla="*/ 74 w 861678"/>
                <a:gd name="T29" fmla="*/ 192 h 2017860"/>
                <a:gd name="T30" fmla="*/ 78 w 861678"/>
                <a:gd name="T31" fmla="*/ 215 h 2017860"/>
                <a:gd name="T32" fmla="*/ 78 w 861678"/>
                <a:gd name="T33" fmla="*/ 239 h 2017860"/>
                <a:gd name="T34" fmla="*/ 90 w 861678"/>
                <a:gd name="T35" fmla="*/ 252 h 2017860"/>
                <a:gd name="T36" fmla="*/ 96 w 861678"/>
                <a:gd name="T37" fmla="*/ 278 h 2017860"/>
                <a:gd name="T38" fmla="*/ 100 w 861678"/>
                <a:gd name="T39" fmla="*/ 292 h 2017860"/>
                <a:gd name="T40" fmla="*/ 105 w 861678"/>
                <a:gd name="T41" fmla="*/ 274 h 2017860"/>
                <a:gd name="T42" fmla="*/ 106 w 861678"/>
                <a:gd name="T43" fmla="*/ 258 h 2017860"/>
                <a:gd name="T44" fmla="*/ 98 w 861678"/>
                <a:gd name="T45" fmla="*/ 244 h 2017860"/>
                <a:gd name="T46" fmla="*/ 91 w 861678"/>
                <a:gd name="T47" fmla="*/ 225 h 2017860"/>
                <a:gd name="T48" fmla="*/ 92 w 861678"/>
                <a:gd name="T49" fmla="*/ 202 h 2017860"/>
                <a:gd name="T50" fmla="*/ 82 w 861678"/>
                <a:gd name="T51" fmla="*/ 186 h 2017860"/>
                <a:gd name="T52" fmla="*/ 77 w 861678"/>
                <a:gd name="T53" fmla="*/ 158 h 2017860"/>
                <a:gd name="T54" fmla="*/ 92 w 861678"/>
                <a:gd name="T55" fmla="*/ 145 h 2017860"/>
                <a:gd name="T56" fmla="*/ 115 w 861678"/>
                <a:gd name="T57" fmla="*/ 139 h 2017860"/>
                <a:gd name="T58" fmla="*/ 127 w 861678"/>
                <a:gd name="T59" fmla="*/ 117 h 2017860"/>
                <a:gd name="T60" fmla="*/ 105 w 861678"/>
                <a:gd name="T61" fmla="*/ 97 h 2017860"/>
                <a:gd name="T62" fmla="*/ 92 w 861678"/>
                <a:gd name="T63" fmla="*/ 77 h 2017860"/>
                <a:gd name="T64" fmla="*/ 81 w 861678"/>
                <a:gd name="T65" fmla="*/ 66 h 2017860"/>
                <a:gd name="T66" fmla="*/ 91 w 861678"/>
                <a:gd name="T67" fmla="*/ 40 h 2017860"/>
                <a:gd name="T68" fmla="*/ 95 w 861678"/>
                <a:gd name="T69" fmla="*/ 18 h 2017860"/>
                <a:gd name="T70" fmla="*/ 81 w 861678"/>
                <a:gd name="T71" fmla="*/ 0 h 2017860"/>
                <a:gd name="T72" fmla="*/ 68 w 861678"/>
                <a:gd name="T73" fmla="*/ 11 h 2017860"/>
                <a:gd name="T74" fmla="*/ 53 w 861678"/>
                <a:gd name="T75" fmla="*/ 21 h 20178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61678"/>
                <a:gd name="T115" fmla="*/ 0 h 2017860"/>
                <a:gd name="T116" fmla="*/ 861678 w 861678"/>
                <a:gd name="T117" fmla="*/ 2017860 h 20178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61678" h="2017860">
                  <a:moveTo>
                    <a:pt x="356853" y="147785"/>
                  </a:moveTo>
                  <a:lnTo>
                    <a:pt x="261603" y="217635"/>
                  </a:lnTo>
                  <a:lnTo>
                    <a:pt x="239378" y="304948"/>
                  </a:lnTo>
                  <a:lnTo>
                    <a:pt x="213978" y="403373"/>
                  </a:lnTo>
                  <a:lnTo>
                    <a:pt x="190166" y="489098"/>
                  </a:lnTo>
                  <a:lnTo>
                    <a:pt x="125078" y="509735"/>
                  </a:lnTo>
                  <a:lnTo>
                    <a:pt x="71103" y="524023"/>
                  </a:lnTo>
                  <a:lnTo>
                    <a:pt x="71103" y="608160"/>
                  </a:lnTo>
                  <a:lnTo>
                    <a:pt x="72691" y="655785"/>
                  </a:lnTo>
                  <a:lnTo>
                    <a:pt x="52387" y="704850"/>
                  </a:lnTo>
                  <a:lnTo>
                    <a:pt x="39290" y="810815"/>
                  </a:lnTo>
                  <a:lnTo>
                    <a:pt x="0" y="870347"/>
                  </a:lnTo>
                  <a:lnTo>
                    <a:pt x="23478" y="941535"/>
                  </a:lnTo>
                  <a:lnTo>
                    <a:pt x="82216" y="949473"/>
                  </a:lnTo>
                  <a:lnTo>
                    <a:pt x="86978" y="993923"/>
                  </a:lnTo>
                  <a:lnTo>
                    <a:pt x="91741" y="1032023"/>
                  </a:lnTo>
                  <a:lnTo>
                    <a:pt x="109203" y="1093935"/>
                  </a:lnTo>
                  <a:lnTo>
                    <a:pt x="172703" y="1124098"/>
                  </a:lnTo>
                  <a:lnTo>
                    <a:pt x="191753" y="1193948"/>
                  </a:lnTo>
                  <a:lnTo>
                    <a:pt x="201278" y="1279673"/>
                  </a:lnTo>
                  <a:lnTo>
                    <a:pt x="172703" y="1352698"/>
                  </a:lnTo>
                  <a:lnTo>
                    <a:pt x="158416" y="1381273"/>
                  </a:lnTo>
                  <a:lnTo>
                    <a:pt x="182228" y="1419373"/>
                  </a:lnTo>
                  <a:lnTo>
                    <a:pt x="242553" y="1446360"/>
                  </a:lnTo>
                  <a:lnTo>
                    <a:pt x="301291" y="1451123"/>
                  </a:lnTo>
                  <a:lnTo>
                    <a:pt x="342566" y="1409848"/>
                  </a:lnTo>
                  <a:lnTo>
                    <a:pt x="385428" y="1360635"/>
                  </a:lnTo>
                  <a:lnTo>
                    <a:pt x="423528" y="1341585"/>
                  </a:lnTo>
                  <a:lnTo>
                    <a:pt x="447341" y="1300310"/>
                  </a:lnTo>
                  <a:lnTo>
                    <a:pt x="501316" y="1327298"/>
                  </a:lnTo>
                  <a:lnTo>
                    <a:pt x="515603" y="1395560"/>
                  </a:lnTo>
                  <a:lnTo>
                    <a:pt x="525128" y="1484460"/>
                  </a:lnTo>
                  <a:lnTo>
                    <a:pt x="510841" y="1571773"/>
                  </a:lnTo>
                  <a:lnTo>
                    <a:pt x="525128" y="1646385"/>
                  </a:lnTo>
                  <a:lnTo>
                    <a:pt x="558466" y="1681310"/>
                  </a:lnTo>
                  <a:lnTo>
                    <a:pt x="612441" y="1741635"/>
                  </a:lnTo>
                  <a:lnTo>
                    <a:pt x="625141" y="1852760"/>
                  </a:lnTo>
                  <a:lnTo>
                    <a:pt x="652128" y="1914673"/>
                  </a:lnTo>
                  <a:lnTo>
                    <a:pt x="625141" y="2017860"/>
                  </a:lnTo>
                  <a:lnTo>
                    <a:pt x="678656" y="2015728"/>
                  </a:lnTo>
                  <a:lnTo>
                    <a:pt x="685466" y="1979760"/>
                  </a:lnTo>
                  <a:lnTo>
                    <a:pt x="709612" y="1887140"/>
                  </a:lnTo>
                  <a:lnTo>
                    <a:pt x="700087" y="1841897"/>
                  </a:lnTo>
                  <a:lnTo>
                    <a:pt x="719137" y="1779984"/>
                  </a:lnTo>
                  <a:lnTo>
                    <a:pt x="704516" y="1736873"/>
                  </a:lnTo>
                  <a:lnTo>
                    <a:pt x="666416" y="1681310"/>
                  </a:lnTo>
                  <a:lnTo>
                    <a:pt x="623553" y="1627335"/>
                  </a:lnTo>
                  <a:lnTo>
                    <a:pt x="618791" y="1551135"/>
                  </a:lnTo>
                  <a:lnTo>
                    <a:pt x="606091" y="1479698"/>
                  </a:lnTo>
                  <a:lnTo>
                    <a:pt x="625141" y="1395560"/>
                  </a:lnTo>
                  <a:lnTo>
                    <a:pt x="625141" y="1335235"/>
                  </a:lnTo>
                  <a:lnTo>
                    <a:pt x="552116" y="1281260"/>
                  </a:lnTo>
                  <a:lnTo>
                    <a:pt x="520366" y="1178073"/>
                  </a:lnTo>
                  <a:lnTo>
                    <a:pt x="520366" y="1090760"/>
                  </a:lnTo>
                  <a:lnTo>
                    <a:pt x="552116" y="1043135"/>
                  </a:lnTo>
                  <a:lnTo>
                    <a:pt x="625141" y="1003448"/>
                  </a:lnTo>
                  <a:lnTo>
                    <a:pt x="702928" y="997098"/>
                  </a:lnTo>
                  <a:lnTo>
                    <a:pt x="780716" y="962173"/>
                  </a:lnTo>
                  <a:lnTo>
                    <a:pt x="829928" y="895498"/>
                  </a:lnTo>
                  <a:lnTo>
                    <a:pt x="861678" y="808185"/>
                  </a:lnTo>
                  <a:lnTo>
                    <a:pt x="768016" y="738335"/>
                  </a:lnTo>
                  <a:lnTo>
                    <a:pt x="707691" y="670073"/>
                  </a:lnTo>
                  <a:lnTo>
                    <a:pt x="708421" y="575072"/>
                  </a:lnTo>
                  <a:lnTo>
                    <a:pt x="620378" y="530373"/>
                  </a:lnTo>
                  <a:lnTo>
                    <a:pt x="526256" y="522684"/>
                  </a:lnTo>
                  <a:lnTo>
                    <a:pt x="547353" y="452585"/>
                  </a:lnTo>
                  <a:lnTo>
                    <a:pt x="606091" y="366860"/>
                  </a:lnTo>
                  <a:lnTo>
                    <a:pt x="617203" y="274785"/>
                  </a:lnTo>
                  <a:lnTo>
                    <a:pt x="656034" y="195262"/>
                  </a:lnTo>
                  <a:lnTo>
                    <a:pt x="645318" y="123825"/>
                  </a:lnTo>
                  <a:lnTo>
                    <a:pt x="582278" y="47773"/>
                  </a:lnTo>
                  <a:lnTo>
                    <a:pt x="547687" y="0"/>
                  </a:lnTo>
                  <a:lnTo>
                    <a:pt x="439403" y="33485"/>
                  </a:lnTo>
                  <a:lnTo>
                    <a:pt x="456866" y="76348"/>
                  </a:lnTo>
                  <a:lnTo>
                    <a:pt x="477503" y="150960"/>
                  </a:lnTo>
                  <a:lnTo>
                    <a:pt x="356853" y="14778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 name="Freeform 11">
              <a:extLst>
                <a:ext uri="{FF2B5EF4-FFF2-40B4-BE49-F238E27FC236}">
                  <a16:creationId xmlns:a16="http://schemas.microsoft.com/office/drawing/2014/main" id="{F9ABF979-EB4E-BCA0-432A-ED0D3919E689}"/>
                </a:ext>
              </a:extLst>
            </p:cNvPr>
            <p:cNvSpPr>
              <a:spLocks/>
            </p:cNvSpPr>
            <p:nvPr/>
          </p:nvSpPr>
          <p:spPr bwMode="auto">
            <a:xfrm>
              <a:off x="5369562" y="3235176"/>
              <a:ext cx="537842" cy="442514"/>
            </a:xfrm>
            <a:custGeom>
              <a:avLst/>
              <a:gdLst>
                <a:gd name="T0" fmla="*/ 7068360 w 1199"/>
                <a:gd name="T1" fmla="*/ 226310190 h 960"/>
                <a:gd name="T2" fmla="*/ 44630702 w 1199"/>
                <a:gd name="T3" fmla="*/ 275906865 h 960"/>
                <a:gd name="T4" fmla="*/ 70177404 w 1199"/>
                <a:gd name="T5" fmla="*/ 337499325 h 960"/>
                <a:gd name="T6" fmla="*/ 122886005 w 1199"/>
                <a:gd name="T7" fmla="*/ 410281438 h 960"/>
                <a:gd name="T8" fmla="*/ 149341196 w 1199"/>
                <a:gd name="T9" fmla="*/ 475906465 h 960"/>
                <a:gd name="T10" fmla="*/ 226081714 w 1199"/>
                <a:gd name="T11" fmla="*/ 540624078 h 960"/>
                <a:gd name="T12" fmla="*/ 242035731 w 1199"/>
                <a:gd name="T13" fmla="*/ 627014875 h 960"/>
                <a:gd name="T14" fmla="*/ 265259890 w 1199"/>
                <a:gd name="T15" fmla="*/ 703022788 h 960"/>
                <a:gd name="T16" fmla="*/ 328368933 w 1199"/>
                <a:gd name="T17" fmla="*/ 771772650 h 960"/>
                <a:gd name="T18" fmla="*/ 391477977 w 1199"/>
                <a:gd name="T19" fmla="*/ 838204128 h 960"/>
                <a:gd name="T20" fmla="*/ 434695261 w 1199"/>
                <a:gd name="T21" fmla="*/ 885381453 h 960"/>
                <a:gd name="T22" fmla="*/ 480234453 w 1199"/>
                <a:gd name="T23" fmla="*/ 867740518 h 960"/>
                <a:gd name="T24" fmla="*/ 566567655 w 1199"/>
                <a:gd name="T25" fmla="*/ 875704053 h 960"/>
                <a:gd name="T26" fmla="*/ 643308173 w 1199"/>
                <a:gd name="T27" fmla="*/ 898184005 h 960"/>
                <a:gd name="T28" fmla="*/ 721664525 w 1199"/>
                <a:gd name="T29" fmla="*/ 843748630 h 960"/>
                <a:gd name="T30" fmla="*/ 795173692 w 1199"/>
                <a:gd name="T31" fmla="*/ 803728073 h 960"/>
                <a:gd name="T32" fmla="*/ 875145878 w 1199"/>
                <a:gd name="T33" fmla="*/ 792538738 h 960"/>
                <a:gd name="T34" fmla="*/ 966224580 w 1199"/>
                <a:gd name="T35" fmla="*/ 770159750 h 960"/>
                <a:gd name="T36" fmla="*/ 1044580932 w 1199"/>
                <a:gd name="T37" fmla="*/ 751006563 h 960"/>
                <a:gd name="T38" fmla="*/ 1098905049 w 1199"/>
                <a:gd name="T39" fmla="*/ 690220553 h 960"/>
                <a:gd name="T40" fmla="*/ 1110113249 w 1199"/>
                <a:gd name="T41" fmla="*/ 587801403 h 960"/>
                <a:gd name="T42" fmla="*/ 1066896283 w 1199"/>
                <a:gd name="T43" fmla="*/ 563809515 h 960"/>
                <a:gd name="T44" fmla="*/ 967840414 w 1199"/>
                <a:gd name="T45" fmla="*/ 554232763 h 960"/>
                <a:gd name="T46" fmla="*/ 910284946 w 1199"/>
                <a:gd name="T47" fmla="*/ 483870000 h 960"/>
                <a:gd name="T48" fmla="*/ 868683495 w 1199"/>
                <a:gd name="T49" fmla="*/ 445462978 h 960"/>
                <a:gd name="T50" fmla="*/ 828697561 w 1199"/>
                <a:gd name="T51" fmla="*/ 360684763 h 960"/>
                <a:gd name="T52" fmla="*/ 774373126 w 1199"/>
                <a:gd name="T53" fmla="*/ 288709100 h 960"/>
                <a:gd name="T54" fmla="*/ 688039924 w 1199"/>
                <a:gd name="T55" fmla="*/ 198386700 h 960"/>
                <a:gd name="T56" fmla="*/ 612107164 w 1199"/>
                <a:gd name="T57" fmla="*/ 179132865 h 960"/>
                <a:gd name="T58" fmla="*/ 526581721 w 1199"/>
                <a:gd name="T59" fmla="*/ 168749663 h 960"/>
                <a:gd name="T60" fmla="*/ 473065361 w 1199"/>
                <a:gd name="T61" fmla="*/ 127923290 h 960"/>
                <a:gd name="T62" fmla="*/ 409855269 w 1199"/>
                <a:gd name="T63" fmla="*/ 76007913 h 960"/>
                <a:gd name="T64" fmla="*/ 308376125 w 1199"/>
                <a:gd name="T65" fmla="*/ 23991888 h 960"/>
                <a:gd name="T66" fmla="*/ 222042923 w 1199"/>
                <a:gd name="T67" fmla="*/ 0 h 960"/>
                <a:gd name="T68" fmla="*/ 138132996 w 1199"/>
                <a:gd name="T69" fmla="*/ 28024138 h 960"/>
                <a:gd name="T70" fmla="*/ 170142080 w 1199"/>
                <a:gd name="T71" fmla="*/ 104737853 h 960"/>
                <a:gd name="T72" fmla="*/ 134901963 w 1199"/>
                <a:gd name="T73" fmla="*/ 152721628 h 960"/>
                <a:gd name="T74" fmla="*/ 78962012 w 1199"/>
                <a:gd name="T75" fmla="*/ 179939315 h 960"/>
                <a:gd name="T76" fmla="*/ 16660726 w 1199"/>
                <a:gd name="T77" fmla="*/ 191128650 h 9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9"/>
                <a:gd name="T118" fmla="*/ 0 h 960"/>
                <a:gd name="T119" fmla="*/ 2230102 w 1199"/>
                <a:gd name="T120" fmla="*/ 1782762 h 96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9" h="960">
                  <a:moveTo>
                    <a:pt x="0" y="228"/>
                  </a:moveTo>
                  <a:lnTo>
                    <a:pt x="8" y="242"/>
                  </a:lnTo>
                  <a:lnTo>
                    <a:pt x="15" y="286"/>
                  </a:lnTo>
                  <a:lnTo>
                    <a:pt x="48" y="295"/>
                  </a:lnTo>
                  <a:lnTo>
                    <a:pt x="65" y="321"/>
                  </a:lnTo>
                  <a:lnTo>
                    <a:pt x="75" y="361"/>
                  </a:lnTo>
                  <a:lnTo>
                    <a:pt x="111" y="402"/>
                  </a:lnTo>
                  <a:lnTo>
                    <a:pt x="131" y="439"/>
                  </a:lnTo>
                  <a:lnTo>
                    <a:pt x="164" y="461"/>
                  </a:lnTo>
                  <a:lnTo>
                    <a:pt x="160" y="509"/>
                  </a:lnTo>
                  <a:lnTo>
                    <a:pt x="209" y="541"/>
                  </a:lnTo>
                  <a:lnTo>
                    <a:pt x="242" y="578"/>
                  </a:lnTo>
                  <a:lnTo>
                    <a:pt x="263" y="619"/>
                  </a:lnTo>
                  <a:lnTo>
                    <a:pt x="259" y="670"/>
                  </a:lnTo>
                  <a:lnTo>
                    <a:pt x="273" y="704"/>
                  </a:lnTo>
                  <a:lnTo>
                    <a:pt x="283" y="751"/>
                  </a:lnTo>
                  <a:lnTo>
                    <a:pt x="330" y="781"/>
                  </a:lnTo>
                  <a:lnTo>
                    <a:pt x="351" y="825"/>
                  </a:lnTo>
                  <a:lnTo>
                    <a:pt x="390" y="863"/>
                  </a:lnTo>
                  <a:lnTo>
                    <a:pt x="418" y="896"/>
                  </a:lnTo>
                  <a:lnTo>
                    <a:pt x="428" y="935"/>
                  </a:lnTo>
                  <a:lnTo>
                    <a:pt x="465" y="946"/>
                  </a:lnTo>
                  <a:lnTo>
                    <a:pt x="486" y="931"/>
                  </a:lnTo>
                  <a:lnTo>
                    <a:pt x="513" y="928"/>
                  </a:lnTo>
                  <a:lnTo>
                    <a:pt x="558" y="931"/>
                  </a:lnTo>
                  <a:lnTo>
                    <a:pt x="605" y="936"/>
                  </a:lnTo>
                  <a:lnTo>
                    <a:pt x="641" y="945"/>
                  </a:lnTo>
                  <a:lnTo>
                    <a:pt x="687" y="960"/>
                  </a:lnTo>
                  <a:lnTo>
                    <a:pt x="724" y="947"/>
                  </a:lnTo>
                  <a:lnTo>
                    <a:pt x="771" y="902"/>
                  </a:lnTo>
                  <a:lnTo>
                    <a:pt x="812" y="876"/>
                  </a:lnTo>
                  <a:lnTo>
                    <a:pt x="850" y="859"/>
                  </a:lnTo>
                  <a:lnTo>
                    <a:pt x="899" y="851"/>
                  </a:lnTo>
                  <a:lnTo>
                    <a:pt x="935" y="847"/>
                  </a:lnTo>
                  <a:lnTo>
                    <a:pt x="980" y="835"/>
                  </a:lnTo>
                  <a:lnTo>
                    <a:pt x="1043" y="825"/>
                  </a:lnTo>
                  <a:lnTo>
                    <a:pt x="1079" y="811"/>
                  </a:lnTo>
                  <a:lnTo>
                    <a:pt x="1106" y="804"/>
                  </a:lnTo>
                  <a:lnTo>
                    <a:pt x="1138" y="774"/>
                  </a:lnTo>
                  <a:lnTo>
                    <a:pt x="1150" y="738"/>
                  </a:lnTo>
                  <a:lnTo>
                    <a:pt x="1178" y="697"/>
                  </a:lnTo>
                  <a:lnTo>
                    <a:pt x="1199" y="660"/>
                  </a:lnTo>
                  <a:lnTo>
                    <a:pt x="1181" y="628"/>
                  </a:lnTo>
                  <a:lnTo>
                    <a:pt x="1169" y="599"/>
                  </a:lnTo>
                  <a:lnTo>
                    <a:pt x="1140" y="603"/>
                  </a:lnTo>
                  <a:lnTo>
                    <a:pt x="1086" y="598"/>
                  </a:lnTo>
                  <a:lnTo>
                    <a:pt x="1034" y="592"/>
                  </a:lnTo>
                  <a:lnTo>
                    <a:pt x="1002" y="555"/>
                  </a:lnTo>
                  <a:lnTo>
                    <a:pt x="973" y="517"/>
                  </a:lnTo>
                  <a:lnTo>
                    <a:pt x="952" y="502"/>
                  </a:lnTo>
                  <a:lnTo>
                    <a:pt x="928" y="476"/>
                  </a:lnTo>
                  <a:lnTo>
                    <a:pt x="896" y="445"/>
                  </a:lnTo>
                  <a:lnTo>
                    <a:pt x="886" y="386"/>
                  </a:lnTo>
                  <a:lnTo>
                    <a:pt x="870" y="351"/>
                  </a:lnTo>
                  <a:lnTo>
                    <a:pt x="828" y="309"/>
                  </a:lnTo>
                  <a:lnTo>
                    <a:pt x="788" y="269"/>
                  </a:lnTo>
                  <a:lnTo>
                    <a:pt x="735" y="212"/>
                  </a:lnTo>
                  <a:lnTo>
                    <a:pt x="704" y="203"/>
                  </a:lnTo>
                  <a:lnTo>
                    <a:pt x="654" y="191"/>
                  </a:lnTo>
                  <a:lnTo>
                    <a:pt x="600" y="198"/>
                  </a:lnTo>
                  <a:lnTo>
                    <a:pt x="563" y="180"/>
                  </a:lnTo>
                  <a:lnTo>
                    <a:pt x="529" y="163"/>
                  </a:lnTo>
                  <a:lnTo>
                    <a:pt x="506" y="137"/>
                  </a:lnTo>
                  <a:lnTo>
                    <a:pt x="469" y="102"/>
                  </a:lnTo>
                  <a:lnTo>
                    <a:pt x="438" y="81"/>
                  </a:lnTo>
                  <a:lnTo>
                    <a:pt x="382" y="56"/>
                  </a:lnTo>
                  <a:lnTo>
                    <a:pt x="330" y="26"/>
                  </a:lnTo>
                  <a:lnTo>
                    <a:pt x="283" y="4"/>
                  </a:lnTo>
                  <a:lnTo>
                    <a:pt x="237" y="0"/>
                  </a:lnTo>
                  <a:lnTo>
                    <a:pt x="199" y="19"/>
                  </a:lnTo>
                  <a:lnTo>
                    <a:pt x="148" y="30"/>
                  </a:lnTo>
                  <a:lnTo>
                    <a:pt x="149" y="59"/>
                  </a:lnTo>
                  <a:lnTo>
                    <a:pt x="182" y="112"/>
                  </a:lnTo>
                  <a:lnTo>
                    <a:pt x="165" y="139"/>
                  </a:lnTo>
                  <a:lnTo>
                    <a:pt x="144" y="163"/>
                  </a:lnTo>
                  <a:lnTo>
                    <a:pt x="114" y="176"/>
                  </a:lnTo>
                  <a:lnTo>
                    <a:pt x="84" y="192"/>
                  </a:lnTo>
                  <a:lnTo>
                    <a:pt x="33" y="185"/>
                  </a:lnTo>
                  <a:lnTo>
                    <a:pt x="18" y="204"/>
                  </a:lnTo>
                  <a:lnTo>
                    <a:pt x="0" y="22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 name="Freeform 12">
              <a:extLst>
                <a:ext uri="{FF2B5EF4-FFF2-40B4-BE49-F238E27FC236}">
                  <a16:creationId xmlns:a16="http://schemas.microsoft.com/office/drawing/2014/main" id="{BED8E32A-D573-7A8F-859B-947B474D0325}"/>
                </a:ext>
              </a:extLst>
            </p:cNvPr>
            <p:cNvSpPr>
              <a:spLocks/>
            </p:cNvSpPr>
            <p:nvPr/>
          </p:nvSpPr>
          <p:spPr bwMode="auto">
            <a:xfrm>
              <a:off x="5575736" y="3617766"/>
              <a:ext cx="264440" cy="177468"/>
            </a:xfrm>
            <a:custGeom>
              <a:avLst/>
              <a:gdLst>
                <a:gd name="T0" fmla="*/ 2147483647 w 590"/>
                <a:gd name="T1" fmla="*/ 2147483647 h 385"/>
                <a:gd name="T2" fmla="*/ 0 w 590"/>
                <a:gd name="T3" fmla="*/ 2147483647 h 385"/>
                <a:gd name="T4" fmla="*/ 2147483647 w 590"/>
                <a:gd name="T5" fmla="*/ 2147483647 h 385"/>
                <a:gd name="T6" fmla="*/ 2147483647 w 590"/>
                <a:gd name="T7" fmla="*/ 2147483647 h 385"/>
                <a:gd name="T8" fmla="*/ 2147483647 w 590"/>
                <a:gd name="T9" fmla="*/ 2147483647 h 385"/>
                <a:gd name="T10" fmla="*/ 2147483647 w 590"/>
                <a:gd name="T11" fmla="*/ 2147483647 h 385"/>
                <a:gd name="T12" fmla="*/ 2147483647 w 590"/>
                <a:gd name="T13" fmla="*/ 2147483647 h 385"/>
                <a:gd name="T14" fmla="*/ 2147483647 w 590"/>
                <a:gd name="T15" fmla="*/ 2147483647 h 385"/>
                <a:gd name="T16" fmla="*/ 2147483647 w 590"/>
                <a:gd name="T17" fmla="*/ 2147483647 h 385"/>
                <a:gd name="T18" fmla="*/ 2147483647 w 590"/>
                <a:gd name="T19" fmla="*/ 2147483647 h 385"/>
                <a:gd name="T20" fmla="*/ 2147483647 w 590"/>
                <a:gd name="T21" fmla="*/ 2147483647 h 385"/>
                <a:gd name="T22" fmla="*/ 2147483647 w 590"/>
                <a:gd name="T23" fmla="*/ 2147483647 h 385"/>
                <a:gd name="T24" fmla="*/ 2147483647 w 590"/>
                <a:gd name="T25" fmla="*/ 2147483647 h 385"/>
                <a:gd name="T26" fmla="*/ 2147483647 w 590"/>
                <a:gd name="T27" fmla="*/ 2147483647 h 385"/>
                <a:gd name="T28" fmla="*/ 2147483647 w 590"/>
                <a:gd name="T29" fmla="*/ 2147483647 h 385"/>
                <a:gd name="T30" fmla="*/ 2147483647 w 590"/>
                <a:gd name="T31" fmla="*/ 2147483647 h 385"/>
                <a:gd name="T32" fmla="*/ 2147483647 w 590"/>
                <a:gd name="T33" fmla="*/ 2147483647 h 385"/>
                <a:gd name="T34" fmla="*/ 2147483647 w 590"/>
                <a:gd name="T35" fmla="*/ 2147483647 h 385"/>
                <a:gd name="T36" fmla="*/ 2147483647 w 590"/>
                <a:gd name="T37" fmla="*/ 2147483647 h 385"/>
                <a:gd name="T38" fmla="*/ 2147483647 w 590"/>
                <a:gd name="T39" fmla="*/ 2147483647 h 385"/>
                <a:gd name="T40" fmla="*/ 2147483647 w 590"/>
                <a:gd name="T41" fmla="*/ 0 h 385"/>
                <a:gd name="T42" fmla="*/ 2147483647 w 590"/>
                <a:gd name="T43" fmla="*/ 2147483647 h 385"/>
                <a:gd name="T44" fmla="*/ 2147483647 w 590"/>
                <a:gd name="T45" fmla="*/ 2147483647 h 385"/>
                <a:gd name="T46" fmla="*/ 2147483647 w 590"/>
                <a:gd name="T47" fmla="*/ 2147483647 h 385"/>
                <a:gd name="T48" fmla="*/ 2147483647 w 590"/>
                <a:gd name="T49" fmla="*/ 2147483647 h 385"/>
                <a:gd name="T50" fmla="*/ 2147483647 w 590"/>
                <a:gd name="T51" fmla="*/ 2147483647 h 385"/>
                <a:gd name="T52" fmla="*/ 2147483647 w 590"/>
                <a:gd name="T53" fmla="*/ 2147483647 h 385"/>
                <a:gd name="T54" fmla="*/ 2147483647 w 590"/>
                <a:gd name="T55" fmla="*/ 2147483647 h 385"/>
                <a:gd name="T56" fmla="*/ 2147483647 w 590"/>
                <a:gd name="T57" fmla="*/ 2147483647 h 385"/>
                <a:gd name="T58" fmla="*/ 2147483647 w 590"/>
                <a:gd name="T59" fmla="*/ 2147483647 h 385"/>
                <a:gd name="T60" fmla="*/ 2147483647 w 590"/>
                <a:gd name="T61" fmla="*/ 2147483647 h 385"/>
                <a:gd name="T62" fmla="*/ 2147483647 w 590"/>
                <a:gd name="T63" fmla="*/ 2147483647 h 385"/>
                <a:gd name="T64" fmla="*/ 2147483647 w 590"/>
                <a:gd name="T65" fmla="*/ 2147483647 h 385"/>
                <a:gd name="T66" fmla="*/ 2147483647 w 590"/>
                <a:gd name="T67" fmla="*/ 2147483647 h 385"/>
                <a:gd name="T68" fmla="*/ 2147483647 w 590"/>
                <a:gd name="T69" fmla="*/ 2147483647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90"/>
                <a:gd name="T106" fmla="*/ 0 h 385"/>
                <a:gd name="T107" fmla="*/ 699 w 590"/>
                <a:gd name="T108" fmla="*/ 452 h 3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90" h="385">
                  <a:moveTo>
                    <a:pt x="7" y="152"/>
                  </a:moveTo>
                  <a:lnTo>
                    <a:pt x="0" y="214"/>
                  </a:lnTo>
                  <a:lnTo>
                    <a:pt x="14" y="254"/>
                  </a:lnTo>
                  <a:lnTo>
                    <a:pt x="31" y="305"/>
                  </a:lnTo>
                  <a:lnTo>
                    <a:pt x="41" y="359"/>
                  </a:lnTo>
                  <a:lnTo>
                    <a:pt x="80" y="385"/>
                  </a:lnTo>
                  <a:lnTo>
                    <a:pt x="125" y="366"/>
                  </a:lnTo>
                  <a:lnTo>
                    <a:pt x="166" y="338"/>
                  </a:lnTo>
                  <a:lnTo>
                    <a:pt x="229" y="342"/>
                  </a:lnTo>
                  <a:lnTo>
                    <a:pt x="293" y="312"/>
                  </a:lnTo>
                  <a:lnTo>
                    <a:pt x="344" y="279"/>
                  </a:lnTo>
                  <a:lnTo>
                    <a:pt x="394" y="240"/>
                  </a:lnTo>
                  <a:lnTo>
                    <a:pt x="479" y="224"/>
                  </a:lnTo>
                  <a:lnTo>
                    <a:pt x="531" y="204"/>
                  </a:lnTo>
                  <a:lnTo>
                    <a:pt x="541" y="174"/>
                  </a:lnTo>
                  <a:lnTo>
                    <a:pt x="566" y="145"/>
                  </a:lnTo>
                  <a:lnTo>
                    <a:pt x="590" y="125"/>
                  </a:lnTo>
                  <a:lnTo>
                    <a:pt x="576" y="101"/>
                  </a:lnTo>
                  <a:lnTo>
                    <a:pt x="556" y="67"/>
                  </a:lnTo>
                  <a:lnTo>
                    <a:pt x="543" y="26"/>
                  </a:lnTo>
                  <a:lnTo>
                    <a:pt x="533" y="0"/>
                  </a:lnTo>
                  <a:lnTo>
                    <a:pt x="470" y="15"/>
                  </a:lnTo>
                  <a:lnTo>
                    <a:pt x="433" y="20"/>
                  </a:lnTo>
                  <a:lnTo>
                    <a:pt x="392" y="26"/>
                  </a:lnTo>
                  <a:lnTo>
                    <a:pt x="351" y="47"/>
                  </a:lnTo>
                  <a:lnTo>
                    <a:pt x="308" y="72"/>
                  </a:lnTo>
                  <a:lnTo>
                    <a:pt x="266" y="115"/>
                  </a:lnTo>
                  <a:lnTo>
                    <a:pt x="251" y="118"/>
                  </a:lnTo>
                  <a:lnTo>
                    <a:pt x="227" y="130"/>
                  </a:lnTo>
                  <a:lnTo>
                    <a:pt x="187" y="113"/>
                  </a:lnTo>
                  <a:lnTo>
                    <a:pt x="128" y="102"/>
                  </a:lnTo>
                  <a:lnTo>
                    <a:pt x="56" y="98"/>
                  </a:lnTo>
                  <a:lnTo>
                    <a:pt x="25" y="101"/>
                  </a:lnTo>
                  <a:lnTo>
                    <a:pt x="8" y="116"/>
                  </a:lnTo>
                  <a:lnTo>
                    <a:pt x="7" y="15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 name="Freeform 14">
              <a:extLst>
                <a:ext uri="{FF2B5EF4-FFF2-40B4-BE49-F238E27FC236}">
                  <a16:creationId xmlns:a16="http://schemas.microsoft.com/office/drawing/2014/main" id="{36E0E0D7-E70B-6757-EB10-E695457324A1}"/>
                </a:ext>
              </a:extLst>
            </p:cNvPr>
            <p:cNvSpPr>
              <a:spLocks/>
            </p:cNvSpPr>
            <p:nvPr/>
          </p:nvSpPr>
          <p:spPr bwMode="auto">
            <a:xfrm>
              <a:off x="5811041" y="3421862"/>
              <a:ext cx="116533" cy="89885"/>
            </a:xfrm>
            <a:custGeom>
              <a:avLst/>
              <a:gdLst>
                <a:gd name="T0" fmla="*/ 0 w 260"/>
                <a:gd name="T1" fmla="*/ 2147483647 h 195"/>
                <a:gd name="T2" fmla="*/ 2147483647 w 260"/>
                <a:gd name="T3" fmla="*/ 2147483647 h 195"/>
                <a:gd name="T4" fmla="*/ 2147483647 w 260"/>
                <a:gd name="T5" fmla="*/ 2147483647 h 195"/>
                <a:gd name="T6" fmla="*/ 2147483647 w 260"/>
                <a:gd name="T7" fmla="*/ 2147483647 h 195"/>
                <a:gd name="T8" fmla="*/ 2147483647 w 260"/>
                <a:gd name="T9" fmla="*/ 2147483647 h 195"/>
                <a:gd name="T10" fmla="*/ 2147483647 w 260"/>
                <a:gd name="T11" fmla="*/ 2147483647 h 195"/>
                <a:gd name="T12" fmla="*/ 2147483647 w 260"/>
                <a:gd name="T13" fmla="*/ 2147483647 h 195"/>
                <a:gd name="T14" fmla="*/ 2147483647 w 260"/>
                <a:gd name="T15" fmla="*/ 2147483647 h 195"/>
                <a:gd name="T16" fmla="*/ 2147483647 w 260"/>
                <a:gd name="T17" fmla="*/ 2147483647 h 195"/>
                <a:gd name="T18" fmla="*/ 2147483647 w 260"/>
                <a:gd name="T19" fmla="*/ 0 h 195"/>
                <a:gd name="T20" fmla="*/ 2147483647 w 260"/>
                <a:gd name="T21" fmla="*/ 2147483647 h 195"/>
                <a:gd name="T22" fmla="*/ 2147483647 w 260"/>
                <a:gd name="T23" fmla="*/ 2147483647 h 195"/>
                <a:gd name="T24" fmla="*/ 2147483647 w 260"/>
                <a:gd name="T25" fmla="*/ 2147483647 h 195"/>
                <a:gd name="T26" fmla="*/ 2147483647 w 260"/>
                <a:gd name="T27" fmla="*/ 2147483647 h 195"/>
                <a:gd name="T28" fmla="*/ 2147483647 w 260"/>
                <a:gd name="T29" fmla="*/ 2147483647 h 195"/>
                <a:gd name="T30" fmla="*/ 2147483647 w 260"/>
                <a:gd name="T31" fmla="*/ 2147483647 h 195"/>
                <a:gd name="T32" fmla="*/ 2147483647 w 260"/>
                <a:gd name="T33" fmla="*/ 2147483647 h 195"/>
                <a:gd name="T34" fmla="*/ 2147483647 w 260"/>
                <a:gd name="T35" fmla="*/ 2147483647 h 195"/>
                <a:gd name="T36" fmla="*/ 2147483647 w 260"/>
                <a:gd name="T37" fmla="*/ 2147483647 h 195"/>
                <a:gd name="T38" fmla="*/ 2147483647 w 260"/>
                <a:gd name="T39" fmla="*/ 2147483647 h 195"/>
                <a:gd name="T40" fmla="*/ 2147483647 w 260"/>
                <a:gd name="T41" fmla="*/ 2147483647 h 195"/>
                <a:gd name="T42" fmla="*/ 2147483647 w 260"/>
                <a:gd name="T43" fmla="*/ 2147483647 h 195"/>
                <a:gd name="T44" fmla="*/ 0 w 260"/>
                <a:gd name="T45" fmla="*/ 2147483647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0"/>
                <a:gd name="T70" fmla="*/ 0 h 195"/>
                <a:gd name="T71" fmla="*/ 300 w 260"/>
                <a:gd name="T72" fmla="*/ 232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0" h="195">
                  <a:moveTo>
                    <a:pt x="0" y="132"/>
                  </a:moveTo>
                  <a:lnTo>
                    <a:pt x="33" y="122"/>
                  </a:lnTo>
                  <a:lnTo>
                    <a:pt x="62" y="111"/>
                  </a:lnTo>
                  <a:lnTo>
                    <a:pt x="99" y="116"/>
                  </a:lnTo>
                  <a:lnTo>
                    <a:pt x="115" y="115"/>
                  </a:lnTo>
                  <a:lnTo>
                    <a:pt x="125" y="97"/>
                  </a:lnTo>
                  <a:lnTo>
                    <a:pt x="146" y="80"/>
                  </a:lnTo>
                  <a:lnTo>
                    <a:pt x="169" y="61"/>
                  </a:lnTo>
                  <a:lnTo>
                    <a:pt x="204" y="39"/>
                  </a:lnTo>
                  <a:lnTo>
                    <a:pt x="231" y="0"/>
                  </a:lnTo>
                  <a:lnTo>
                    <a:pt x="228" y="12"/>
                  </a:lnTo>
                  <a:lnTo>
                    <a:pt x="234" y="22"/>
                  </a:lnTo>
                  <a:lnTo>
                    <a:pt x="246" y="18"/>
                  </a:lnTo>
                  <a:lnTo>
                    <a:pt x="250" y="3"/>
                  </a:lnTo>
                  <a:lnTo>
                    <a:pt x="260" y="20"/>
                  </a:lnTo>
                  <a:lnTo>
                    <a:pt x="259" y="51"/>
                  </a:lnTo>
                  <a:lnTo>
                    <a:pt x="252" y="64"/>
                  </a:lnTo>
                  <a:lnTo>
                    <a:pt x="241" y="70"/>
                  </a:lnTo>
                  <a:lnTo>
                    <a:pt x="226" y="81"/>
                  </a:lnTo>
                  <a:lnTo>
                    <a:pt x="220" y="67"/>
                  </a:lnTo>
                  <a:lnTo>
                    <a:pt x="213" y="73"/>
                  </a:lnTo>
                  <a:lnTo>
                    <a:pt x="216" y="87"/>
                  </a:lnTo>
                  <a:lnTo>
                    <a:pt x="210" y="106"/>
                  </a:lnTo>
                  <a:lnTo>
                    <a:pt x="196" y="136"/>
                  </a:lnTo>
                  <a:lnTo>
                    <a:pt x="196" y="159"/>
                  </a:lnTo>
                  <a:lnTo>
                    <a:pt x="196" y="177"/>
                  </a:lnTo>
                  <a:lnTo>
                    <a:pt x="185" y="192"/>
                  </a:lnTo>
                  <a:lnTo>
                    <a:pt x="150" y="195"/>
                  </a:lnTo>
                  <a:lnTo>
                    <a:pt x="104" y="192"/>
                  </a:lnTo>
                  <a:lnTo>
                    <a:pt x="44" y="187"/>
                  </a:lnTo>
                  <a:lnTo>
                    <a:pt x="0" y="13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 name="Freeform 15">
              <a:extLst>
                <a:ext uri="{FF2B5EF4-FFF2-40B4-BE49-F238E27FC236}">
                  <a16:creationId xmlns:a16="http://schemas.microsoft.com/office/drawing/2014/main" id="{2DCBBC77-8CB7-E79B-2D28-8CACF2265F5C}"/>
                </a:ext>
              </a:extLst>
            </p:cNvPr>
            <p:cNvSpPr>
              <a:spLocks/>
            </p:cNvSpPr>
            <p:nvPr/>
          </p:nvSpPr>
          <p:spPr bwMode="auto">
            <a:xfrm>
              <a:off x="6519199" y="3878206"/>
              <a:ext cx="71712" cy="112933"/>
            </a:xfrm>
            <a:custGeom>
              <a:avLst/>
              <a:gdLst>
                <a:gd name="T0" fmla="*/ 2147483647 w 403"/>
                <a:gd name="T1" fmla="*/ 2147483647 h 631"/>
                <a:gd name="T2" fmla="*/ 2147483647 w 403"/>
                <a:gd name="T3" fmla="*/ 2147483647 h 631"/>
                <a:gd name="T4" fmla="*/ 2147483647 w 403"/>
                <a:gd name="T5" fmla="*/ 2147483647 h 631"/>
                <a:gd name="T6" fmla="*/ 2147483647 w 403"/>
                <a:gd name="T7" fmla="*/ 2147483647 h 631"/>
                <a:gd name="T8" fmla="*/ 0 w 403"/>
                <a:gd name="T9" fmla="*/ 2147483647 h 631"/>
                <a:gd name="T10" fmla="*/ 2147483647 w 403"/>
                <a:gd name="T11" fmla="*/ 2147483647 h 631"/>
                <a:gd name="T12" fmla="*/ 2147483647 w 403"/>
                <a:gd name="T13" fmla="*/ 2147483647 h 631"/>
                <a:gd name="T14" fmla="*/ 2147483647 w 403"/>
                <a:gd name="T15" fmla="*/ 2147483647 h 631"/>
                <a:gd name="T16" fmla="*/ 2147483647 w 403"/>
                <a:gd name="T17" fmla="*/ 0 h 631"/>
                <a:gd name="T18" fmla="*/ 2147483647 w 403"/>
                <a:gd name="T19" fmla="*/ 2147483647 h 631"/>
                <a:gd name="T20" fmla="*/ 2147483647 w 403"/>
                <a:gd name="T21" fmla="*/ 2147483647 h 631"/>
                <a:gd name="T22" fmla="*/ 2147483647 w 403"/>
                <a:gd name="T23" fmla="*/ 2147483647 h 631"/>
                <a:gd name="T24" fmla="*/ 2147483647 w 403"/>
                <a:gd name="T25" fmla="*/ 2147483647 h 631"/>
                <a:gd name="T26" fmla="*/ 2147483647 w 403"/>
                <a:gd name="T27" fmla="*/ 2147483647 h 6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3"/>
                <a:gd name="T43" fmla="*/ 0 h 631"/>
                <a:gd name="T44" fmla="*/ 403 w 403"/>
                <a:gd name="T45" fmla="*/ 631 h 6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3" h="631">
                  <a:moveTo>
                    <a:pt x="229" y="586"/>
                  </a:moveTo>
                  <a:lnTo>
                    <a:pt x="119" y="631"/>
                  </a:lnTo>
                  <a:lnTo>
                    <a:pt x="37" y="512"/>
                  </a:lnTo>
                  <a:lnTo>
                    <a:pt x="19" y="458"/>
                  </a:lnTo>
                  <a:lnTo>
                    <a:pt x="0" y="320"/>
                  </a:lnTo>
                  <a:lnTo>
                    <a:pt x="83" y="202"/>
                  </a:lnTo>
                  <a:lnTo>
                    <a:pt x="83" y="119"/>
                  </a:lnTo>
                  <a:lnTo>
                    <a:pt x="46" y="19"/>
                  </a:lnTo>
                  <a:lnTo>
                    <a:pt x="101" y="0"/>
                  </a:lnTo>
                  <a:lnTo>
                    <a:pt x="192" y="83"/>
                  </a:lnTo>
                  <a:lnTo>
                    <a:pt x="266" y="229"/>
                  </a:lnTo>
                  <a:lnTo>
                    <a:pt x="375" y="357"/>
                  </a:lnTo>
                  <a:lnTo>
                    <a:pt x="403" y="485"/>
                  </a:lnTo>
                  <a:lnTo>
                    <a:pt x="229" y="586"/>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6" name="Freeform 16">
              <a:extLst>
                <a:ext uri="{FF2B5EF4-FFF2-40B4-BE49-F238E27FC236}">
                  <a16:creationId xmlns:a16="http://schemas.microsoft.com/office/drawing/2014/main" id="{A1460E61-0168-B60F-0884-65E4CF0D30BF}"/>
                </a:ext>
              </a:extLst>
            </p:cNvPr>
            <p:cNvSpPr>
              <a:spLocks/>
            </p:cNvSpPr>
            <p:nvPr/>
          </p:nvSpPr>
          <p:spPr bwMode="auto">
            <a:xfrm>
              <a:off x="7258733" y="3587805"/>
              <a:ext cx="62748" cy="50705"/>
            </a:xfrm>
            <a:custGeom>
              <a:avLst/>
              <a:gdLst>
                <a:gd name="T0" fmla="*/ 2147483647 w 344"/>
                <a:gd name="T1" fmla="*/ 2147483647 h 272"/>
                <a:gd name="T2" fmla="*/ 2147483647 w 344"/>
                <a:gd name="T3" fmla="*/ 2147483647 h 272"/>
                <a:gd name="T4" fmla="*/ 2147483647 w 344"/>
                <a:gd name="T5" fmla="*/ 2147483647 h 272"/>
                <a:gd name="T6" fmla="*/ 0 w 344"/>
                <a:gd name="T7" fmla="*/ 2147483647 h 272"/>
                <a:gd name="T8" fmla="*/ 2147483647 w 344"/>
                <a:gd name="T9" fmla="*/ 2147483647 h 272"/>
                <a:gd name="T10" fmla="*/ 2147483647 w 344"/>
                <a:gd name="T11" fmla="*/ 0 h 272"/>
                <a:gd name="T12" fmla="*/ 2147483647 w 344"/>
                <a:gd name="T13" fmla="*/ 0 h 272"/>
                <a:gd name="T14" fmla="*/ 2147483647 w 344"/>
                <a:gd name="T15" fmla="*/ 0 h 272"/>
                <a:gd name="T16" fmla="*/ 2147483647 w 344"/>
                <a:gd name="T17" fmla="*/ 2147483647 h 272"/>
                <a:gd name="T18" fmla="*/ 2147483647 w 344"/>
                <a:gd name="T19" fmla="*/ 2147483647 h 272"/>
                <a:gd name="T20" fmla="*/ 2147483647 w 344"/>
                <a:gd name="T21" fmla="*/ 2147483647 h 272"/>
                <a:gd name="T22" fmla="*/ 2147483647 w 344"/>
                <a:gd name="T23" fmla="*/ 2147483647 h 2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4"/>
                <a:gd name="T37" fmla="*/ 0 h 272"/>
                <a:gd name="T38" fmla="*/ 344 w 344"/>
                <a:gd name="T39" fmla="*/ 272 h 2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4" h="272">
                  <a:moveTo>
                    <a:pt x="229" y="272"/>
                  </a:moveTo>
                  <a:lnTo>
                    <a:pt x="93" y="272"/>
                  </a:lnTo>
                  <a:lnTo>
                    <a:pt x="2" y="227"/>
                  </a:lnTo>
                  <a:lnTo>
                    <a:pt x="0" y="143"/>
                  </a:lnTo>
                  <a:lnTo>
                    <a:pt x="72" y="79"/>
                  </a:lnTo>
                  <a:lnTo>
                    <a:pt x="93" y="0"/>
                  </a:lnTo>
                  <a:lnTo>
                    <a:pt x="184" y="0"/>
                  </a:lnTo>
                  <a:lnTo>
                    <a:pt x="274" y="0"/>
                  </a:lnTo>
                  <a:lnTo>
                    <a:pt x="344" y="23"/>
                  </a:lnTo>
                  <a:lnTo>
                    <a:pt x="328" y="119"/>
                  </a:lnTo>
                  <a:lnTo>
                    <a:pt x="312" y="207"/>
                  </a:lnTo>
                  <a:lnTo>
                    <a:pt x="229" y="272"/>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 name="Freeform 17">
              <a:extLst>
                <a:ext uri="{FF2B5EF4-FFF2-40B4-BE49-F238E27FC236}">
                  <a16:creationId xmlns:a16="http://schemas.microsoft.com/office/drawing/2014/main" id="{689B403F-C0F0-DDFB-E3B6-0D57E37FC4FA}"/>
                </a:ext>
              </a:extLst>
            </p:cNvPr>
            <p:cNvSpPr>
              <a:spLocks/>
            </p:cNvSpPr>
            <p:nvPr/>
          </p:nvSpPr>
          <p:spPr bwMode="auto">
            <a:xfrm>
              <a:off x="7552305" y="3442605"/>
              <a:ext cx="49302" cy="96800"/>
            </a:xfrm>
            <a:custGeom>
              <a:avLst/>
              <a:gdLst>
                <a:gd name="T0" fmla="*/ 2147483647 w 288"/>
                <a:gd name="T1" fmla="*/ 2147483647 h 520"/>
                <a:gd name="T2" fmla="*/ 2147483647 w 288"/>
                <a:gd name="T3" fmla="*/ 2147483647 h 520"/>
                <a:gd name="T4" fmla="*/ 0 w 288"/>
                <a:gd name="T5" fmla="*/ 2147483647 h 520"/>
                <a:gd name="T6" fmla="*/ 0 w 288"/>
                <a:gd name="T7" fmla="*/ 2147483647 h 520"/>
                <a:gd name="T8" fmla="*/ 2147483647 w 288"/>
                <a:gd name="T9" fmla="*/ 2147483647 h 520"/>
                <a:gd name="T10" fmla="*/ 2147483647 w 288"/>
                <a:gd name="T11" fmla="*/ 2147483647 h 520"/>
                <a:gd name="T12" fmla="*/ 2147483647 w 288"/>
                <a:gd name="T13" fmla="*/ 2147483647 h 520"/>
                <a:gd name="T14" fmla="*/ 2147483647 w 288"/>
                <a:gd name="T15" fmla="*/ 0 h 520"/>
                <a:gd name="T16" fmla="*/ 2147483647 w 288"/>
                <a:gd name="T17" fmla="*/ 0 h 520"/>
                <a:gd name="T18" fmla="*/ 2147483647 w 288"/>
                <a:gd name="T19" fmla="*/ 2147483647 h 520"/>
                <a:gd name="T20" fmla="*/ 2147483647 w 288"/>
                <a:gd name="T21" fmla="*/ 2147483647 h 520"/>
                <a:gd name="T22" fmla="*/ 2147483647 w 288"/>
                <a:gd name="T23" fmla="*/ 2147483647 h 520"/>
                <a:gd name="T24" fmla="*/ 2147483647 w 288"/>
                <a:gd name="T25" fmla="*/ 2147483647 h 520"/>
                <a:gd name="T26" fmla="*/ 2147483647 w 288"/>
                <a:gd name="T27" fmla="*/ 2147483647 h 5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8"/>
                <a:gd name="T43" fmla="*/ 0 h 520"/>
                <a:gd name="T44" fmla="*/ 288 w 288"/>
                <a:gd name="T45" fmla="*/ 520 h 5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8" h="520">
                  <a:moveTo>
                    <a:pt x="176" y="448"/>
                  </a:moveTo>
                  <a:lnTo>
                    <a:pt x="72" y="520"/>
                  </a:lnTo>
                  <a:lnTo>
                    <a:pt x="0" y="440"/>
                  </a:lnTo>
                  <a:lnTo>
                    <a:pt x="0" y="352"/>
                  </a:lnTo>
                  <a:lnTo>
                    <a:pt x="11" y="240"/>
                  </a:lnTo>
                  <a:lnTo>
                    <a:pt x="32" y="161"/>
                  </a:lnTo>
                  <a:lnTo>
                    <a:pt x="120" y="96"/>
                  </a:lnTo>
                  <a:lnTo>
                    <a:pt x="128" y="0"/>
                  </a:lnTo>
                  <a:lnTo>
                    <a:pt x="248" y="0"/>
                  </a:lnTo>
                  <a:lnTo>
                    <a:pt x="288" y="88"/>
                  </a:lnTo>
                  <a:lnTo>
                    <a:pt x="283" y="184"/>
                  </a:lnTo>
                  <a:lnTo>
                    <a:pt x="267" y="280"/>
                  </a:lnTo>
                  <a:lnTo>
                    <a:pt x="216" y="392"/>
                  </a:lnTo>
                  <a:lnTo>
                    <a:pt x="176" y="44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 name="Freeform 18">
              <a:extLst>
                <a:ext uri="{FF2B5EF4-FFF2-40B4-BE49-F238E27FC236}">
                  <a16:creationId xmlns:a16="http://schemas.microsoft.com/office/drawing/2014/main" id="{BA206E60-CBBA-51A0-F82B-B22EA4105563}"/>
                </a:ext>
              </a:extLst>
            </p:cNvPr>
            <p:cNvSpPr>
              <a:spLocks/>
            </p:cNvSpPr>
            <p:nvPr/>
          </p:nvSpPr>
          <p:spPr bwMode="auto">
            <a:xfrm>
              <a:off x="7825709" y="4113292"/>
              <a:ext cx="244269" cy="228171"/>
            </a:xfrm>
            <a:custGeom>
              <a:avLst/>
              <a:gdLst>
                <a:gd name="T0" fmla="*/ 2147483647 w 1417"/>
                <a:gd name="T1" fmla="*/ 2147483647 h 1252"/>
                <a:gd name="T2" fmla="*/ 2147483647 w 1417"/>
                <a:gd name="T3" fmla="*/ 2147483647 h 1252"/>
                <a:gd name="T4" fmla="*/ 2147483647 w 1417"/>
                <a:gd name="T5" fmla="*/ 2147483647 h 1252"/>
                <a:gd name="T6" fmla="*/ 2147483647 w 1417"/>
                <a:gd name="T7" fmla="*/ 2147483647 h 1252"/>
                <a:gd name="T8" fmla="*/ 2147483647 w 1417"/>
                <a:gd name="T9" fmla="*/ 2147483647 h 1252"/>
                <a:gd name="T10" fmla="*/ 2147483647 w 1417"/>
                <a:gd name="T11" fmla="*/ 2147483647 h 1252"/>
                <a:gd name="T12" fmla="*/ 2147483647 w 1417"/>
                <a:gd name="T13" fmla="*/ 2147483647 h 1252"/>
                <a:gd name="T14" fmla="*/ 2147483647 w 1417"/>
                <a:gd name="T15" fmla="*/ 2147483647 h 1252"/>
                <a:gd name="T16" fmla="*/ 2147483647 w 1417"/>
                <a:gd name="T17" fmla="*/ 2147483647 h 1252"/>
                <a:gd name="T18" fmla="*/ 2147483647 w 1417"/>
                <a:gd name="T19" fmla="*/ 2147483647 h 1252"/>
                <a:gd name="T20" fmla="*/ 2147483647 w 1417"/>
                <a:gd name="T21" fmla="*/ 2147483647 h 1252"/>
                <a:gd name="T22" fmla="*/ 2147483647 w 1417"/>
                <a:gd name="T23" fmla="*/ 2147483647 h 1252"/>
                <a:gd name="T24" fmla="*/ 2147483647 w 1417"/>
                <a:gd name="T25" fmla="*/ 2147483647 h 1252"/>
                <a:gd name="T26" fmla="*/ 2147483647 w 1417"/>
                <a:gd name="T27" fmla="*/ 2147483647 h 1252"/>
                <a:gd name="T28" fmla="*/ 2147483647 w 1417"/>
                <a:gd name="T29" fmla="*/ 2147483647 h 1252"/>
                <a:gd name="T30" fmla="*/ 2147483647 w 1417"/>
                <a:gd name="T31" fmla="*/ 2147483647 h 1252"/>
                <a:gd name="T32" fmla="*/ 2147483647 w 1417"/>
                <a:gd name="T33" fmla="*/ 2147483647 h 1252"/>
                <a:gd name="T34" fmla="*/ 2147483647 w 1417"/>
                <a:gd name="T35" fmla="*/ 2147483647 h 1252"/>
                <a:gd name="T36" fmla="*/ 2147483647 w 1417"/>
                <a:gd name="T37" fmla="*/ 2147483647 h 1252"/>
                <a:gd name="T38" fmla="*/ 2147483647 w 1417"/>
                <a:gd name="T39" fmla="*/ 2147483647 h 1252"/>
                <a:gd name="T40" fmla="*/ 2147483647 w 1417"/>
                <a:gd name="T41" fmla="*/ 2147483647 h 1252"/>
                <a:gd name="T42" fmla="*/ 2147483647 w 1417"/>
                <a:gd name="T43" fmla="*/ 2147483647 h 1252"/>
                <a:gd name="T44" fmla="*/ 2147483647 w 1417"/>
                <a:gd name="T45" fmla="*/ 2147483647 h 1252"/>
                <a:gd name="T46" fmla="*/ 2147483647 w 1417"/>
                <a:gd name="T47" fmla="*/ 2147483647 h 1252"/>
                <a:gd name="T48" fmla="*/ 2147483647 w 1417"/>
                <a:gd name="T49" fmla="*/ 2147483647 h 1252"/>
                <a:gd name="T50" fmla="*/ 2147483647 w 1417"/>
                <a:gd name="T51" fmla="*/ 2147483647 h 1252"/>
                <a:gd name="T52" fmla="*/ 2147483647 w 1417"/>
                <a:gd name="T53" fmla="*/ 2147483647 h 1252"/>
                <a:gd name="T54" fmla="*/ 2147483647 w 1417"/>
                <a:gd name="T55" fmla="*/ 2147483647 h 1252"/>
                <a:gd name="T56" fmla="*/ 2147483647 w 1417"/>
                <a:gd name="T57" fmla="*/ 2147483647 h 1252"/>
                <a:gd name="T58" fmla="*/ 2147483647 w 1417"/>
                <a:gd name="T59" fmla="*/ 2147483647 h 1252"/>
                <a:gd name="T60" fmla="*/ 2147483647 w 1417"/>
                <a:gd name="T61" fmla="*/ 2147483647 h 1252"/>
                <a:gd name="T62" fmla="*/ 2147483647 w 1417"/>
                <a:gd name="T63" fmla="*/ 2147483647 h 1252"/>
                <a:gd name="T64" fmla="*/ 2147483647 w 1417"/>
                <a:gd name="T65" fmla="*/ 2147483647 h 1252"/>
                <a:gd name="T66" fmla="*/ 2147483647 w 1417"/>
                <a:gd name="T67" fmla="*/ 2147483647 h 1252"/>
                <a:gd name="T68" fmla="*/ 2147483647 w 1417"/>
                <a:gd name="T69" fmla="*/ 2147483647 h 1252"/>
                <a:gd name="T70" fmla="*/ 2147483647 w 1417"/>
                <a:gd name="T71" fmla="*/ 2147483647 h 1252"/>
                <a:gd name="T72" fmla="*/ 2147483647 w 1417"/>
                <a:gd name="T73" fmla="*/ 2147483647 h 1252"/>
                <a:gd name="T74" fmla="*/ 2147483647 w 1417"/>
                <a:gd name="T75" fmla="*/ 2147483647 h 1252"/>
                <a:gd name="T76" fmla="*/ 2147483647 w 1417"/>
                <a:gd name="T77" fmla="*/ 2147483647 h 1252"/>
                <a:gd name="T78" fmla="*/ 2147483647 w 1417"/>
                <a:gd name="T79" fmla="*/ 0 h 1252"/>
                <a:gd name="T80" fmla="*/ 2147483647 w 1417"/>
                <a:gd name="T81" fmla="*/ 2147483647 h 1252"/>
                <a:gd name="T82" fmla="*/ 2147483647 w 1417"/>
                <a:gd name="T83" fmla="*/ 2147483647 h 1252"/>
                <a:gd name="T84" fmla="*/ 0 w 1417"/>
                <a:gd name="T85" fmla="*/ 2147483647 h 1252"/>
                <a:gd name="T86" fmla="*/ 2147483647 w 1417"/>
                <a:gd name="T87" fmla="*/ 2147483647 h 12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17"/>
                <a:gd name="T133" fmla="*/ 0 h 1252"/>
                <a:gd name="T134" fmla="*/ 1417 w 1417"/>
                <a:gd name="T135" fmla="*/ 1252 h 12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17" h="1252">
                  <a:moveTo>
                    <a:pt x="82" y="194"/>
                  </a:moveTo>
                  <a:lnTo>
                    <a:pt x="146" y="256"/>
                  </a:lnTo>
                  <a:lnTo>
                    <a:pt x="228" y="274"/>
                  </a:lnTo>
                  <a:lnTo>
                    <a:pt x="320" y="256"/>
                  </a:lnTo>
                  <a:lnTo>
                    <a:pt x="393" y="283"/>
                  </a:lnTo>
                  <a:lnTo>
                    <a:pt x="310" y="384"/>
                  </a:lnTo>
                  <a:lnTo>
                    <a:pt x="173" y="374"/>
                  </a:lnTo>
                  <a:lnTo>
                    <a:pt x="192" y="420"/>
                  </a:lnTo>
                  <a:lnTo>
                    <a:pt x="228" y="475"/>
                  </a:lnTo>
                  <a:lnTo>
                    <a:pt x="292" y="524"/>
                  </a:lnTo>
                  <a:lnTo>
                    <a:pt x="411" y="493"/>
                  </a:lnTo>
                  <a:lnTo>
                    <a:pt x="530" y="557"/>
                  </a:lnTo>
                  <a:lnTo>
                    <a:pt x="640" y="621"/>
                  </a:lnTo>
                  <a:lnTo>
                    <a:pt x="777" y="621"/>
                  </a:lnTo>
                  <a:lnTo>
                    <a:pt x="905" y="685"/>
                  </a:lnTo>
                  <a:lnTo>
                    <a:pt x="1005" y="768"/>
                  </a:lnTo>
                  <a:lnTo>
                    <a:pt x="1078" y="905"/>
                  </a:lnTo>
                  <a:lnTo>
                    <a:pt x="1078" y="1033"/>
                  </a:lnTo>
                  <a:lnTo>
                    <a:pt x="978" y="1115"/>
                  </a:lnTo>
                  <a:lnTo>
                    <a:pt x="978" y="1225"/>
                  </a:lnTo>
                  <a:lnTo>
                    <a:pt x="1078" y="1188"/>
                  </a:lnTo>
                  <a:lnTo>
                    <a:pt x="1152" y="1152"/>
                  </a:lnTo>
                  <a:lnTo>
                    <a:pt x="1216" y="1142"/>
                  </a:lnTo>
                  <a:lnTo>
                    <a:pt x="1316" y="1170"/>
                  </a:lnTo>
                  <a:lnTo>
                    <a:pt x="1417" y="1252"/>
                  </a:lnTo>
                  <a:lnTo>
                    <a:pt x="1417" y="338"/>
                  </a:lnTo>
                  <a:lnTo>
                    <a:pt x="1261" y="301"/>
                  </a:lnTo>
                  <a:lnTo>
                    <a:pt x="1162" y="254"/>
                  </a:lnTo>
                  <a:lnTo>
                    <a:pt x="1014" y="146"/>
                  </a:lnTo>
                  <a:lnTo>
                    <a:pt x="923" y="192"/>
                  </a:lnTo>
                  <a:lnTo>
                    <a:pt x="886" y="256"/>
                  </a:lnTo>
                  <a:lnTo>
                    <a:pt x="777" y="301"/>
                  </a:lnTo>
                  <a:lnTo>
                    <a:pt x="704" y="374"/>
                  </a:lnTo>
                  <a:lnTo>
                    <a:pt x="603" y="457"/>
                  </a:lnTo>
                  <a:lnTo>
                    <a:pt x="539" y="338"/>
                  </a:lnTo>
                  <a:lnTo>
                    <a:pt x="472" y="284"/>
                  </a:lnTo>
                  <a:lnTo>
                    <a:pt x="472" y="134"/>
                  </a:lnTo>
                  <a:lnTo>
                    <a:pt x="420" y="36"/>
                  </a:lnTo>
                  <a:lnTo>
                    <a:pt x="320" y="64"/>
                  </a:lnTo>
                  <a:lnTo>
                    <a:pt x="201" y="0"/>
                  </a:lnTo>
                  <a:lnTo>
                    <a:pt x="109" y="64"/>
                  </a:lnTo>
                  <a:lnTo>
                    <a:pt x="27" y="100"/>
                  </a:lnTo>
                  <a:lnTo>
                    <a:pt x="0" y="173"/>
                  </a:lnTo>
                  <a:lnTo>
                    <a:pt x="82" y="194"/>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4" name="Freeform 19">
              <a:extLst>
                <a:ext uri="{FF2B5EF4-FFF2-40B4-BE49-F238E27FC236}">
                  <a16:creationId xmlns:a16="http://schemas.microsoft.com/office/drawing/2014/main" id="{0D96D27F-F09F-A21A-36C4-B9BF413C7916}"/>
                </a:ext>
              </a:extLst>
            </p:cNvPr>
            <p:cNvSpPr>
              <a:spLocks/>
            </p:cNvSpPr>
            <p:nvPr/>
          </p:nvSpPr>
          <p:spPr bwMode="auto">
            <a:xfrm>
              <a:off x="8069979" y="4175520"/>
              <a:ext cx="255475" cy="221258"/>
            </a:xfrm>
            <a:custGeom>
              <a:avLst/>
              <a:gdLst>
                <a:gd name="T0" fmla="*/ 2147483647 w 1460"/>
                <a:gd name="T1" fmla="*/ 2147483647 h 1200"/>
                <a:gd name="T2" fmla="*/ 0 w 1460"/>
                <a:gd name="T3" fmla="*/ 2147483647 h 1200"/>
                <a:gd name="T4" fmla="*/ 2147483647 w 1460"/>
                <a:gd name="T5" fmla="*/ 2147483647 h 1200"/>
                <a:gd name="T6" fmla="*/ 2147483647 w 1460"/>
                <a:gd name="T7" fmla="*/ 2147483647 h 1200"/>
                <a:gd name="T8" fmla="*/ 2147483647 w 1460"/>
                <a:gd name="T9" fmla="*/ 2147483647 h 1200"/>
                <a:gd name="T10" fmla="*/ 2147483647 w 1460"/>
                <a:gd name="T11" fmla="*/ 2147483647 h 1200"/>
                <a:gd name="T12" fmla="*/ 2147483647 w 1460"/>
                <a:gd name="T13" fmla="*/ 2147483647 h 1200"/>
                <a:gd name="T14" fmla="*/ 2147483647 w 1460"/>
                <a:gd name="T15" fmla="*/ 2147483647 h 1200"/>
                <a:gd name="T16" fmla="*/ 2147483647 w 1460"/>
                <a:gd name="T17" fmla="*/ 2147483647 h 1200"/>
                <a:gd name="T18" fmla="*/ 2147483647 w 1460"/>
                <a:gd name="T19" fmla="*/ 2147483647 h 1200"/>
                <a:gd name="T20" fmla="*/ 2147483647 w 1460"/>
                <a:gd name="T21" fmla="*/ 2147483647 h 1200"/>
                <a:gd name="T22" fmla="*/ 2147483647 w 1460"/>
                <a:gd name="T23" fmla="*/ 2147483647 h 1200"/>
                <a:gd name="T24" fmla="*/ 2147483647 w 1460"/>
                <a:gd name="T25" fmla="*/ 2147483647 h 1200"/>
                <a:gd name="T26" fmla="*/ 2147483647 w 1460"/>
                <a:gd name="T27" fmla="*/ 2147483647 h 1200"/>
                <a:gd name="T28" fmla="*/ 2147483647 w 1460"/>
                <a:gd name="T29" fmla="*/ 2147483647 h 1200"/>
                <a:gd name="T30" fmla="*/ 2147483647 w 1460"/>
                <a:gd name="T31" fmla="*/ 2147483647 h 1200"/>
                <a:gd name="T32" fmla="*/ 2147483647 w 1460"/>
                <a:gd name="T33" fmla="*/ 2147483647 h 1200"/>
                <a:gd name="T34" fmla="*/ 2147483647 w 1460"/>
                <a:gd name="T35" fmla="*/ 2147483647 h 1200"/>
                <a:gd name="T36" fmla="*/ 2147483647 w 1460"/>
                <a:gd name="T37" fmla="*/ 2147483647 h 1200"/>
                <a:gd name="T38" fmla="*/ 2147483647 w 1460"/>
                <a:gd name="T39" fmla="*/ 2147483647 h 1200"/>
                <a:gd name="T40" fmla="*/ 2147483647 w 1460"/>
                <a:gd name="T41" fmla="*/ 2147483647 h 1200"/>
                <a:gd name="T42" fmla="*/ 2147483647 w 1460"/>
                <a:gd name="T43" fmla="*/ 2147483647 h 1200"/>
                <a:gd name="T44" fmla="*/ 2147483647 w 1460"/>
                <a:gd name="T45" fmla="*/ 2147483647 h 1200"/>
                <a:gd name="T46" fmla="*/ 2147483647 w 1460"/>
                <a:gd name="T47" fmla="*/ 2147483647 h 1200"/>
                <a:gd name="T48" fmla="*/ 2147483647 w 1460"/>
                <a:gd name="T49" fmla="*/ 2147483647 h 1200"/>
                <a:gd name="T50" fmla="*/ 2147483647 w 1460"/>
                <a:gd name="T51" fmla="*/ 2147483647 h 1200"/>
                <a:gd name="T52" fmla="*/ 2147483647 w 1460"/>
                <a:gd name="T53" fmla="*/ 2147483647 h 1200"/>
                <a:gd name="T54" fmla="*/ 2147483647 w 1460"/>
                <a:gd name="T55" fmla="*/ 2147483647 h 1200"/>
                <a:gd name="T56" fmla="*/ 2147483647 w 1460"/>
                <a:gd name="T57" fmla="*/ 2147483647 h 1200"/>
                <a:gd name="T58" fmla="*/ 2147483647 w 1460"/>
                <a:gd name="T59" fmla="*/ 2147483647 h 1200"/>
                <a:gd name="T60" fmla="*/ 2147483647 w 1460"/>
                <a:gd name="T61" fmla="*/ 2147483647 h 1200"/>
                <a:gd name="T62" fmla="*/ 2147483647 w 1460"/>
                <a:gd name="T63" fmla="*/ 2147483647 h 1200"/>
                <a:gd name="T64" fmla="*/ 2147483647 w 1460"/>
                <a:gd name="T65" fmla="*/ 2147483647 h 1200"/>
                <a:gd name="T66" fmla="*/ 2147483647 w 1460"/>
                <a:gd name="T67" fmla="*/ 2147483647 h 1200"/>
                <a:gd name="T68" fmla="*/ 2147483647 w 1460"/>
                <a:gd name="T69" fmla="*/ 0 h 1200"/>
                <a:gd name="T70" fmla="*/ 2147483647 w 1460"/>
                <a:gd name="T71" fmla="*/ 2147483647 h 12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460"/>
                <a:gd name="T109" fmla="*/ 0 h 1200"/>
                <a:gd name="T110" fmla="*/ 1460 w 1460"/>
                <a:gd name="T111" fmla="*/ 1200 h 12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460" h="1200">
                  <a:moveTo>
                    <a:pt x="2" y="6"/>
                  </a:moveTo>
                  <a:lnTo>
                    <a:pt x="0" y="918"/>
                  </a:lnTo>
                  <a:lnTo>
                    <a:pt x="196" y="960"/>
                  </a:lnTo>
                  <a:lnTo>
                    <a:pt x="340" y="976"/>
                  </a:lnTo>
                  <a:lnTo>
                    <a:pt x="396" y="896"/>
                  </a:lnTo>
                  <a:lnTo>
                    <a:pt x="324" y="808"/>
                  </a:lnTo>
                  <a:lnTo>
                    <a:pt x="428" y="776"/>
                  </a:lnTo>
                  <a:lnTo>
                    <a:pt x="580" y="712"/>
                  </a:lnTo>
                  <a:lnTo>
                    <a:pt x="676" y="792"/>
                  </a:lnTo>
                  <a:lnTo>
                    <a:pt x="756" y="872"/>
                  </a:lnTo>
                  <a:lnTo>
                    <a:pt x="836" y="952"/>
                  </a:lnTo>
                  <a:lnTo>
                    <a:pt x="908" y="1056"/>
                  </a:lnTo>
                  <a:lnTo>
                    <a:pt x="1028" y="1136"/>
                  </a:lnTo>
                  <a:lnTo>
                    <a:pt x="1156" y="1144"/>
                  </a:lnTo>
                  <a:lnTo>
                    <a:pt x="1236" y="1128"/>
                  </a:lnTo>
                  <a:lnTo>
                    <a:pt x="1372" y="1200"/>
                  </a:lnTo>
                  <a:lnTo>
                    <a:pt x="1460" y="1144"/>
                  </a:lnTo>
                  <a:lnTo>
                    <a:pt x="1276" y="1040"/>
                  </a:lnTo>
                  <a:lnTo>
                    <a:pt x="1220" y="1000"/>
                  </a:lnTo>
                  <a:lnTo>
                    <a:pt x="1182" y="885"/>
                  </a:lnTo>
                  <a:lnTo>
                    <a:pt x="1092" y="912"/>
                  </a:lnTo>
                  <a:lnTo>
                    <a:pt x="1092" y="832"/>
                  </a:lnTo>
                  <a:lnTo>
                    <a:pt x="1004" y="776"/>
                  </a:lnTo>
                  <a:lnTo>
                    <a:pt x="964" y="720"/>
                  </a:lnTo>
                  <a:lnTo>
                    <a:pt x="892" y="632"/>
                  </a:lnTo>
                  <a:lnTo>
                    <a:pt x="1004" y="592"/>
                  </a:lnTo>
                  <a:lnTo>
                    <a:pt x="980" y="512"/>
                  </a:lnTo>
                  <a:lnTo>
                    <a:pt x="884" y="472"/>
                  </a:lnTo>
                  <a:lnTo>
                    <a:pt x="772" y="424"/>
                  </a:lnTo>
                  <a:lnTo>
                    <a:pt x="692" y="320"/>
                  </a:lnTo>
                  <a:lnTo>
                    <a:pt x="604" y="232"/>
                  </a:lnTo>
                  <a:lnTo>
                    <a:pt x="484" y="152"/>
                  </a:lnTo>
                  <a:lnTo>
                    <a:pt x="300" y="72"/>
                  </a:lnTo>
                  <a:lnTo>
                    <a:pt x="180" y="48"/>
                  </a:lnTo>
                  <a:lnTo>
                    <a:pt x="84" y="0"/>
                  </a:lnTo>
                  <a:lnTo>
                    <a:pt x="2" y="6"/>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6" name="Freeform 20">
              <a:extLst>
                <a:ext uri="{FF2B5EF4-FFF2-40B4-BE49-F238E27FC236}">
                  <a16:creationId xmlns:a16="http://schemas.microsoft.com/office/drawing/2014/main" id="{4A0243E3-21F3-B000-80EE-DD0312F25B68}"/>
                </a:ext>
              </a:extLst>
            </p:cNvPr>
            <p:cNvSpPr>
              <a:spLocks/>
            </p:cNvSpPr>
            <p:nvPr/>
          </p:nvSpPr>
          <p:spPr bwMode="auto">
            <a:xfrm>
              <a:off x="6922581" y="3979616"/>
              <a:ext cx="289091" cy="295011"/>
            </a:xfrm>
            <a:custGeom>
              <a:avLst/>
              <a:gdLst>
                <a:gd name="T0" fmla="*/ 2147483647 w 753"/>
                <a:gd name="T1" fmla="*/ 0 h 749"/>
                <a:gd name="T2" fmla="*/ 0 w 753"/>
                <a:gd name="T3" fmla="*/ 2147483647 h 749"/>
                <a:gd name="T4" fmla="*/ 2147483647 w 753"/>
                <a:gd name="T5" fmla="*/ 2147483647 h 749"/>
                <a:gd name="T6" fmla="*/ 2147483647 w 753"/>
                <a:gd name="T7" fmla="*/ 2147483647 h 749"/>
                <a:gd name="T8" fmla="*/ 2147483647 w 753"/>
                <a:gd name="T9" fmla="*/ 2147483647 h 749"/>
                <a:gd name="T10" fmla="*/ 2147483647 w 753"/>
                <a:gd name="T11" fmla="*/ 2147483647 h 749"/>
                <a:gd name="T12" fmla="*/ 2147483647 w 753"/>
                <a:gd name="T13" fmla="*/ 2147483647 h 749"/>
                <a:gd name="T14" fmla="*/ 2147483647 w 753"/>
                <a:gd name="T15" fmla="*/ 2147483647 h 749"/>
                <a:gd name="T16" fmla="*/ 2147483647 w 753"/>
                <a:gd name="T17" fmla="*/ 2147483647 h 749"/>
                <a:gd name="T18" fmla="*/ 2147483647 w 753"/>
                <a:gd name="T19" fmla="*/ 2147483647 h 749"/>
                <a:gd name="T20" fmla="*/ 2147483647 w 753"/>
                <a:gd name="T21" fmla="*/ 2147483647 h 749"/>
                <a:gd name="T22" fmla="*/ 2147483647 w 753"/>
                <a:gd name="T23" fmla="*/ 2147483647 h 749"/>
                <a:gd name="T24" fmla="*/ 2147483647 w 753"/>
                <a:gd name="T25" fmla="*/ 2147483647 h 749"/>
                <a:gd name="T26" fmla="*/ 2147483647 w 753"/>
                <a:gd name="T27" fmla="*/ 2147483647 h 749"/>
                <a:gd name="T28" fmla="*/ 2147483647 w 753"/>
                <a:gd name="T29" fmla="*/ 2147483647 h 749"/>
                <a:gd name="T30" fmla="*/ 2147483647 w 753"/>
                <a:gd name="T31" fmla="*/ 2147483647 h 749"/>
                <a:gd name="T32" fmla="*/ 2147483647 w 753"/>
                <a:gd name="T33" fmla="*/ 2147483647 h 749"/>
                <a:gd name="T34" fmla="*/ 2147483647 w 753"/>
                <a:gd name="T35" fmla="*/ 2147483647 h 749"/>
                <a:gd name="T36" fmla="*/ 2147483647 w 753"/>
                <a:gd name="T37" fmla="*/ 2147483647 h 749"/>
                <a:gd name="T38" fmla="*/ 2147483647 w 753"/>
                <a:gd name="T39" fmla="*/ 2147483647 h 749"/>
                <a:gd name="T40" fmla="*/ 2147483647 w 753"/>
                <a:gd name="T41" fmla="*/ 2147483647 h 749"/>
                <a:gd name="T42" fmla="*/ 2147483647 w 753"/>
                <a:gd name="T43" fmla="*/ 2147483647 h 749"/>
                <a:gd name="T44" fmla="*/ 2147483647 w 753"/>
                <a:gd name="T45" fmla="*/ 2147483647 h 749"/>
                <a:gd name="T46" fmla="*/ 2147483647 w 753"/>
                <a:gd name="T47" fmla="*/ 2147483647 h 749"/>
                <a:gd name="T48" fmla="*/ 2147483647 w 753"/>
                <a:gd name="T49" fmla="*/ 2147483647 h 749"/>
                <a:gd name="T50" fmla="*/ 2147483647 w 753"/>
                <a:gd name="T51" fmla="*/ 2147483647 h 749"/>
                <a:gd name="T52" fmla="*/ 2147483647 w 753"/>
                <a:gd name="T53" fmla="*/ 2147483647 h 749"/>
                <a:gd name="T54" fmla="*/ 2147483647 w 753"/>
                <a:gd name="T55" fmla="*/ 2147483647 h 749"/>
                <a:gd name="T56" fmla="*/ 2147483647 w 753"/>
                <a:gd name="T57" fmla="*/ 2147483647 h 749"/>
                <a:gd name="T58" fmla="*/ 2147483647 w 753"/>
                <a:gd name="T59" fmla="*/ 2147483647 h 749"/>
                <a:gd name="T60" fmla="*/ 2147483647 w 753"/>
                <a:gd name="T61" fmla="*/ 2147483647 h 749"/>
                <a:gd name="T62" fmla="*/ 2147483647 w 753"/>
                <a:gd name="T63" fmla="*/ 2147483647 h 749"/>
                <a:gd name="T64" fmla="*/ 2147483647 w 753"/>
                <a:gd name="T65" fmla="*/ 2147483647 h 749"/>
                <a:gd name="T66" fmla="*/ 2147483647 w 753"/>
                <a:gd name="T67" fmla="*/ 2147483647 h 749"/>
                <a:gd name="T68" fmla="*/ 2147483647 w 753"/>
                <a:gd name="T69" fmla="*/ 2147483647 h 749"/>
                <a:gd name="T70" fmla="*/ 2147483647 w 753"/>
                <a:gd name="T71" fmla="*/ 2147483647 h 749"/>
                <a:gd name="T72" fmla="*/ 2147483647 w 753"/>
                <a:gd name="T73" fmla="*/ 2147483647 h 749"/>
                <a:gd name="T74" fmla="*/ 2147483647 w 753"/>
                <a:gd name="T75" fmla="*/ 2147483647 h 749"/>
                <a:gd name="T76" fmla="*/ 2147483647 w 753"/>
                <a:gd name="T77" fmla="*/ 2147483647 h 749"/>
                <a:gd name="T78" fmla="*/ 2147483647 w 753"/>
                <a:gd name="T79" fmla="*/ 2147483647 h 749"/>
                <a:gd name="T80" fmla="*/ 2147483647 w 753"/>
                <a:gd name="T81" fmla="*/ 2147483647 h 749"/>
                <a:gd name="T82" fmla="*/ 2147483647 w 753"/>
                <a:gd name="T83" fmla="*/ 2147483647 h 749"/>
                <a:gd name="T84" fmla="*/ 2147483647 w 753"/>
                <a:gd name="T85" fmla="*/ 2147483647 h 749"/>
                <a:gd name="T86" fmla="*/ 2147483647 w 753"/>
                <a:gd name="T87" fmla="*/ 2147483647 h 749"/>
                <a:gd name="T88" fmla="*/ 2147483647 w 753"/>
                <a:gd name="T89" fmla="*/ 2147483647 h 749"/>
                <a:gd name="T90" fmla="*/ 2147483647 w 753"/>
                <a:gd name="T91" fmla="*/ 0 h 7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3"/>
                <a:gd name="T139" fmla="*/ 0 h 749"/>
                <a:gd name="T140" fmla="*/ 753 w 753"/>
                <a:gd name="T141" fmla="*/ 749 h 7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3" h="749">
                  <a:moveTo>
                    <a:pt x="8" y="0"/>
                  </a:moveTo>
                  <a:lnTo>
                    <a:pt x="0" y="48"/>
                  </a:lnTo>
                  <a:lnTo>
                    <a:pt x="70" y="105"/>
                  </a:lnTo>
                  <a:lnTo>
                    <a:pt x="101" y="141"/>
                  </a:lnTo>
                  <a:lnTo>
                    <a:pt x="128" y="163"/>
                  </a:lnTo>
                  <a:lnTo>
                    <a:pt x="174" y="219"/>
                  </a:lnTo>
                  <a:lnTo>
                    <a:pt x="247" y="311"/>
                  </a:lnTo>
                  <a:lnTo>
                    <a:pt x="324" y="418"/>
                  </a:lnTo>
                  <a:lnTo>
                    <a:pt x="352" y="487"/>
                  </a:lnTo>
                  <a:lnTo>
                    <a:pt x="373" y="539"/>
                  </a:lnTo>
                  <a:lnTo>
                    <a:pt x="424" y="603"/>
                  </a:lnTo>
                  <a:lnTo>
                    <a:pt x="467" y="648"/>
                  </a:lnTo>
                  <a:lnTo>
                    <a:pt x="529" y="685"/>
                  </a:lnTo>
                  <a:lnTo>
                    <a:pt x="587" y="738"/>
                  </a:lnTo>
                  <a:lnTo>
                    <a:pt x="634" y="749"/>
                  </a:lnTo>
                  <a:lnTo>
                    <a:pt x="681" y="742"/>
                  </a:lnTo>
                  <a:lnTo>
                    <a:pt x="702" y="697"/>
                  </a:lnTo>
                  <a:lnTo>
                    <a:pt x="706" y="637"/>
                  </a:lnTo>
                  <a:lnTo>
                    <a:pt x="699" y="566"/>
                  </a:lnTo>
                  <a:lnTo>
                    <a:pt x="732" y="561"/>
                  </a:lnTo>
                  <a:lnTo>
                    <a:pt x="753" y="528"/>
                  </a:lnTo>
                  <a:lnTo>
                    <a:pt x="738" y="495"/>
                  </a:lnTo>
                  <a:lnTo>
                    <a:pt x="699" y="454"/>
                  </a:lnTo>
                  <a:lnTo>
                    <a:pt x="663" y="450"/>
                  </a:lnTo>
                  <a:lnTo>
                    <a:pt x="681" y="495"/>
                  </a:lnTo>
                  <a:lnTo>
                    <a:pt x="666" y="520"/>
                  </a:lnTo>
                  <a:lnTo>
                    <a:pt x="649" y="517"/>
                  </a:lnTo>
                  <a:lnTo>
                    <a:pt x="605" y="472"/>
                  </a:lnTo>
                  <a:lnTo>
                    <a:pt x="583" y="420"/>
                  </a:lnTo>
                  <a:lnTo>
                    <a:pt x="525" y="408"/>
                  </a:lnTo>
                  <a:lnTo>
                    <a:pt x="532" y="378"/>
                  </a:lnTo>
                  <a:lnTo>
                    <a:pt x="561" y="348"/>
                  </a:lnTo>
                  <a:lnTo>
                    <a:pt x="529" y="330"/>
                  </a:lnTo>
                  <a:lnTo>
                    <a:pt x="489" y="318"/>
                  </a:lnTo>
                  <a:lnTo>
                    <a:pt x="457" y="285"/>
                  </a:lnTo>
                  <a:lnTo>
                    <a:pt x="424" y="259"/>
                  </a:lnTo>
                  <a:lnTo>
                    <a:pt x="395" y="217"/>
                  </a:lnTo>
                  <a:lnTo>
                    <a:pt x="355" y="214"/>
                  </a:lnTo>
                  <a:lnTo>
                    <a:pt x="319" y="176"/>
                  </a:lnTo>
                  <a:lnTo>
                    <a:pt x="266" y="138"/>
                  </a:lnTo>
                  <a:lnTo>
                    <a:pt x="214" y="86"/>
                  </a:lnTo>
                  <a:lnTo>
                    <a:pt x="171" y="39"/>
                  </a:lnTo>
                  <a:lnTo>
                    <a:pt x="129" y="16"/>
                  </a:lnTo>
                  <a:lnTo>
                    <a:pt x="81" y="33"/>
                  </a:lnTo>
                  <a:lnTo>
                    <a:pt x="35" y="3"/>
                  </a:lnTo>
                  <a:lnTo>
                    <a:pt x="8" y="0"/>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8" name="Freeform 21">
              <a:extLst>
                <a:ext uri="{FF2B5EF4-FFF2-40B4-BE49-F238E27FC236}">
                  <a16:creationId xmlns:a16="http://schemas.microsoft.com/office/drawing/2014/main" id="{378FEC1C-0254-BE92-DDE0-A332976C8F31}"/>
                </a:ext>
              </a:extLst>
            </p:cNvPr>
            <p:cNvSpPr>
              <a:spLocks/>
            </p:cNvSpPr>
            <p:nvPr/>
          </p:nvSpPr>
          <p:spPr bwMode="auto">
            <a:xfrm>
              <a:off x="7048078" y="3961176"/>
              <a:ext cx="107568" cy="135981"/>
            </a:xfrm>
            <a:custGeom>
              <a:avLst/>
              <a:gdLst>
                <a:gd name="T0" fmla="*/ 0 w 288"/>
                <a:gd name="T1" fmla="*/ 0 h 348"/>
                <a:gd name="T2" fmla="*/ 2147483647 w 288"/>
                <a:gd name="T3" fmla="*/ 2147483647 h 348"/>
                <a:gd name="T4" fmla="*/ 2147483647 w 288"/>
                <a:gd name="T5" fmla="*/ 2147483647 h 348"/>
                <a:gd name="T6" fmla="*/ 2147483647 w 288"/>
                <a:gd name="T7" fmla="*/ 2147483647 h 348"/>
                <a:gd name="T8" fmla="*/ 2147483647 w 288"/>
                <a:gd name="T9" fmla="*/ 2147483647 h 348"/>
                <a:gd name="T10" fmla="*/ 2147483647 w 288"/>
                <a:gd name="T11" fmla="*/ 2147483647 h 348"/>
                <a:gd name="T12" fmla="*/ 2147483647 w 288"/>
                <a:gd name="T13" fmla="*/ 2147483647 h 348"/>
                <a:gd name="T14" fmla="*/ 2147483647 w 288"/>
                <a:gd name="T15" fmla="*/ 2147483647 h 348"/>
                <a:gd name="T16" fmla="*/ 2147483647 w 288"/>
                <a:gd name="T17" fmla="*/ 2147483647 h 348"/>
                <a:gd name="T18" fmla="*/ 2147483647 w 288"/>
                <a:gd name="T19" fmla="*/ 2147483647 h 348"/>
                <a:gd name="T20" fmla="*/ 2147483647 w 288"/>
                <a:gd name="T21" fmla="*/ 2147483647 h 348"/>
                <a:gd name="T22" fmla="*/ 2147483647 w 288"/>
                <a:gd name="T23" fmla="*/ 2147483647 h 348"/>
                <a:gd name="T24" fmla="*/ 2147483647 w 288"/>
                <a:gd name="T25" fmla="*/ 2147483647 h 348"/>
                <a:gd name="T26" fmla="*/ 2147483647 w 288"/>
                <a:gd name="T27" fmla="*/ 2147483647 h 348"/>
                <a:gd name="T28" fmla="*/ 2147483647 w 288"/>
                <a:gd name="T29" fmla="*/ 2147483647 h 348"/>
                <a:gd name="T30" fmla="*/ 2147483647 w 288"/>
                <a:gd name="T31" fmla="*/ 2147483647 h 348"/>
                <a:gd name="T32" fmla="*/ 2147483647 w 288"/>
                <a:gd name="T33" fmla="*/ 2147483647 h 348"/>
                <a:gd name="T34" fmla="*/ 2147483647 w 288"/>
                <a:gd name="T35" fmla="*/ 2147483647 h 348"/>
                <a:gd name="T36" fmla="*/ 2147483647 w 288"/>
                <a:gd name="T37" fmla="*/ 2147483647 h 348"/>
                <a:gd name="T38" fmla="*/ 2147483647 w 288"/>
                <a:gd name="T39" fmla="*/ 2147483647 h 348"/>
                <a:gd name="T40" fmla="*/ 2147483647 w 288"/>
                <a:gd name="T41" fmla="*/ 2147483647 h 348"/>
                <a:gd name="T42" fmla="*/ 0 w 288"/>
                <a:gd name="T43" fmla="*/ 0 h 34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8"/>
                <a:gd name="T67" fmla="*/ 0 h 348"/>
                <a:gd name="T68" fmla="*/ 288 w 288"/>
                <a:gd name="T69" fmla="*/ 348 h 34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8" h="348">
                  <a:moveTo>
                    <a:pt x="0" y="0"/>
                  </a:moveTo>
                  <a:lnTo>
                    <a:pt x="27" y="6"/>
                  </a:lnTo>
                  <a:lnTo>
                    <a:pt x="54" y="25"/>
                  </a:lnTo>
                  <a:lnTo>
                    <a:pt x="76" y="62"/>
                  </a:lnTo>
                  <a:lnTo>
                    <a:pt x="123" y="65"/>
                  </a:lnTo>
                  <a:lnTo>
                    <a:pt x="160" y="47"/>
                  </a:lnTo>
                  <a:lnTo>
                    <a:pt x="196" y="80"/>
                  </a:lnTo>
                  <a:lnTo>
                    <a:pt x="229" y="121"/>
                  </a:lnTo>
                  <a:lnTo>
                    <a:pt x="229" y="203"/>
                  </a:lnTo>
                  <a:lnTo>
                    <a:pt x="244" y="259"/>
                  </a:lnTo>
                  <a:lnTo>
                    <a:pt x="262" y="293"/>
                  </a:lnTo>
                  <a:lnTo>
                    <a:pt x="288" y="331"/>
                  </a:lnTo>
                  <a:lnTo>
                    <a:pt x="261" y="348"/>
                  </a:lnTo>
                  <a:lnTo>
                    <a:pt x="237" y="348"/>
                  </a:lnTo>
                  <a:lnTo>
                    <a:pt x="204" y="327"/>
                  </a:lnTo>
                  <a:lnTo>
                    <a:pt x="165" y="286"/>
                  </a:lnTo>
                  <a:lnTo>
                    <a:pt x="111" y="262"/>
                  </a:lnTo>
                  <a:lnTo>
                    <a:pt x="70" y="211"/>
                  </a:lnTo>
                  <a:lnTo>
                    <a:pt x="40" y="173"/>
                  </a:lnTo>
                  <a:lnTo>
                    <a:pt x="11" y="91"/>
                  </a:lnTo>
                  <a:lnTo>
                    <a:pt x="29" y="47"/>
                  </a:lnTo>
                  <a:lnTo>
                    <a:pt x="0" y="0"/>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9" name="Freeform 22">
              <a:extLst>
                <a:ext uri="{FF2B5EF4-FFF2-40B4-BE49-F238E27FC236}">
                  <a16:creationId xmlns:a16="http://schemas.microsoft.com/office/drawing/2014/main" id="{E3C41591-77D6-9CB8-A453-C5D787670207}"/>
                </a:ext>
              </a:extLst>
            </p:cNvPr>
            <p:cNvSpPr>
              <a:spLocks/>
            </p:cNvSpPr>
            <p:nvPr/>
          </p:nvSpPr>
          <p:spPr bwMode="auto">
            <a:xfrm>
              <a:off x="7180297" y="4276930"/>
              <a:ext cx="237547" cy="80667"/>
            </a:xfrm>
            <a:custGeom>
              <a:avLst/>
              <a:gdLst>
                <a:gd name="T0" fmla="*/ 2147483647 w 1381"/>
                <a:gd name="T1" fmla="*/ 2147483647 h 436"/>
                <a:gd name="T2" fmla="*/ 0 w 1381"/>
                <a:gd name="T3" fmla="*/ 2147483647 h 436"/>
                <a:gd name="T4" fmla="*/ 2147483647 w 1381"/>
                <a:gd name="T5" fmla="*/ 2147483647 h 436"/>
                <a:gd name="T6" fmla="*/ 2147483647 w 1381"/>
                <a:gd name="T7" fmla="*/ 2147483647 h 436"/>
                <a:gd name="T8" fmla="*/ 2147483647 w 1381"/>
                <a:gd name="T9" fmla="*/ 2147483647 h 436"/>
                <a:gd name="T10" fmla="*/ 2147483647 w 1381"/>
                <a:gd name="T11" fmla="*/ 2147483647 h 436"/>
                <a:gd name="T12" fmla="*/ 2147483647 w 1381"/>
                <a:gd name="T13" fmla="*/ 2147483647 h 436"/>
                <a:gd name="T14" fmla="*/ 2147483647 w 1381"/>
                <a:gd name="T15" fmla="*/ 2147483647 h 436"/>
                <a:gd name="T16" fmla="*/ 2147483647 w 1381"/>
                <a:gd name="T17" fmla="*/ 2147483647 h 436"/>
                <a:gd name="T18" fmla="*/ 2147483647 w 1381"/>
                <a:gd name="T19" fmla="*/ 2147483647 h 436"/>
                <a:gd name="T20" fmla="*/ 2147483647 w 1381"/>
                <a:gd name="T21" fmla="*/ 2147483647 h 436"/>
                <a:gd name="T22" fmla="*/ 2147483647 w 1381"/>
                <a:gd name="T23" fmla="*/ 2147483647 h 436"/>
                <a:gd name="T24" fmla="*/ 2147483647 w 1381"/>
                <a:gd name="T25" fmla="*/ 2147483647 h 436"/>
                <a:gd name="T26" fmla="*/ 2147483647 w 1381"/>
                <a:gd name="T27" fmla="*/ 2147483647 h 436"/>
                <a:gd name="T28" fmla="*/ 2147483647 w 1381"/>
                <a:gd name="T29" fmla="*/ 2147483647 h 436"/>
                <a:gd name="T30" fmla="*/ 2147483647 w 1381"/>
                <a:gd name="T31" fmla="*/ 2147483647 h 436"/>
                <a:gd name="T32" fmla="*/ 2147483647 w 1381"/>
                <a:gd name="T33" fmla="*/ 2147483647 h 436"/>
                <a:gd name="T34" fmla="*/ 2147483647 w 1381"/>
                <a:gd name="T35" fmla="*/ 2147483647 h 436"/>
                <a:gd name="T36" fmla="*/ 2147483647 w 1381"/>
                <a:gd name="T37" fmla="*/ 2147483647 h 436"/>
                <a:gd name="T38" fmla="*/ 2147483647 w 1381"/>
                <a:gd name="T39" fmla="*/ 2147483647 h 436"/>
                <a:gd name="T40" fmla="*/ 2147483647 w 1381"/>
                <a:gd name="T41" fmla="*/ 2147483647 h 436"/>
                <a:gd name="T42" fmla="*/ 2147483647 w 1381"/>
                <a:gd name="T43" fmla="*/ 2147483647 h 436"/>
                <a:gd name="T44" fmla="*/ 2147483647 w 1381"/>
                <a:gd name="T45" fmla="*/ 2147483647 h 436"/>
                <a:gd name="T46" fmla="*/ 2147483647 w 1381"/>
                <a:gd name="T47" fmla="*/ 2147483647 h 436"/>
                <a:gd name="T48" fmla="*/ 2147483647 w 1381"/>
                <a:gd name="T49" fmla="*/ 2147483647 h 436"/>
                <a:gd name="T50" fmla="*/ 2147483647 w 1381"/>
                <a:gd name="T51" fmla="*/ 2147483647 h 436"/>
                <a:gd name="T52" fmla="*/ 2147483647 w 1381"/>
                <a:gd name="T53" fmla="*/ 2147483647 h 436"/>
                <a:gd name="T54" fmla="*/ 2147483647 w 1381"/>
                <a:gd name="T55" fmla="*/ 0 h 436"/>
                <a:gd name="T56" fmla="*/ 2147483647 w 1381"/>
                <a:gd name="T57" fmla="*/ 2147483647 h 436"/>
                <a:gd name="T58" fmla="*/ 2147483647 w 1381"/>
                <a:gd name="T59" fmla="*/ 2147483647 h 4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81"/>
                <a:gd name="T91" fmla="*/ 0 h 436"/>
                <a:gd name="T92" fmla="*/ 1381 w 1381"/>
                <a:gd name="T93" fmla="*/ 436 h 4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81" h="436">
                  <a:moveTo>
                    <a:pt x="101" y="15"/>
                  </a:moveTo>
                  <a:lnTo>
                    <a:pt x="0" y="98"/>
                  </a:lnTo>
                  <a:lnTo>
                    <a:pt x="9" y="162"/>
                  </a:lnTo>
                  <a:lnTo>
                    <a:pt x="73" y="171"/>
                  </a:lnTo>
                  <a:lnTo>
                    <a:pt x="156" y="171"/>
                  </a:lnTo>
                  <a:lnTo>
                    <a:pt x="201" y="244"/>
                  </a:lnTo>
                  <a:lnTo>
                    <a:pt x="311" y="226"/>
                  </a:lnTo>
                  <a:lnTo>
                    <a:pt x="439" y="280"/>
                  </a:lnTo>
                  <a:lnTo>
                    <a:pt x="540" y="253"/>
                  </a:lnTo>
                  <a:lnTo>
                    <a:pt x="722" y="317"/>
                  </a:lnTo>
                  <a:lnTo>
                    <a:pt x="823" y="363"/>
                  </a:lnTo>
                  <a:lnTo>
                    <a:pt x="1006" y="363"/>
                  </a:lnTo>
                  <a:lnTo>
                    <a:pt x="1189" y="399"/>
                  </a:lnTo>
                  <a:lnTo>
                    <a:pt x="1335" y="436"/>
                  </a:lnTo>
                  <a:lnTo>
                    <a:pt x="1381" y="372"/>
                  </a:lnTo>
                  <a:lnTo>
                    <a:pt x="1353" y="280"/>
                  </a:lnTo>
                  <a:lnTo>
                    <a:pt x="1262" y="235"/>
                  </a:lnTo>
                  <a:lnTo>
                    <a:pt x="1271" y="143"/>
                  </a:lnTo>
                  <a:lnTo>
                    <a:pt x="1207" y="125"/>
                  </a:lnTo>
                  <a:lnTo>
                    <a:pt x="1106" y="143"/>
                  </a:lnTo>
                  <a:lnTo>
                    <a:pt x="978" y="116"/>
                  </a:lnTo>
                  <a:lnTo>
                    <a:pt x="924" y="116"/>
                  </a:lnTo>
                  <a:lnTo>
                    <a:pt x="823" y="88"/>
                  </a:lnTo>
                  <a:lnTo>
                    <a:pt x="713" y="152"/>
                  </a:lnTo>
                  <a:lnTo>
                    <a:pt x="558" y="152"/>
                  </a:lnTo>
                  <a:lnTo>
                    <a:pt x="466" y="79"/>
                  </a:lnTo>
                  <a:lnTo>
                    <a:pt x="393" y="61"/>
                  </a:lnTo>
                  <a:lnTo>
                    <a:pt x="295" y="0"/>
                  </a:lnTo>
                  <a:lnTo>
                    <a:pt x="210" y="15"/>
                  </a:lnTo>
                  <a:lnTo>
                    <a:pt x="101" y="15"/>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1" name="Freeform 23">
              <a:extLst>
                <a:ext uri="{FF2B5EF4-FFF2-40B4-BE49-F238E27FC236}">
                  <a16:creationId xmlns:a16="http://schemas.microsoft.com/office/drawing/2014/main" id="{BF2ADC93-05EE-E5B3-F5A1-7F91F3745549}"/>
                </a:ext>
              </a:extLst>
            </p:cNvPr>
            <p:cNvSpPr>
              <a:spLocks/>
            </p:cNvSpPr>
            <p:nvPr/>
          </p:nvSpPr>
          <p:spPr bwMode="auto">
            <a:xfrm>
              <a:off x="7099622" y="3493310"/>
              <a:ext cx="186004" cy="407944"/>
            </a:xfrm>
            <a:custGeom>
              <a:avLst/>
              <a:gdLst>
                <a:gd name="T0" fmla="*/ 47 w 771190"/>
                <a:gd name="T1" fmla="*/ 236 h 1646237"/>
                <a:gd name="T2" fmla="*/ 54 w 771190"/>
                <a:gd name="T3" fmla="*/ 230 h 1646237"/>
                <a:gd name="T4" fmla="*/ 64 w 771190"/>
                <a:gd name="T5" fmla="*/ 223 h 1646237"/>
                <a:gd name="T6" fmla="*/ 68 w 771190"/>
                <a:gd name="T7" fmla="*/ 219 h 1646237"/>
                <a:gd name="T8" fmla="*/ 70 w 771190"/>
                <a:gd name="T9" fmla="*/ 214 h 1646237"/>
                <a:gd name="T10" fmla="*/ 81 w 771190"/>
                <a:gd name="T11" fmla="*/ 209 h 1646237"/>
                <a:gd name="T12" fmla="*/ 94 w 771190"/>
                <a:gd name="T13" fmla="*/ 203 h 1646237"/>
                <a:gd name="T14" fmla="*/ 103 w 771190"/>
                <a:gd name="T15" fmla="*/ 195 h 1646237"/>
                <a:gd name="T16" fmla="*/ 111 w 771190"/>
                <a:gd name="T17" fmla="*/ 187 h 1646237"/>
                <a:gd name="T18" fmla="*/ 111 w 771190"/>
                <a:gd name="T19" fmla="*/ 178 h 1646237"/>
                <a:gd name="T20" fmla="*/ 112 w 771190"/>
                <a:gd name="T21" fmla="*/ 167 h 1646237"/>
                <a:gd name="T22" fmla="*/ 110 w 771190"/>
                <a:gd name="T23" fmla="*/ 156 h 1646237"/>
                <a:gd name="T24" fmla="*/ 107 w 771190"/>
                <a:gd name="T25" fmla="*/ 141 h 1646237"/>
                <a:gd name="T26" fmla="*/ 100 w 771190"/>
                <a:gd name="T27" fmla="*/ 130 h 1646237"/>
                <a:gd name="T28" fmla="*/ 90 w 771190"/>
                <a:gd name="T29" fmla="*/ 115 h 1646237"/>
                <a:gd name="T30" fmla="*/ 76 w 771190"/>
                <a:gd name="T31" fmla="*/ 103 h 1646237"/>
                <a:gd name="T32" fmla="*/ 68 w 771190"/>
                <a:gd name="T33" fmla="*/ 93 h 1646237"/>
                <a:gd name="T34" fmla="*/ 63 w 771190"/>
                <a:gd name="T35" fmla="*/ 83 h 1646237"/>
                <a:gd name="T36" fmla="*/ 54 w 771190"/>
                <a:gd name="T37" fmla="*/ 76 h 1646237"/>
                <a:gd name="T38" fmla="*/ 54 w 771190"/>
                <a:gd name="T39" fmla="*/ 70 h 1646237"/>
                <a:gd name="T40" fmla="*/ 56 w 771190"/>
                <a:gd name="T41" fmla="*/ 63 h 1646237"/>
                <a:gd name="T42" fmla="*/ 63 w 771190"/>
                <a:gd name="T43" fmla="*/ 56 h 1646237"/>
                <a:gd name="T44" fmla="*/ 72 w 771190"/>
                <a:gd name="T45" fmla="*/ 46 h 1646237"/>
                <a:gd name="T46" fmla="*/ 82 w 771190"/>
                <a:gd name="T47" fmla="*/ 39 h 1646237"/>
                <a:gd name="T48" fmla="*/ 94 w 771190"/>
                <a:gd name="T49" fmla="*/ 32 h 1646237"/>
                <a:gd name="T50" fmla="*/ 80 w 771190"/>
                <a:gd name="T51" fmla="*/ 28 h 1646237"/>
                <a:gd name="T52" fmla="*/ 74 w 771190"/>
                <a:gd name="T53" fmla="*/ 19 h 1646237"/>
                <a:gd name="T54" fmla="*/ 65 w 771190"/>
                <a:gd name="T55" fmla="*/ 8 h 1646237"/>
                <a:gd name="T56" fmla="*/ 46 w 771190"/>
                <a:gd name="T57" fmla="*/ 0 h 1646237"/>
                <a:gd name="T58" fmla="*/ 35 w 771190"/>
                <a:gd name="T59" fmla="*/ 9 h 1646237"/>
                <a:gd name="T60" fmla="*/ 26 w 771190"/>
                <a:gd name="T61" fmla="*/ 16 h 1646237"/>
                <a:gd name="T62" fmla="*/ 17 w 771190"/>
                <a:gd name="T63" fmla="*/ 9 h 1646237"/>
                <a:gd name="T64" fmla="*/ 8 w 771190"/>
                <a:gd name="T65" fmla="*/ 13 h 1646237"/>
                <a:gd name="T66" fmla="*/ 0 w 771190"/>
                <a:gd name="T67" fmla="*/ 15 h 1646237"/>
                <a:gd name="T68" fmla="*/ 9 w 771190"/>
                <a:gd name="T69" fmla="*/ 25 h 1646237"/>
                <a:gd name="T70" fmla="*/ 11 w 771190"/>
                <a:gd name="T71" fmla="*/ 32 h 1646237"/>
                <a:gd name="T72" fmla="*/ 16 w 771190"/>
                <a:gd name="T73" fmla="*/ 42 h 1646237"/>
                <a:gd name="T74" fmla="*/ 27 w 771190"/>
                <a:gd name="T75" fmla="*/ 44 h 1646237"/>
                <a:gd name="T76" fmla="*/ 38 w 771190"/>
                <a:gd name="T77" fmla="*/ 47 h 1646237"/>
                <a:gd name="T78" fmla="*/ 43 w 771190"/>
                <a:gd name="T79" fmla="*/ 58 h 1646237"/>
                <a:gd name="T80" fmla="*/ 33 w 771190"/>
                <a:gd name="T81" fmla="*/ 69 h 1646237"/>
                <a:gd name="T82" fmla="*/ 43 w 771190"/>
                <a:gd name="T83" fmla="*/ 79 h 1646237"/>
                <a:gd name="T84" fmla="*/ 51 w 771190"/>
                <a:gd name="T85" fmla="*/ 87 h 1646237"/>
                <a:gd name="T86" fmla="*/ 58 w 771190"/>
                <a:gd name="T87" fmla="*/ 96 h 1646237"/>
                <a:gd name="T88" fmla="*/ 67 w 771190"/>
                <a:gd name="T89" fmla="*/ 105 h 1646237"/>
                <a:gd name="T90" fmla="*/ 76 w 771190"/>
                <a:gd name="T91" fmla="*/ 118 h 1646237"/>
                <a:gd name="T92" fmla="*/ 80 w 771190"/>
                <a:gd name="T93" fmla="*/ 128 h 1646237"/>
                <a:gd name="T94" fmla="*/ 83 w 771190"/>
                <a:gd name="T95" fmla="*/ 146 h 1646237"/>
                <a:gd name="T96" fmla="*/ 85 w 771190"/>
                <a:gd name="T97" fmla="*/ 156 h 1646237"/>
                <a:gd name="T98" fmla="*/ 85 w 771190"/>
                <a:gd name="T99" fmla="*/ 168 h 1646237"/>
                <a:gd name="T100" fmla="*/ 80 w 771190"/>
                <a:gd name="T101" fmla="*/ 180 h 1646237"/>
                <a:gd name="T102" fmla="*/ 71 w 771190"/>
                <a:gd name="T103" fmla="*/ 185 h 1646237"/>
                <a:gd name="T104" fmla="*/ 62 w 771190"/>
                <a:gd name="T105" fmla="*/ 189 h 1646237"/>
                <a:gd name="T106" fmla="*/ 59 w 771190"/>
                <a:gd name="T107" fmla="*/ 196 h 1646237"/>
                <a:gd name="T108" fmla="*/ 54 w 771190"/>
                <a:gd name="T109" fmla="*/ 201 h 1646237"/>
                <a:gd name="T110" fmla="*/ 43 w 771190"/>
                <a:gd name="T111" fmla="*/ 201 h 1646237"/>
                <a:gd name="T112" fmla="*/ 36 w 771190"/>
                <a:gd name="T113" fmla="*/ 209 h 1646237"/>
                <a:gd name="T114" fmla="*/ 41 w 771190"/>
                <a:gd name="T115" fmla="*/ 224 h 1646237"/>
                <a:gd name="T116" fmla="*/ 40 w 771190"/>
                <a:gd name="T117" fmla="*/ 230 h 1646237"/>
                <a:gd name="T118" fmla="*/ 40 w 771190"/>
                <a:gd name="T119" fmla="*/ 236 h 1646237"/>
                <a:gd name="T120" fmla="*/ 39 w 771190"/>
                <a:gd name="T121" fmla="*/ 238 h 1646237"/>
                <a:gd name="T122" fmla="*/ 47 w 771190"/>
                <a:gd name="T123" fmla="*/ 236 h 164623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71190"/>
                <a:gd name="T187" fmla="*/ 0 h 1646237"/>
                <a:gd name="T188" fmla="*/ 771190 w 771190"/>
                <a:gd name="T189" fmla="*/ 1646237 h 164623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71190" h="1646237">
                  <a:moveTo>
                    <a:pt x="323515" y="1628775"/>
                  </a:moveTo>
                  <a:lnTo>
                    <a:pt x="367965" y="1589087"/>
                  </a:lnTo>
                  <a:lnTo>
                    <a:pt x="437815" y="1541462"/>
                  </a:lnTo>
                  <a:lnTo>
                    <a:pt x="466390" y="1509712"/>
                  </a:lnTo>
                  <a:lnTo>
                    <a:pt x="480678" y="1474787"/>
                  </a:lnTo>
                  <a:lnTo>
                    <a:pt x="558465" y="1446212"/>
                  </a:lnTo>
                  <a:lnTo>
                    <a:pt x="644190" y="1400175"/>
                  </a:lnTo>
                  <a:lnTo>
                    <a:pt x="706103" y="1347787"/>
                  </a:lnTo>
                  <a:lnTo>
                    <a:pt x="760078" y="1292225"/>
                  </a:lnTo>
                  <a:lnTo>
                    <a:pt x="761665" y="1227137"/>
                  </a:lnTo>
                  <a:lnTo>
                    <a:pt x="771190" y="1155700"/>
                  </a:lnTo>
                  <a:lnTo>
                    <a:pt x="756903" y="1076325"/>
                  </a:lnTo>
                  <a:lnTo>
                    <a:pt x="733090" y="973137"/>
                  </a:lnTo>
                  <a:lnTo>
                    <a:pt x="690228" y="893762"/>
                  </a:lnTo>
                  <a:lnTo>
                    <a:pt x="620378" y="795337"/>
                  </a:lnTo>
                  <a:lnTo>
                    <a:pt x="525128" y="714375"/>
                  </a:lnTo>
                  <a:lnTo>
                    <a:pt x="466390" y="641350"/>
                  </a:lnTo>
                  <a:lnTo>
                    <a:pt x="434640" y="576262"/>
                  </a:lnTo>
                  <a:lnTo>
                    <a:pt x="369553" y="525462"/>
                  </a:lnTo>
                  <a:lnTo>
                    <a:pt x="367965" y="485775"/>
                  </a:lnTo>
                  <a:lnTo>
                    <a:pt x="385428" y="433387"/>
                  </a:lnTo>
                  <a:lnTo>
                    <a:pt x="434640" y="390525"/>
                  </a:lnTo>
                  <a:lnTo>
                    <a:pt x="493378" y="319087"/>
                  </a:lnTo>
                  <a:lnTo>
                    <a:pt x="561640" y="269875"/>
                  </a:lnTo>
                  <a:lnTo>
                    <a:pt x="644190" y="217487"/>
                  </a:lnTo>
                  <a:lnTo>
                    <a:pt x="548940" y="190500"/>
                  </a:lnTo>
                  <a:lnTo>
                    <a:pt x="506078" y="133350"/>
                  </a:lnTo>
                  <a:lnTo>
                    <a:pt x="448928" y="52387"/>
                  </a:lnTo>
                  <a:lnTo>
                    <a:pt x="315578" y="0"/>
                  </a:lnTo>
                  <a:lnTo>
                    <a:pt x="242553" y="61912"/>
                  </a:lnTo>
                  <a:lnTo>
                    <a:pt x="180640" y="109537"/>
                  </a:lnTo>
                  <a:lnTo>
                    <a:pt x="116681" y="60574"/>
                  </a:lnTo>
                  <a:lnTo>
                    <a:pt x="56815" y="90487"/>
                  </a:lnTo>
                  <a:lnTo>
                    <a:pt x="0" y="104627"/>
                  </a:lnTo>
                  <a:lnTo>
                    <a:pt x="58403" y="171450"/>
                  </a:lnTo>
                  <a:lnTo>
                    <a:pt x="75865" y="219075"/>
                  </a:lnTo>
                  <a:lnTo>
                    <a:pt x="109203" y="290512"/>
                  </a:lnTo>
                  <a:lnTo>
                    <a:pt x="185403" y="303212"/>
                  </a:lnTo>
                  <a:lnTo>
                    <a:pt x="258428" y="323850"/>
                  </a:lnTo>
                  <a:lnTo>
                    <a:pt x="291765" y="403225"/>
                  </a:lnTo>
                  <a:lnTo>
                    <a:pt x="225090" y="476250"/>
                  </a:lnTo>
                  <a:lnTo>
                    <a:pt x="291765" y="546100"/>
                  </a:lnTo>
                  <a:lnTo>
                    <a:pt x="347328" y="603250"/>
                  </a:lnTo>
                  <a:lnTo>
                    <a:pt x="396540" y="661987"/>
                  </a:lnTo>
                  <a:lnTo>
                    <a:pt x="461628" y="728662"/>
                  </a:lnTo>
                  <a:lnTo>
                    <a:pt x="525128" y="817562"/>
                  </a:lnTo>
                  <a:lnTo>
                    <a:pt x="548940" y="884237"/>
                  </a:lnTo>
                  <a:lnTo>
                    <a:pt x="567990" y="1004887"/>
                  </a:lnTo>
                  <a:lnTo>
                    <a:pt x="580690" y="1079500"/>
                  </a:lnTo>
                  <a:lnTo>
                    <a:pt x="582278" y="1162050"/>
                  </a:lnTo>
                  <a:lnTo>
                    <a:pt x="548940" y="1243012"/>
                  </a:lnTo>
                  <a:lnTo>
                    <a:pt x="487028" y="1276350"/>
                  </a:lnTo>
                  <a:lnTo>
                    <a:pt x="425115" y="1303337"/>
                  </a:lnTo>
                  <a:lnTo>
                    <a:pt x="404478" y="1350962"/>
                  </a:lnTo>
                  <a:lnTo>
                    <a:pt x="367965" y="1384300"/>
                  </a:lnTo>
                  <a:lnTo>
                    <a:pt x="296528" y="1389062"/>
                  </a:lnTo>
                  <a:lnTo>
                    <a:pt x="248903" y="1443037"/>
                  </a:lnTo>
                  <a:lnTo>
                    <a:pt x="283828" y="1549400"/>
                  </a:lnTo>
                  <a:lnTo>
                    <a:pt x="275890" y="1585912"/>
                  </a:lnTo>
                  <a:lnTo>
                    <a:pt x="277478" y="1625600"/>
                  </a:lnTo>
                  <a:lnTo>
                    <a:pt x="267953" y="1646237"/>
                  </a:lnTo>
                  <a:lnTo>
                    <a:pt x="323515" y="1628775"/>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2" name="Freeform 24">
              <a:extLst>
                <a:ext uri="{FF2B5EF4-FFF2-40B4-BE49-F238E27FC236}">
                  <a16:creationId xmlns:a16="http://schemas.microsoft.com/office/drawing/2014/main" id="{DDC40429-572E-CC3E-61C8-43C279A334A4}"/>
                </a:ext>
              </a:extLst>
            </p:cNvPr>
            <p:cNvSpPr>
              <a:spLocks/>
            </p:cNvSpPr>
            <p:nvPr/>
          </p:nvSpPr>
          <p:spPr bwMode="auto">
            <a:xfrm>
              <a:off x="6978607" y="3587805"/>
              <a:ext cx="206173" cy="401029"/>
            </a:xfrm>
            <a:custGeom>
              <a:avLst/>
              <a:gdLst>
                <a:gd name="T0" fmla="*/ 69 w 855663"/>
                <a:gd name="T1" fmla="*/ 239 h 1610371"/>
                <a:gd name="T2" fmla="*/ 54 w 855663"/>
                <a:gd name="T3" fmla="*/ 230 h 1610371"/>
                <a:gd name="T4" fmla="*/ 40 w 855663"/>
                <a:gd name="T5" fmla="*/ 224 h 1610371"/>
                <a:gd name="T6" fmla="*/ 28 w 855663"/>
                <a:gd name="T7" fmla="*/ 208 h 1610371"/>
                <a:gd name="T8" fmla="*/ 18 w 855663"/>
                <a:gd name="T9" fmla="*/ 191 h 1610371"/>
                <a:gd name="T10" fmla="*/ 11 w 855663"/>
                <a:gd name="T11" fmla="*/ 184 h 1610371"/>
                <a:gd name="T12" fmla="*/ 16 w 855663"/>
                <a:gd name="T13" fmla="*/ 174 h 1610371"/>
                <a:gd name="T14" fmla="*/ 16 w 855663"/>
                <a:gd name="T15" fmla="*/ 157 h 1610371"/>
                <a:gd name="T16" fmla="*/ 25 w 855663"/>
                <a:gd name="T17" fmla="*/ 147 h 1610371"/>
                <a:gd name="T18" fmla="*/ 26 w 855663"/>
                <a:gd name="T19" fmla="*/ 130 h 1610371"/>
                <a:gd name="T20" fmla="*/ 27 w 855663"/>
                <a:gd name="T21" fmla="*/ 115 h 1610371"/>
                <a:gd name="T22" fmla="*/ 15 w 855663"/>
                <a:gd name="T23" fmla="*/ 98 h 1610371"/>
                <a:gd name="T24" fmla="*/ 12 w 855663"/>
                <a:gd name="T25" fmla="*/ 77 h 1610371"/>
                <a:gd name="T26" fmla="*/ 15 w 855663"/>
                <a:gd name="T27" fmla="*/ 55 h 1610371"/>
                <a:gd name="T28" fmla="*/ 0 w 855663"/>
                <a:gd name="T29" fmla="*/ 32 h 1610371"/>
                <a:gd name="T30" fmla="*/ 5 w 855663"/>
                <a:gd name="T31" fmla="*/ 12 h 1610371"/>
                <a:gd name="T32" fmla="*/ 26 w 855663"/>
                <a:gd name="T33" fmla="*/ 5 h 1610371"/>
                <a:gd name="T34" fmla="*/ 46 w 855663"/>
                <a:gd name="T35" fmla="*/ 5 h 1610371"/>
                <a:gd name="T36" fmla="*/ 55 w 855663"/>
                <a:gd name="T37" fmla="*/ 17 h 1610371"/>
                <a:gd name="T38" fmla="*/ 53 w 855663"/>
                <a:gd name="T39" fmla="*/ 34 h 1610371"/>
                <a:gd name="T40" fmla="*/ 61 w 855663"/>
                <a:gd name="T41" fmla="*/ 40 h 1610371"/>
                <a:gd name="T42" fmla="*/ 83 w 855663"/>
                <a:gd name="T43" fmla="*/ 30 h 1610371"/>
                <a:gd name="T44" fmla="*/ 103 w 855663"/>
                <a:gd name="T45" fmla="*/ 37 h 1610371"/>
                <a:gd name="T46" fmla="*/ 112 w 855663"/>
                <a:gd name="T47" fmla="*/ 61 h 1610371"/>
                <a:gd name="T48" fmla="*/ 124 w 855663"/>
                <a:gd name="T49" fmla="*/ 75 h 1610371"/>
                <a:gd name="T50" fmla="*/ 116 w 855663"/>
                <a:gd name="T51" fmla="*/ 95 h 1610371"/>
                <a:gd name="T52" fmla="*/ 99 w 855663"/>
                <a:gd name="T53" fmla="*/ 97 h 1610371"/>
                <a:gd name="T54" fmla="*/ 84 w 855663"/>
                <a:gd name="T55" fmla="*/ 103 h 1610371"/>
                <a:gd name="T56" fmla="*/ 75 w 855663"/>
                <a:gd name="T57" fmla="*/ 111 h 1610371"/>
                <a:gd name="T58" fmla="*/ 81 w 855663"/>
                <a:gd name="T59" fmla="*/ 137 h 1610371"/>
                <a:gd name="T60" fmla="*/ 66 w 855663"/>
                <a:gd name="T61" fmla="*/ 124 h 1610371"/>
                <a:gd name="T62" fmla="*/ 52 w 855663"/>
                <a:gd name="T63" fmla="*/ 120 h 1610371"/>
                <a:gd name="T64" fmla="*/ 43 w 855663"/>
                <a:gd name="T65" fmla="*/ 115 h 1610371"/>
                <a:gd name="T66" fmla="*/ 41 w 855663"/>
                <a:gd name="T67" fmla="*/ 128 h 1610371"/>
                <a:gd name="T68" fmla="*/ 34 w 855663"/>
                <a:gd name="T69" fmla="*/ 143 h 1610371"/>
                <a:gd name="T70" fmla="*/ 32 w 855663"/>
                <a:gd name="T71" fmla="*/ 166 h 1610371"/>
                <a:gd name="T72" fmla="*/ 39 w 855663"/>
                <a:gd name="T73" fmla="*/ 185 h 1610371"/>
                <a:gd name="T74" fmla="*/ 46 w 855663"/>
                <a:gd name="T75" fmla="*/ 203 h 1610371"/>
                <a:gd name="T76" fmla="*/ 61 w 855663"/>
                <a:gd name="T77" fmla="*/ 217 h 1610371"/>
                <a:gd name="T78" fmla="*/ 72 w 855663"/>
                <a:gd name="T79" fmla="*/ 224 h 16103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5663"/>
                <a:gd name="T121" fmla="*/ 0 h 1610371"/>
                <a:gd name="T122" fmla="*/ 855663 w 855663"/>
                <a:gd name="T123" fmla="*/ 1610371 h 16103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5663" h="1610371">
                  <a:moveTo>
                    <a:pt x="539291" y="1580605"/>
                  </a:moveTo>
                  <a:lnTo>
                    <a:pt x="478569" y="1610371"/>
                  </a:lnTo>
                  <a:lnTo>
                    <a:pt x="403560" y="1604418"/>
                  </a:lnTo>
                  <a:lnTo>
                    <a:pt x="369888" y="1546225"/>
                  </a:lnTo>
                  <a:lnTo>
                    <a:pt x="324978" y="1513930"/>
                  </a:lnTo>
                  <a:lnTo>
                    <a:pt x="279400" y="1504950"/>
                  </a:lnTo>
                  <a:lnTo>
                    <a:pt x="247650" y="1450975"/>
                  </a:lnTo>
                  <a:lnTo>
                    <a:pt x="192088" y="1403350"/>
                  </a:lnTo>
                  <a:lnTo>
                    <a:pt x="150813" y="1335088"/>
                  </a:lnTo>
                  <a:lnTo>
                    <a:pt x="122238" y="1287463"/>
                  </a:lnTo>
                  <a:lnTo>
                    <a:pt x="88900" y="1273175"/>
                  </a:lnTo>
                  <a:lnTo>
                    <a:pt x="74613" y="1239838"/>
                  </a:lnTo>
                  <a:lnTo>
                    <a:pt x="90488" y="1198563"/>
                  </a:lnTo>
                  <a:lnTo>
                    <a:pt x="107950" y="1174750"/>
                  </a:lnTo>
                  <a:lnTo>
                    <a:pt x="114300" y="1130300"/>
                  </a:lnTo>
                  <a:lnTo>
                    <a:pt x="107950" y="1055688"/>
                  </a:lnTo>
                  <a:lnTo>
                    <a:pt x="157163" y="1050925"/>
                  </a:lnTo>
                  <a:lnTo>
                    <a:pt x="171450" y="992188"/>
                  </a:lnTo>
                  <a:lnTo>
                    <a:pt x="188913" y="920750"/>
                  </a:lnTo>
                  <a:lnTo>
                    <a:pt x="180975" y="874713"/>
                  </a:lnTo>
                  <a:lnTo>
                    <a:pt x="200025" y="815975"/>
                  </a:lnTo>
                  <a:lnTo>
                    <a:pt x="184150" y="777875"/>
                  </a:lnTo>
                  <a:lnTo>
                    <a:pt x="150813" y="722313"/>
                  </a:lnTo>
                  <a:lnTo>
                    <a:pt x="102331" y="662633"/>
                  </a:lnTo>
                  <a:lnTo>
                    <a:pt x="100013" y="592138"/>
                  </a:lnTo>
                  <a:lnTo>
                    <a:pt x="85725" y="515938"/>
                  </a:lnTo>
                  <a:lnTo>
                    <a:pt x="103188" y="444500"/>
                  </a:lnTo>
                  <a:lnTo>
                    <a:pt x="104713" y="368549"/>
                  </a:lnTo>
                  <a:lnTo>
                    <a:pt x="28575" y="314325"/>
                  </a:lnTo>
                  <a:lnTo>
                    <a:pt x="0" y="214313"/>
                  </a:lnTo>
                  <a:lnTo>
                    <a:pt x="0" y="130175"/>
                  </a:lnTo>
                  <a:lnTo>
                    <a:pt x="33338" y="80963"/>
                  </a:lnTo>
                  <a:lnTo>
                    <a:pt x="106363" y="38100"/>
                  </a:lnTo>
                  <a:lnTo>
                    <a:pt x="180975" y="33338"/>
                  </a:lnTo>
                  <a:lnTo>
                    <a:pt x="255588" y="0"/>
                  </a:lnTo>
                  <a:lnTo>
                    <a:pt x="317500" y="34925"/>
                  </a:lnTo>
                  <a:lnTo>
                    <a:pt x="350838" y="69850"/>
                  </a:lnTo>
                  <a:lnTo>
                    <a:pt x="381000" y="112713"/>
                  </a:lnTo>
                  <a:lnTo>
                    <a:pt x="382588" y="169863"/>
                  </a:lnTo>
                  <a:lnTo>
                    <a:pt x="363538" y="230188"/>
                  </a:lnTo>
                  <a:lnTo>
                    <a:pt x="382588" y="271463"/>
                  </a:lnTo>
                  <a:lnTo>
                    <a:pt x="422275" y="273050"/>
                  </a:lnTo>
                  <a:lnTo>
                    <a:pt x="481013" y="236538"/>
                  </a:lnTo>
                  <a:lnTo>
                    <a:pt x="569913" y="201613"/>
                  </a:lnTo>
                  <a:lnTo>
                    <a:pt x="661988" y="206375"/>
                  </a:lnTo>
                  <a:lnTo>
                    <a:pt x="714375" y="246063"/>
                  </a:lnTo>
                  <a:lnTo>
                    <a:pt x="774700" y="306388"/>
                  </a:lnTo>
                  <a:lnTo>
                    <a:pt x="774700" y="407988"/>
                  </a:lnTo>
                  <a:lnTo>
                    <a:pt x="819150" y="449263"/>
                  </a:lnTo>
                  <a:lnTo>
                    <a:pt x="855663" y="508000"/>
                  </a:lnTo>
                  <a:lnTo>
                    <a:pt x="841375" y="619125"/>
                  </a:lnTo>
                  <a:lnTo>
                    <a:pt x="803275" y="641350"/>
                  </a:lnTo>
                  <a:lnTo>
                    <a:pt x="741363" y="679450"/>
                  </a:lnTo>
                  <a:lnTo>
                    <a:pt x="681038" y="655638"/>
                  </a:lnTo>
                  <a:lnTo>
                    <a:pt x="623888" y="661988"/>
                  </a:lnTo>
                  <a:lnTo>
                    <a:pt x="582613" y="690563"/>
                  </a:lnTo>
                  <a:lnTo>
                    <a:pt x="554038" y="714375"/>
                  </a:lnTo>
                  <a:lnTo>
                    <a:pt x="519113" y="746125"/>
                  </a:lnTo>
                  <a:lnTo>
                    <a:pt x="547688" y="846138"/>
                  </a:lnTo>
                  <a:lnTo>
                    <a:pt x="561975" y="920750"/>
                  </a:lnTo>
                  <a:lnTo>
                    <a:pt x="503238" y="874713"/>
                  </a:lnTo>
                  <a:lnTo>
                    <a:pt x="457200" y="836613"/>
                  </a:lnTo>
                  <a:lnTo>
                    <a:pt x="414338" y="849313"/>
                  </a:lnTo>
                  <a:lnTo>
                    <a:pt x="360363" y="811213"/>
                  </a:lnTo>
                  <a:lnTo>
                    <a:pt x="333375" y="749300"/>
                  </a:lnTo>
                  <a:lnTo>
                    <a:pt x="293688" y="773113"/>
                  </a:lnTo>
                  <a:lnTo>
                    <a:pt x="276225" y="815975"/>
                  </a:lnTo>
                  <a:lnTo>
                    <a:pt x="284163" y="860425"/>
                  </a:lnTo>
                  <a:lnTo>
                    <a:pt x="266700" y="906463"/>
                  </a:lnTo>
                  <a:lnTo>
                    <a:pt x="236538" y="960438"/>
                  </a:lnTo>
                  <a:lnTo>
                    <a:pt x="219075" y="1017588"/>
                  </a:lnTo>
                  <a:lnTo>
                    <a:pt x="219075" y="1117600"/>
                  </a:lnTo>
                  <a:lnTo>
                    <a:pt x="219075" y="1185863"/>
                  </a:lnTo>
                  <a:lnTo>
                    <a:pt x="271463" y="1246188"/>
                  </a:lnTo>
                  <a:lnTo>
                    <a:pt x="285750" y="1322388"/>
                  </a:lnTo>
                  <a:lnTo>
                    <a:pt x="317500" y="1370013"/>
                  </a:lnTo>
                  <a:lnTo>
                    <a:pt x="349250" y="1423988"/>
                  </a:lnTo>
                  <a:lnTo>
                    <a:pt x="422275" y="1463675"/>
                  </a:lnTo>
                  <a:lnTo>
                    <a:pt x="461963" y="1479550"/>
                  </a:lnTo>
                  <a:lnTo>
                    <a:pt x="493713" y="1508125"/>
                  </a:lnTo>
                  <a:lnTo>
                    <a:pt x="539291" y="1580605"/>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3" name="Freeform 25">
              <a:extLst>
                <a:ext uri="{FF2B5EF4-FFF2-40B4-BE49-F238E27FC236}">
                  <a16:creationId xmlns:a16="http://schemas.microsoft.com/office/drawing/2014/main" id="{C705BD9E-D138-212E-EE7A-4244BC400E4B}"/>
                </a:ext>
              </a:extLst>
            </p:cNvPr>
            <p:cNvSpPr>
              <a:spLocks/>
            </p:cNvSpPr>
            <p:nvPr/>
          </p:nvSpPr>
          <p:spPr bwMode="auto">
            <a:xfrm>
              <a:off x="7039114" y="3518662"/>
              <a:ext cx="194968" cy="235086"/>
            </a:xfrm>
            <a:custGeom>
              <a:avLst/>
              <a:gdLst>
                <a:gd name="T0" fmla="*/ 18 w 803275"/>
                <a:gd name="T1" fmla="*/ 67 h 941387"/>
                <a:gd name="T2" fmla="*/ 16 w 803275"/>
                <a:gd name="T3" fmla="*/ 76 h 941387"/>
                <a:gd name="T4" fmla="*/ 19 w 803275"/>
                <a:gd name="T5" fmla="*/ 82 h 941387"/>
                <a:gd name="T6" fmla="*/ 25 w 803275"/>
                <a:gd name="T7" fmla="*/ 83 h 941387"/>
                <a:gd name="T8" fmla="*/ 33 w 803275"/>
                <a:gd name="T9" fmla="*/ 77 h 941387"/>
                <a:gd name="T10" fmla="*/ 46 w 803275"/>
                <a:gd name="T11" fmla="*/ 72 h 941387"/>
                <a:gd name="T12" fmla="*/ 61 w 803275"/>
                <a:gd name="T13" fmla="*/ 72 h 941387"/>
                <a:gd name="T14" fmla="*/ 69 w 803275"/>
                <a:gd name="T15" fmla="*/ 79 h 941387"/>
                <a:gd name="T16" fmla="*/ 78 w 803275"/>
                <a:gd name="T17" fmla="*/ 87 h 941387"/>
                <a:gd name="T18" fmla="*/ 78 w 803275"/>
                <a:gd name="T19" fmla="*/ 102 h 941387"/>
                <a:gd name="T20" fmla="*/ 84 w 803275"/>
                <a:gd name="T21" fmla="*/ 109 h 941387"/>
                <a:gd name="T22" fmla="*/ 90 w 803275"/>
                <a:gd name="T23" fmla="*/ 118 h 941387"/>
                <a:gd name="T24" fmla="*/ 87 w 803275"/>
                <a:gd name="T25" fmla="*/ 135 h 941387"/>
                <a:gd name="T26" fmla="*/ 97 w 803275"/>
                <a:gd name="T27" fmla="*/ 142 h 941387"/>
                <a:gd name="T28" fmla="*/ 105 w 803275"/>
                <a:gd name="T29" fmla="*/ 136 h 941387"/>
                <a:gd name="T30" fmla="*/ 113 w 803275"/>
                <a:gd name="T31" fmla="*/ 133 h 941387"/>
                <a:gd name="T32" fmla="*/ 121 w 803275"/>
                <a:gd name="T33" fmla="*/ 131 h 941387"/>
                <a:gd name="T34" fmla="*/ 119 w 803275"/>
                <a:gd name="T35" fmla="*/ 116 h 941387"/>
                <a:gd name="T36" fmla="*/ 115 w 803275"/>
                <a:gd name="T37" fmla="*/ 107 h 941387"/>
                <a:gd name="T38" fmla="*/ 106 w 803275"/>
                <a:gd name="T39" fmla="*/ 94 h 941387"/>
                <a:gd name="T40" fmla="*/ 96 w 803275"/>
                <a:gd name="T41" fmla="*/ 84 h 941387"/>
                <a:gd name="T42" fmla="*/ 89 w 803275"/>
                <a:gd name="T43" fmla="*/ 76 h 941387"/>
                <a:gd name="T44" fmla="*/ 70 w 803275"/>
                <a:gd name="T45" fmla="*/ 56 h 941387"/>
                <a:gd name="T46" fmla="*/ 80 w 803275"/>
                <a:gd name="T47" fmla="*/ 45 h 941387"/>
                <a:gd name="T48" fmla="*/ 75 w 803275"/>
                <a:gd name="T49" fmla="*/ 33 h 941387"/>
                <a:gd name="T50" fmla="*/ 64 w 803275"/>
                <a:gd name="T51" fmla="*/ 29 h 941387"/>
                <a:gd name="T52" fmla="*/ 53 w 803275"/>
                <a:gd name="T53" fmla="*/ 28 h 941387"/>
                <a:gd name="T54" fmla="*/ 48 w 803275"/>
                <a:gd name="T55" fmla="*/ 18 h 941387"/>
                <a:gd name="T56" fmla="*/ 46 w 803275"/>
                <a:gd name="T57" fmla="*/ 11 h 941387"/>
                <a:gd name="T58" fmla="*/ 36 w 803275"/>
                <a:gd name="T59" fmla="*/ 0 h 941387"/>
                <a:gd name="T60" fmla="*/ 29 w 803275"/>
                <a:gd name="T61" fmla="*/ 3 h 941387"/>
                <a:gd name="T62" fmla="*/ 25 w 803275"/>
                <a:gd name="T63" fmla="*/ 14 h 941387"/>
                <a:gd name="T64" fmla="*/ 13 w 803275"/>
                <a:gd name="T65" fmla="*/ 18 h 941387"/>
                <a:gd name="T66" fmla="*/ 8 w 803275"/>
                <a:gd name="T67" fmla="*/ 31 h 941387"/>
                <a:gd name="T68" fmla="*/ 0 w 803275"/>
                <a:gd name="T69" fmla="*/ 41 h 941387"/>
                <a:gd name="T70" fmla="*/ 10 w 803275"/>
                <a:gd name="T71" fmla="*/ 47 h 941387"/>
                <a:gd name="T72" fmla="*/ 14 w 803275"/>
                <a:gd name="T73" fmla="*/ 53 h 941387"/>
                <a:gd name="T74" fmla="*/ 19 w 803275"/>
                <a:gd name="T75" fmla="*/ 58 h 941387"/>
                <a:gd name="T76" fmla="*/ 18 w 803275"/>
                <a:gd name="T77" fmla="*/ 67 h 94138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03275"/>
                <a:gd name="T118" fmla="*/ 0 h 941387"/>
                <a:gd name="T119" fmla="*/ 803275 w 803275"/>
                <a:gd name="T120" fmla="*/ 941387 h 94138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03275" h="941387">
                  <a:moveTo>
                    <a:pt x="122572" y="447527"/>
                  </a:moveTo>
                  <a:lnTo>
                    <a:pt x="107094" y="507058"/>
                  </a:lnTo>
                  <a:lnTo>
                    <a:pt x="123825" y="546100"/>
                  </a:lnTo>
                  <a:lnTo>
                    <a:pt x="164244" y="548730"/>
                  </a:lnTo>
                  <a:lnTo>
                    <a:pt x="219075" y="512762"/>
                  </a:lnTo>
                  <a:lnTo>
                    <a:pt x="307975" y="476250"/>
                  </a:lnTo>
                  <a:lnTo>
                    <a:pt x="404750" y="480865"/>
                  </a:lnTo>
                  <a:lnTo>
                    <a:pt x="457200" y="522287"/>
                  </a:lnTo>
                  <a:lnTo>
                    <a:pt x="515938" y="579437"/>
                  </a:lnTo>
                  <a:lnTo>
                    <a:pt x="517525" y="679450"/>
                  </a:lnTo>
                  <a:lnTo>
                    <a:pt x="560388" y="723900"/>
                  </a:lnTo>
                  <a:lnTo>
                    <a:pt x="598488" y="781050"/>
                  </a:lnTo>
                  <a:lnTo>
                    <a:pt x="581025" y="898525"/>
                  </a:lnTo>
                  <a:lnTo>
                    <a:pt x="646113" y="941387"/>
                  </a:lnTo>
                  <a:lnTo>
                    <a:pt x="695325" y="904875"/>
                  </a:lnTo>
                  <a:lnTo>
                    <a:pt x="752475" y="884237"/>
                  </a:lnTo>
                  <a:lnTo>
                    <a:pt x="803275" y="866775"/>
                  </a:lnTo>
                  <a:lnTo>
                    <a:pt x="789322" y="770187"/>
                  </a:lnTo>
                  <a:lnTo>
                    <a:pt x="766700" y="713037"/>
                  </a:lnTo>
                  <a:lnTo>
                    <a:pt x="702406" y="624930"/>
                  </a:lnTo>
                  <a:lnTo>
                    <a:pt x="641685" y="560637"/>
                  </a:lnTo>
                  <a:lnTo>
                    <a:pt x="591678" y="501105"/>
                  </a:lnTo>
                  <a:lnTo>
                    <a:pt x="466725" y="371475"/>
                  </a:lnTo>
                  <a:lnTo>
                    <a:pt x="533400" y="298450"/>
                  </a:lnTo>
                  <a:lnTo>
                    <a:pt x="501191" y="217737"/>
                  </a:lnTo>
                  <a:lnTo>
                    <a:pt x="423863" y="195262"/>
                  </a:lnTo>
                  <a:lnTo>
                    <a:pt x="349981" y="186780"/>
                  </a:lnTo>
                  <a:lnTo>
                    <a:pt x="319025" y="117724"/>
                  </a:lnTo>
                  <a:lnTo>
                    <a:pt x="303213" y="71437"/>
                  </a:lnTo>
                  <a:lnTo>
                    <a:pt x="241300" y="0"/>
                  </a:lnTo>
                  <a:lnTo>
                    <a:pt x="190438" y="17712"/>
                  </a:lnTo>
                  <a:lnTo>
                    <a:pt x="165100" y="92075"/>
                  </a:lnTo>
                  <a:lnTo>
                    <a:pt x="85725" y="117475"/>
                  </a:lnTo>
                  <a:lnTo>
                    <a:pt x="52388" y="204787"/>
                  </a:lnTo>
                  <a:lnTo>
                    <a:pt x="0" y="271462"/>
                  </a:lnTo>
                  <a:lnTo>
                    <a:pt x="65422" y="309415"/>
                  </a:lnTo>
                  <a:lnTo>
                    <a:pt x="96378" y="351087"/>
                  </a:lnTo>
                  <a:lnTo>
                    <a:pt x="123825" y="388937"/>
                  </a:lnTo>
                  <a:lnTo>
                    <a:pt x="122572" y="447527"/>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4" name="Freeform 26">
              <a:extLst>
                <a:ext uri="{FF2B5EF4-FFF2-40B4-BE49-F238E27FC236}">
                  <a16:creationId xmlns:a16="http://schemas.microsoft.com/office/drawing/2014/main" id="{6EEF2D4E-795D-9ED6-1DFB-076B3FF8C2BA}"/>
                </a:ext>
              </a:extLst>
            </p:cNvPr>
            <p:cNvSpPr>
              <a:spLocks/>
            </p:cNvSpPr>
            <p:nvPr/>
          </p:nvSpPr>
          <p:spPr bwMode="auto">
            <a:xfrm>
              <a:off x="7101861" y="3733005"/>
              <a:ext cx="136703" cy="119848"/>
            </a:xfrm>
            <a:custGeom>
              <a:avLst/>
              <a:gdLst>
                <a:gd name="T0" fmla="*/ 25 w 559594"/>
                <a:gd name="T1" fmla="*/ 11 h 470297"/>
                <a:gd name="T2" fmla="*/ 16 w 559594"/>
                <a:gd name="T3" fmla="*/ 11 h 470297"/>
                <a:gd name="T4" fmla="*/ 0 w 559594"/>
                <a:gd name="T5" fmla="*/ 25 h 470297"/>
                <a:gd name="T6" fmla="*/ 4 w 559594"/>
                <a:gd name="T7" fmla="*/ 43 h 470297"/>
                <a:gd name="T8" fmla="*/ 7 w 559594"/>
                <a:gd name="T9" fmla="*/ 55 h 470297"/>
                <a:gd name="T10" fmla="*/ 8 w 559594"/>
                <a:gd name="T11" fmla="*/ 64 h 470297"/>
                <a:gd name="T12" fmla="*/ 12 w 559594"/>
                <a:gd name="T13" fmla="*/ 69 h 470297"/>
                <a:gd name="T14" fmla="*/ 20 w 559594"/>
                <a:gd name="T15" fmla="*/ 72 h 470297"/>
                <a:gd name="T16" fmla="*/ 28 w 559594"/>
                <a:gd name="T17" fmla="*/ 77 h 470297"/>
                <a:gd name="T18" fmla="*/ 35 w 559594"/>
                <a:gd name="T19" fmla="*/ 78 h 470297"/>
                <a:gd name="T20" fmla="*/ 42 w 559594"/>
                <a:gd name="T21" fmla="*/ 70 h 470297"/>
                <a:gd name="T22" fmla="*/ 53 w 559594"/>
                <a:gd name="T23" fmla="*/ 69 h 470297"/>
                <a:gd name="T24" fmla="*/ 59 w 559594"/>
                <a:gd name="T25" fmla="*/ 64 h 470297"/>
                <a:gd name="T26" fmla="*/ 63 w 559594"/>
                <a:gd name="T27" fmla="*/ 55 h 470297"/>
                <a:gd name="T28" fmla="*/ 74 w 559594"/>
                <a:gd name="T29" fmla="*/ 50 h 470297"/>
                <a:gd name="T30" fmla="*/ 82 w 559594"/>
                <a:gd name="T31" fmla="*/ 45 h 470297"/>
                <a:gd name="T32" fmla="*/ 87 w 559594"/>
                <a:gd name="T33" fmla="*/ 31 h 470297"/>
                <a:gd name="T34" fmla="*/ 87 w 559594"/>
                <a:gd name="T35" fmla="*/ 18 h 470297"/>
                <a:gd name="T36" fmla="*/ 84 w 559594"/>
                <a:gd name="T37" fmla="*/ 0 h 470297"/>
                <a:gd name="T38" fmla="*/ 76 w 559594"/>
                <a:gd name="T39" fmla="*/ 2 h 470297"/>
                <a:gd name="T40" fmla="*/ 69 w 559594"/>
                <a:gd name="T41" fmla="*/ 6 h 470297"/>
                <a:gd name="T42" fmla="*/ 59 w 559594"/>
                <a:gd name="T43" fmla="*/ 12 h 470297"/>
                <a:gd name="T44" fmla="*/ 49 w 559594"/>
                <a:gd name="T45" fmla="*/ 5 h 470297"/>
                <a:gd name="T46" fmla="*/ 44 w 559594"/>
                <a:gd name="T47" fmla="*/ 8 h 470297"/>
                <a:gd name="T48" fmla="*/ 34 w 559594"/>
                <a:gd name="T49" fmla="*/ 14 h 470297"/>
                <a:gd name="T50" fmla="*/ 25 w 559594"/>
                <a:gd name="T51" fmla="*/ 11 h 470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9594"/>
                <a:gd name="T79" fmla="*/ 0 h 470297"/>
                <a:gd name="T80" fmla="*/ 559594 w 559594"/>
                <a:gd name="T81" fmla="*/ 470297 h 470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9594" h="470297">
                  <a:moveTo>
                    <a:pt x="163115" y="63103"/>
                  </a:moveTo>
                  <a:lnTo>
                    <a:pt x="100012" y="67866"/>
                  </a:lnTo>
                  <a:lnTo>
                    <a:pt x="0" y="152400"/>
                  </a:lnTo>
                  <a:lnTo>
                    <a:pt x="27447" y="258911"/>
                  </a:lnTo>
                  <a:lnTo>
                    <a:pt x="44909" y="331936"/>
                  </a:lnTo>
                  <a:lnTo>
                    <a:pt x="52847" y="381148"/>
                  </a:lnTo>
                  <a:lnTo>
                    <a:pt x="75072" y="414486"/>
                  </a:lnTo>
                  <a:lnTo>
                    <a:pt x="125872" y="435123"/>
                  </a:lnTo>
                  <a:lnTo>
                    <a:pt x="181434" y="463698"/>
                  </a:lnTo>
                  <a:lnTo>
                    <a:pt x="228600" y="470297"/>
                  </a:lnTo>
                  <a:lnTo>
                    <a:pt x="273509" y="417661"/>
                  </a:lnTo>
                  <a:lnTo>
                    <a:pt x="344947" y="412898"/>
                  </a:lnTo>
                  <a:lnTo>
                    <a:pt x="382190" y="383381"/>
                  </a:lnTo>
                  <a:lnTo>
                    <a:pt x="404812" y="333375"/>
                  </a:lnTo>
                  <a:lnTo>
                    <a:pt x="478297" y="300186"/>
                  </a:lnTo>
                  <a:lnTo>
                    <a:pt x="530684" y="270023"/>
                  </a:lnTo>
                  <a:lnTo>
                    <a:pt x="559259" y="185886"/>
                  </a:lnTo>
                  <a:lnTo>
                    <a:pt x="559594" y="110728"/>
                  </a:lnTo>
                  <a:lnTo>
                    <a:pt x="541734" y="0"/>
                  </a:lnTo>
                  <a:lnTo>
                    <a:pt x="489409" y="14436"/>
                  </a:lnTo>
                  <a:lnTo>
                    <a:pt x="441784" y="33486"/>
                  </a:lnTo>
                  <a:lnTo>
                    <a:pt x="379872" y="74761"/>
                  </a:lnTo>
                  <a:lnTo>
                    <a:pt x="317897" y="30956"/>
                  </a:lnTo>
                  <a:lnTo>
                    <a:pt x="284622" y="46186"/>
                  </a:lnTo>
                  <a:lnTo>
                    <a:pt x="219075" y="85725"/>
                  </a:lnTo>
                  <a:lnTo>
                    <a:pt x="163115" y="63103"/>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5" name="Freeform 27">
              <a:extLst>
                <a:ext uri="{FF2B5EF4-FFF2-40B4-BE49-F238E27FC236}">
                  <a16:creationId xmlns:a16="http://schemas.microsoft.com/office/drawing/2014/main" id="{4C28686B-E9FC-5F37-60D5-A864E049CF7D}"/>
                </a:ext>
              </a:extLst>
            </p:cNvPr>
            <p:cNvSpPr>
              <a:spLocks/>
            </p:cNvSpPr>
            <p:nvPr/>
          </p:nvSpPr>
          <p:spPr bwMode="auto">
            <a:xfrm>
              <a:off x="7290106" y="3954262"/>
              <a:ext cx="246510" cy="172858"/>
            </a:xfrm>
            <a:custGeom>
              <a:avLst/>
              <a:gdLst>
                <a:gd name="T0" fmla="*/ 2147483647 w 550"/>
                <a:gd name="T1" fmla="*/ 2147483647 h 375"/>
                <a:gd name="T2" fmla="*/ 0 w 550"/>
                <a:gd name="T3" fmla="*/ 2147483647 h 375"/>
                <a:gd name="T4" fmla="*/ 2147483647 w 550"/>
                <a:gd name="T5" fmla="*/ 2147483647 h 375"/>
                <a:gd name="T6" fmla="*/ 2147483647 w 550"/>
                <a:gd name="T7" fmla="*/ 2147483647 h 375"/>
                <a:gd name="T8" fmla="*/ 2147483647 w 550"/>
                <a:gd name="T9" fmla="*/ 2147483647 h 375"/>
                <a:gd name="T10" fmla="*/ 2147483647 w 550"/>
                <a:gd name="T11" fmla="*/ 2147483647 h 375"/>
                <a:gd name="T12" fmla="*/ 2147483647 w 550"/>
                <a:gd name="T13" fmla="*/ 2147483647 h 375"/>
                <a:gd name="T14" fmla="*/ 2147483647 w 550"/>
                <a:gd name="T15" fmla="*/ 2147483647 h 375"/>
                <a:gd name="T16" fmla="*/ 2147483647 w 550"/>
                <a:gd name="T17" fmla="*/ 2147483647 h 375"/>
                <a:gd name="T18" fmla="*/ 2147483647 w 550"/>
                <a:gd name="T19" fmla="*/ 2147483647 h 375"/>
                <a:gd name="T20" fmla="*/ 2147483647 w 550"/>
                <a:gd name="T21" fmla="*/ 2147483647 h 375"/>
                <a:gd name="T22" fmla="*/ 2147483647 w 550"/>
                <a:gd name="T23" fmla="*/ 2147483647 h 375"/>
                <a:gd name="T24" fmla="*/ 2147483647 w 550"/>
                <a:gd name="T25" fmla="*/ 2147483647 h 375"/>
                <a:gd name="T26" fmla="*/ 2147483647 w 550"/>
                <a:gd name="T27" fmla="*/ 2147483647 h 375"/>
                <a:gd name="T28" fmla="*/ 2147483647 w 550"/>
                <a:gd name="T29" fmla="*/ 2147483647 h 375"/>
                <a:gd name="T30" fmla="*/ 2147483647 w 550"/>
                <a:gd name="T31" fmla="*/ 2147483647 h 375"/>
                <a:gd name="T32" fmla="*/ 2147483647 w 550"/>
                <a:gd name="T33" fmla="*/ 2147483647 h 375"/>
                <a:gd name="T34" fmla="*/ 2147483647 w 550"/>
                <a:gd name="T35" fmla="*/ 2147483647 h 375"/>
                <a:gd name="T36" fmla="*/ 2147483647 w 550"/>
                <a:gd name="T37" fmla="*/ 2147483647 h 375"/>
                <a:gd name="T38" fmla="*/ 2147483647 w 550"/>
                <a:gd name="T39" fmla="*/ 2147483647 h 375"/>
                <a:gd name="T40" fmla="*/ 2147483647 w 550"/>
                <a:gd name="T41" fmla="*/ 2147483647 h 375"/>
                <a:gd name="T42" fmla="*/ 2147483647 w 550"/>
                <a:gd name="T43" fmla="*/ 2147483647 h 375"/>
                <a:gd name="T44" fmla="*/ 2147483647 w 550"/>
                <a:gd name="T45" fmla="*/ 2147483647 h 375"/>
                <a:gd name="T46" fmla="*/ 2147483647 w 550"/>
                <a:gd name="T47" fmla="*/ 2147483647 h 375"/>
                <a:gd name="T48" fmla="*/ 2147483647 w 550"/>
                <a:gd name="T49" fmla="*/ 2147483647 h 375"/>
                <a:gd name="T50" fmla="*/ 2147483647 w 550"/>
                <a:gd name="T51" fmla="*/ 0 h 375"/>
                <a:gd name="T52" fmla="*/ 2147483647 w 550"/>
                <a:gd name="T53" fmla="*/ 2147483647 h 375"/>
                <a:gd name="T54" fmla="*/ 2147483647 w 550"/>
                <a:gd name="T55" fmla="*/ 2147483647 h 375"/>
                <a:gd name="T56" fmla="*/ 2147483647 w 550"/>
                <a:gd name="T57" fmla="*/ 2147483647 h 375"/>
                <a:gd name="T58" fmla="*/ 2147483647 w 550"/>
                <a:gd name="T59" fmla="*/ 2147483647 h 375"/>
                <a:gd name="T60" fmla="*/ 2147483647 w 550"/>
                <a:gd name="T61" fmla="*/ 2147483647 h 375"/>
                <a:gd name="T62" fmla="*/ 2147483647 w 550"/>
                <a:gd name="T63" fmla="*/ 2147483647 h 375"/>
                <a:gd name="T64" fmla="*/ 2147483647 w 550"/>
                <a:gd name="T65" fmla="*/ 2147483647 h 375"/>
                <a:gd name="T66" fmla="*/ 2147483647 w 550"/>
                <a:gd name="T67" fmla="*/ 2147483647 h 375"/>
                <a:gd name="T68" fmla="*/ 2147483647 w 550"/>
                <a:gd name="T69" fmla="*/ 2147483647 h 375"/>
                <a:gd name="T70" fmla="*/ 2147483647 w 550"/>
                <a:gd name="T71" fmla="*/ 2147483647 h 375"/>
                <a:gd name="T72" fmla="*/ 2147483647 w 550"/>
                <a:gd name="T73" fmla="*/ 2147483647 h 375"/>
                <a:gd name="T74" fmla="*/ 2147483647 w 550"/>
                <a:gd name="T75" fmla="*/ 2147483647 h 375"/>
                <a:gd name="T76" fmla="*/ 2147483647 w 550"/>
                <a:gd name="T77" fmla="*/ 2147483647 h 37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0"/>
                <a:gd name="T118" fmla="*/ 0 h 375"/>
                <a:gd name="T119" fmla="*/ 1023938 w 550"/>
                <a:gd name="T120" fmla="*/ 698500 h 37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0" h="375">
                  <a:moveTo>
                    <a:pt x="46" y="293"/>
                  </a:moveTo>
                  <a:lnTo>
                    <a:pt x="0" y="325"/>
                  </a:lnTo>
                  <a:lnTo>
                    <a:pt x="22" y="351"/>
                  </a:lnTo>
                  <a:lnTo>
                    <a:pt x="44" y="375"/>
                  </a:lnTo>
                  <a:lnTo>
                    <a:pt x="90" y="353"/>
                  </a:lnTo>
                  <a:lnTo>
                    <a:pt x="134" y="347"/>
                  </a:lnTo>
                  <a:lnTo>
                    <a:pt x="158" y="316"/>
                  </a:lnTo>
                  <a:lnTo>
                    <a:pt x="188" y="326"/>
                  </a:lnTo>
                  <a:lnTo>
                    <a:pt x="228" y="329"/>
                  </a:lnTo>
                  <a:lnTo>
                    <a:pt x="271" y="324"/>
                  </a:lnTo>
                  <a:lnTo>
                    <a:pt x="285" y="281"/>
                  </a:lnTo>
                  <a:lnTo>
                    <a:pt x="291" y="256"/>
                  </a:lnTo>
                  <a:lnTo>
                    <a:pt x="316" y="229"/>
                  </a:lnTo>
                  <a:lnTo>
                    <a:pt x="318" y="191"/>
                  </a:lnTo>
                  <a:lnTo>
                    <a:pt x="334" y="168"/>
                  </a:lnTo>
                  <a:lnTo>
                    <a:pt x="352" y="150"/>
                  </a:lnTo>
                  <a:lnTo>
                    <a:pt x="385" y="161"/>
                  </a:lnTo>
                  <a:lnTo>
                    <a:pt x="409" y="168"/>
                  </a:lnTo>
                  <a:lnTo>
                    <a:pt x="437" y="155"/>
                  </a:lnTo>
                  <a:lnTo>
                    <a:pt x="495" y="154"/>
                  </a:lnTo>
                  <a:lnTo>
                    <a:pt x="495" y="116"/>
                  </a:lnTo>
                  <a:lnTo>
                    <a:pt x="550" y="91"/>
                  </a:lnTo>
                  <a:lnTo>
                    <a:pt x="517" y="82"/>
                  </a:lnTo>
                  <a:lnTo>
                    <a:pt x="466" y="57"/>
                  </a:lnTo>
                  <a:lnTo>
                    <a:pt x="434" y="4"/>
                  </a:lnTo>
                  <a:lnTo>
                    <a:pt x="397" y="0"/>
                  </a:lnTo>
                  <a:lnTo>
                    <a:pt x="356" y="43"/>
                  </a:lnTo>
                  <a:lnTo>
                    <a:pt x="347" y="77"/>
                  </a:lnTo>
                  <a:lnTo>
                    <a:pt x="319" y="124"/>
                  </a:lnTo>
                  <a:lnTo>
                    <a:pt x="300" y="133"/>
                  </a:lnTo>
                  <a:lnTo>
                    <a:pt x="303" y="145"/>
                  </a:lnTo>
                  <a:lnTo>
                    <a:pt x="306" y="156"/>
                  </a:lnTo>
                  <a:lnTo>
                    <a:pt x="297" y="154"/>
                  </a:lnTo>
                  <a:lnTo>
                    <a:pt x="290" y="147"/>
                  </a:lnTo>
                  <a:lnTo>
                    <a:pt x="290" y="135"/>
                  </a:lnTo>
                  <a:lnTo>
                    <a:pt x="281" y="139"/>
                  </a:lnTo>
                  <a:lnTo>
                    <a:pt x="284" y="156"/>
                  </a:lnTo>
                  <a:lnTo>
                    <a:pt x="281" y="165"/>
                  </a:lnTo>
                  <a:lnTo>
                    <a:pt x="273" y="170"/>
                  </a:lnTo>
                  <a:lnTo>
                    <a:pt x="267" y="163"/>
                  </a:lnTo>
                  <a:lnTo>
                    <a:pt x="258" y="159"/>
                  </a:lnTo>
                  <a:lnTo>
                    <a:pt x="255" y="150"/>
                  </a:lnTo>
                  <a:lnTo>
                    <a:pt x="251" y="144"/>
                  </a:lnTo>
                  <a:lnTo>
                    <a:pt x="184" y="211"/>
                  </a:lnTo>
                  <a:lnTo>
                    <a:pt x="120" y="236"/>
                  </a:lnTo>
                  <a:lnTo>
                    <a:pt x="92" y="283"/>
                  </a:lnTo>
                  <a:lnTo>
                    <a:pt x="46" y="293"/>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6" name="Freeform 28">
              <a:extLst>
                <a:ext uri="{FF2B5EF4-FFF2-40B4-BE49-F238E27FC236}">
                  <a16:creationId xmlns:a16="http://schemas.microsoft.com/office/drawing/2014/main" id="{980563E6-462B-7AD4-C203-50691DEC963F}"/>
                </a:ext>
              </a:extLst>
            </p:cNvPr>
            <p:cNvSpPr>
              <a:spLocks/>
            </p:cNvSpPr>
            <p:nvPr/>
          </p:nvSpPr>
          <p:spPr bwMode="auto">
            <a:xfrm>
              <a:off x="7518689" y="4092549"/>
              <a:ext cx="163594" cy="198210"/>
            </a:xfrm>
            <a:custGeom>
              <a:avLst/>
              <a:gdLst>
                <a:gd name="T0" fmla="*/ 2147483647 w 942"/>
                <a:gd name="T1" fmla="*/ 2147483647 h 1089"/>
                <a:gd name="T2" fmla="*/ 2147483647 w 942"/>
                <a:gd name="T3" fmla="*/ 2147483647 h 1089"/>
                <a:gd name="T4" fmla="*/ 2147483647 w 942"/>
                <a:gd name="T5" fmla="*/ 2147483647 h 1089"/>
                <a:gd name="T6" fmla="*/ 0 w 942"/>
                <a:gd name="T7" fmla="*/ 2147483647 h 1089"/>
                <a:gd name="T8" fmla="*/ 2147483647 w 942"/>
                <a:gd name="T9" fmla="*/ 2147483647 h 1089"/>
                <a:gd name="T10" fmla="*/ 2147483647 w 942"/>
                <a:gd name="T11" fmla="*/ 2147483647 h 1089"/>
                <a:gd name="T12" fmla="*/ 2147483647 w 942"/>
                <a:gd name="T13" fmla="*/ 2147483647 h 1089"/>
                <a:gd name="T14" fmla="*/ 2147483647 w 942"/>
                <a:gd name="T15" fmla="*/ 2147483647 h 1089"/>
                <a:gd name="T16" fmla="*/ 2147483647 w 942"/>
                <a:gd name="T17" fmla="*/ 2147483647 h 1089"/>
                <a:gd name="T18" fmla="*/ 2147483647 w 942"/>
                <a:gd name="T19" fmla="*/ 2147483647 h 1089"/>
                <a:gd name="T20" fmla="*/ 2147483647 w 942"/>
                <a:gd name="T21" fmla="*/ 2147483647 h 1089"/>
                <a:gd name="T22" fmla="*/ 2147483647 w 942"/>
                <a:gd name="T23" fmla="*/ 2147483647 h 1089"/>
                <a:gd name="T24" fmla="*/ 2147483647 w 942"/>
                <a:gd name="T25" fmla="*/ 2147483647 h 1089"/>
                <a:gd name="T26" fmla="*/ 2147483647 w 942"/>
                <a:gd name="T27" fmla="*/ 2147483647 h 1089"/>
                <a:gd name="T28" fmla="*/ 2147483647 w 942"/>
                <a:gd name="T29" fmla="*/ 2147483647 h 1089"/>
                <a:gd name="T30" fmla="*/ 2147483647 w 942"/>
                <a:gd name="T31" fmla="*/ 2147483647 h 1089"/>
                <a:gd name="T32" fmla="*/ 2147483647 w 942"/>
                <a:gd name="T33" fmla="*/ 2147483647 h 1089"/>
                <a:gd name="T34" fmla="*/ 2147483647 w 942"/>
                <a:gd name="T35" fmla="*/ 2147483647 h 1089"/>
                <a:gd name="T36" fmla="*/ 2147483647 w 942"/>
                <a:gd name="T37" fmla="*/ 2147483647 h 1089"/>
                <a:gd name="T38" fmla="*/ 2147483647 w 942"/>
                <a:gd name="T39" fmla="*/ 2147483647 h 1089"/>
                <a:gd name="T40" fmla="*/ 2147483647 w 942"/>
                <a:gd name="T41" fmla="*/ 2147483647 h 1089"/>
                <a:gd name="T42" fmla="*/ 2147483647 w 942"/>
                <a:gd name="T43" fmla="*/ 2147483647 h 1089"/>
                <a:gd name="T44" fmla="*/ 2147483647 w 942"/>
                <a:gd name="T45" fmla="*/ 2147483647 h 1089"/>
                <a:gd name="T46" fmla="*/ 2147483647 w 942"/>
                <a:gd name="T47" fmla="*/ 2147483647 h 1089"/>
                <a:gd name="T48" fmla="*/ 2147483647 w 942"/>
                <a:gd name="T49" fmla="*/ 2147483647 h 1089"/>
                <a:gd name="T50" fmla="*/ 2147483647 w 942"/>
                <a:gd name="T51" fmla="*/ 2147483647 h 1089"/>
                <a:gd name="T52" fmla="*/ 2147483647 w 942"/>
                <a:gd name="T53" fmla="*/ 2147483647 h 1089"/>
                <a:gd name="T54" fmla="*/ 2147483647 w 942"/>
                <a:gd name="T55" fmla="*/ 2147483647 h 1089"/>
                <a:gd name="T56" fmla="*/ 2147483647 w 942"/>
                <a:gd name="T57" fmla="*/ 2147483647 h 1089"/>
                <a:gd name="T58" fmla="*/ 2147483647 w 942"/>
                <a:gd name="T59" fmla="*/ 2147483647 h 1089"/>
                <a:gd name="T60" fmla="*/ 2147483647 w 942"/>
                <a:gd name="T61" fmla="*/ 2147483647 h 1089"/>
                <a:gd name="T62" fmla="*/ 2147483647 w 942"/>
                <a:gd name="T63" fmla="*/ 2147483647 h 1089"/>
                <a:gd name="T64" fmla="*/ 2147483647 w 942"/>
                <a:gd name="T65" fmla="*/ 2147483647 h 1089"/>
                <a:gd name="T66" fmla="*/ 2147483647 w 942"/>
                <a:gd name="T67" fmla="*/ 2147483647 h 10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42"/>
                <a:gd name="T103" fmla="*/ 0 h 1089"/>
                <a:gd name="T104" fmla="*/ 942 w 942"/>
                <a:gd name="T105" fmla="*/ 1089 h 10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42" h="1089">
                  <a:moveTo>
                    <a:pt x="175" y="1089"/>
                  </a:moveTo>
                  <a:lnTo>
                    <a:pt x="84" y="1043"/>
                  </a:lnTo>
                  <a:lnTo>
                    <a:pt x="84" y="953"/>
                  </a:lnTo>
                  <a:lnTo>
                    <a:pt x="120" y="873"/>
                  </a:lnTo>
                  <a:lnTo>
                    <a:pt x="114" y="807"/>
                  </a:lnTo>
                  <a:lnTo>
                    <a:pt x="72" y="771"/>
                  </a:lnTo>
                  <a:lnTo>
                    <a:pt x="6" y="759"/>
                  </a:lnTo>
                  <a:lnTo>
                    <a:pt x="0" y="663"/>
                  </a:lnTo>
                  <a:lnTo>
                    <a:pt x="54" y="603"/>
                  </a:lnTo>
                  <a:lnTo>
                    <a:pt x="72" y="465"/>
                  </a:lnTo>
                  <a:lnTo>
                    <a:pt x="84" y="363"/>
                  </a:lnTo>
                  <a:lnTo>
                    <a:pt x="132" y="327"/>
                  </a:lnTo>
                  <a:lnTo>
                    <a:pt x="175" y="227"/>
                  </a:lnTo>
                  <a:lnTo>
                    <a:pt x="175" y="136"/>
                  </a:lnTo>
                  <a:lnTo>
                    <a:pt x="258" y="123"/>
                  </a:lnTo>
                  <a:lnTo>
                    <a:pt x="311" y="91"/>
                  </a:lnTo>
                  <a:lnTo>
                    <a:pt x="401" y="91"/>
                  </a:lnTo>
                  <a:lnTo>
                    <a:pt x="498" y="111"/>
                  </a:lnTo>
                  <a:lnTo>
                    <a:pt x="582" y="123"/>
                  </a:lnTo>
                  <a:lnTo>
                    <a:pt x="702" y="135"/>
                  </a:lnTo>
                  <a:lnTo>
                    <a:pt x="764" y="91"/>
                  </a:lnTo>
                  <a:lnTo>
                    <a:pt x="834" y="75"/>
                  </a:lnTo>
                  <a:lnTo>
                    <a:pt x="900" y="0"/>
                  </a:lnTo>
                  <a:lnTo>
                    <a:pt x="942" y="57"/>
                  </a:lnTo>
                  <a:lnTo>
                    <a:pt x="906" y="135"/>
                  </a:lnTo>
                  <a:lnTo>
                    <a:pt x="855" y="182"/>
                  </a:lnTo>
                  <a:lnTo>
                    <a:pt x="804" y="195"/>
                  </a:lnTo>
                  <a:lnTo>
                    <a:pt x="750" y="177"/>
                  </a:lnTo>
                  <a:lnTo>
                    <a:pt x="672" y="195"/>
                  </a:lnTo>
                  <a:lnTo>
                    <a:pt x="594" y="195"/>
                  </a:lnTo>
                  <a:lnTo>
                    <a:pt x="516" y="195"/>
                  </a:lnTo>
                  <a:lnTo>
                    <a:pt x="402" y="201"/>
                  </a:lnTo>
                  <a:lnTo>
                    <a:pt x="318" y="213"/>
                  </a:lnTo>
                  <a:lnTo>
                    <a:pt x="220" y="227"/>
                  </a:lnTo>
                  <a:lnTo>
                    <a:pt x="198" y="321"/>
                  </a:lnTo>
                  <a:lnTo>
                    <a:pt x="228" y="369"/>
                  </a:lnTo>
                  <a:lnTo>
                    <a:pt x="265" y="408"/>
                  </a:lnTo>
                  <a:lnTo>
                    <a:pt x="306" y="459"/>
                  </a:lnTo>
                  <a:lnTo>
                    <a:pt x="356" y="454"/>
                  </a:lnTo>
                  <a:lnTo>
                    <a:pt x="401" y="408"/>
                  </a:lnTo>
                  <a:lnTo>
                    <a:pt x="480" y="399"/>
                  </a:lnTo>
                  <a:lnTo>
                    <a:pt x="552" y="381"/>
                  </a:lnTo>
                  <a:lnTo>
                    <a:pt x="636" y="375"/>
                  </a:lnTo>
                  <a:lnTo>
                    <a:pt x="673" y="408"/>
                  </a:lnTo>
                  <a:lnTo>
                    <a:pt x="612" y="477"/>
                  </a:lnTo>
                  <a:lnTo>
                    <a:pt x="537" y="499"/>
                  </a:lnTo>
                  <a:lnTo>
                    <a:pt x="474" y="513"/>
                  </a:lnTo>
                  <a:lnTo>
                    <a:pt x="401" y="544"/>
                  </a:lnTo>
                  <a:lnTo>
                    <a:pt x="408" y="597"/>
                  </a:lnTo>
                  <a:lnTo>
                    <a:pt x="474" y="657"/>
                  </a:lnTo>
                  <a:lnTo>
                    <a:pt x="534" y="711"/>
                  </a:lnTo>
                  <a:lnTo>
                    <a:pt x="492" y="783"/>
                  </a:lnTo>
                  <a:lnTo>
                    <a:pt x="552" y="849"/>
                  </a:lnTo>
                  <a:lnTo>
                    <a:pt x="612" y="891"/>
                  </a:lnTo>
                  <a:lnTo>
                    <a:pt x="534" y="927"/>
                  </a:lnTo>
                  <a:lnTo>
                    <a:pt x="510" y="981"/>
                  </a:lnTo>
                  <a:lnTo>
                    <a:pt x="426" y="969"/>
                  </a:lnTo>
                  <a:lnTo>
                    <a:pt x="356" y="907"/>
                  </a:lnTo>
                  <a:lnTo>
                    <a:pt x="311" y="817"/>
                  </a:lnTo>
                  <a:lnTo>
                    <a:pt x="306" y="747"/>
                  </a:lnTo>
                  <a:lnTo>
                    <a:pt x="356" y="680"/>
                  </a:lnTo>
                  <a:lnTo>
                    <a:pt x="288" y="651"/>
                  </a:lnTo>
                  <a:lnTo>
                    <a:pt x="246" y="681"/>
                  </a:lnTo>
                  <a:lnTo>
                    <a:pt x="220" y="726"/>
                  </a:lnTo>
                  <a:lnTo>
                    <a:pt x="228" y="819"/>
                  </a:lnTo>
                  <a:lnTo>
                    <a:pt x="234" y="909"/>
                  </a:lnTo>
                  <a:lnTo>
                    <a:pt x="220" y="998"/>
                  </a:lnTo>
                  <a:lnTo>
                    <a:pt x="175" y="1089"/>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7" name="Freeform 29">
              <a:extLst>
                <a:ext uri="{FF2B5EF4-FFF2-40B4-BE49-F238E27FC236}">
                  <a16:creationId xmlns:a16="http://schemas.microsoft.com/office/drawing/2014/main" id="{32E1BA17-3704-212E-B6E5-A42FD5FD7D99}"/>
                </a:ext>
              </a:extLst>
            </p:cNvPr>
            <p:cNvSpPr>
              <a:spLocks/>
            </p:cNvSpPr>
            <p:nvPr/>
          </p:nvSpPr>
          <p:spPr bwMode="auto">
            <a:xfrm>
              <a:off x="7525414" y="4369120"/>
              <a:ext cx="47061" cy="27657"/>
            </a:xfrm>
            <a:custGeom>
              <a:avLst/>
              <a:gdLst>
                <a:gd name="T0" fmla="*/ 2147483647 w 273"/>
                <a:gd name="T1" fmla="*/ 2147483647 h 146"/>
                <a:gd name="T2" fmla="*/ 2147483647 w 273"/>
                <a:gd name="T3" fmla="*/ 2147483647 h 146"/>
                <a:gd name="T4" fmla="*/ 0 w 273"/>
                <a:gd name="T5" fmla="*/ 2147483647 h 146"/>
                <a:gd name="T6" fmla="*/ 2147483647 w 273"/>
                <a:gd name="T7" fmla="*/ 2147483647 h 146"/>
                <a:gd name="T8" fmla="*/ 2147483647 w 273"/>
                <a:gd name="T9" fmla="*/ 0 h 146"/>
                <a:gd name="T10" fmla="*/ 2147483647 w 273"/>
                <a:gd name="T11" fmla="*/ 2147483647 h 146"/>
                <a:gd name="T12" fmla="*/ 2147483647 w 273"/>
                <a:gd name="T13" fmla="*/ 2147483647 h 146"/>
                <a:gd name="T14" fmla="*/ 2147483647 w 273"/>
                <a:gd name="T15" fmla="*/ 2147483647 h 146"/>
                <a:gd name="T16" fmla="*/ 2147483647 w 273"/>
                <a:gd name="T17" fmla="*/ 2147483647 h 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3"/>
                <a:gd name="T28" fmla="*/ 0 h 146"/>
                <a:gd name="T29" fmla="*/ 273 w 273"/>
                <a:gd name="T30" fmla="*/ 146 h 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3" h="146">
                  <a:moveTo>
                    <a:pt x="182" y="146"/>
                  </a:moveTo>
                  <a:lnTo>
                    <a:pt x="70" y="90"/>
                  </a:lnTo>
                  <a:lnTo>
                    <a:pt x="0" y="55"/>
                  </a:lnTo>
                  <a:lnTo>
                    <a:pt x="46" y="10"/>
                  </a:lnTo>
                  <a:lnTo>
                    <a:pt x="106" y="0"/>
                  </a:lnTo>
                  <a:lnTo>
                    <a:pt x="160" y="6"/>
                  </a:lnTo>
                  <a:lnTo>
                    <a:pt x="227" y="55"/>
                  </a:lnTo>
                  <a:lnTo>
                    <a:pt x="273" y="101"/>
                  </a:lnTo>
                  <a:lnTo>
                    <a:pt x="182" y="146"/>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8" name="Freeform 30">
              <a:extLst>
                <a:ext uri="{FF2B5EF4-FFF2-40B4-BE49-F238E27FC236}">
                  <a16:creationId xmlns:a16="http://schemas.microsoft.com/office/drawing/2014/main" id="{BFD8A47E-D884-83F2-8E61-AF1C30ECC869}"/>
                </a:ext>
              </a:extLst>
            </p:cNvPr>
            <p:cNvSpPr>
              <a:spLocks/>
            </p:cNvSpPr>
            <p:nvPr/>
          </p:nvSpPr>
          <p:spPr bwMode="auto">
            <a:xfrm>
              <a:off x="7467147" y="4339160"/>
              <a:ext cx="58265" cy="27657"/>
            </a:xfrm>
            <a:custGeom>
              <a:avLst/>
              <a:gdLst>
                <a:gd name="T0" fmla="*/ 2147483647 w 336"/>
                <a:gd name="T1" fmla="*/ 2147483647 h 159"/>
                <a:gd name="T2" fmla="*/ 2147483647 w 336"/>
                <a:gd name="T3" fmla="*/ 2147483647 h 159"/>
                <a:gd name="T4" fmla="*/ 0 w 336"/>
                <a:gd name="T5" fmla="*/ 2147483647 h 159"/>
                <a:gd name="T6" fmla="*/ 2147483647 w 336"/>
                <a:gd name="T7" fmla="*/ 2147483647 h 159"/>
                <a:gd name="T8" fmla="*/ 2147483647 w 336"/>
                <a:gd name="T9" fmla="*/ 2147483647 h 159"/>
                <a:gd name="T10" fmla="*/ 2147483647 w 336"/>
                <a:gd name="T11" fmla="*/ 0 h 159"/>
                <a:gd name="T12" fmla="*/ 2147483647 w 336"/>
                <a:gd name="T13" fmla="*/ 2147483647 h 159"/>
                <a:gd name="T14" fmla="*/ 2147483647 w 336"/>
                <a:gd name="T15" fmla="*/ 2147483647 h 159"/>
                <a:gd name="T16" fmla="*/ 2147483647 w 336"/>
                <a:gd name="T17" fmla="*/ 2147483647 h 159"/>
                <a:gd name="T18" fmla="*/ 2147483647 w 336"/>
                <a:gd name="T19" fmla="*/ 2147483647 h 159"/>
                <a:gd name="T20" fmla="*/ 2147483647 w 336"/>
                <a:gd name="T21" fmla="*/ 2147483647 h 159"/>
                <a:gd name="T22" fmla="*/ 2147483647 w 336"/>
                <a:gd name="T23" fmla="*/ 2147483647 h 159"/>
                <a:gd name="T24" fmla="*/ 2147483647 w 336"/>
                <a:gd name="T25" fmla="*/ 2147483647 h 1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6"/>
                <a:gd name="T40" fmla="*/ 0 h 159"/>
                <a:gd name="T41" fmla="*/ 336 w 336"/>
                <a:gd name="T42" fmla="*/ 159 h 1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6" h="159">
                  <a:moveTo>
                    <a:pt x="162" y="147"/>
                  </a:moveTo>
                  <a:lnTo>
                    <a:pt x="84" y="159"/>
                  </a:lnTo>
                  <a:lnTo>
                    <a:pt x="0" y="147"/>
                  </a:lnTo>
                  <a:lnTo>
                    <a:pt x="21" y="55"/>
                  </a:lnTo>
                  <a:lnTo>
                    <a:pt x="67" y="10"/>
                  </a:lnTo>
                  <a:lnTo>
                    <a:pt x="127" y="0"/>
                  </a:lnTo>
                  <a:lnTo>
                    <a:pt x="181" y="6"/>
                  </a:lnTo>
                  <a:lnTo>
                    <a:pt x="276" y="33"/>
                  </a:lnTo>
                  <a:lnTo>
                    <a:pt x="336" y="27"/>
                  </a:lnTo>
                  <a:lnTo>
                    <a:pt x="330" y="105"/>
                  </a:lnTo>
                  <a:lnTo>
                    <a:pt x="276" y="105"/>
                  </a:lnTo>
                  <a:lnTo>
                    <a:pt x="222" y="123"/>
                  </a:lnTo>
                  <a:lnTo>
                    <a:pt x="162" y="147"/>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49" name="Freeform 31">
              <a:extLst>
                <a:ext uri="{FF2B5EF4-FFF2-40B4-BE49-F238E27FC236}">
                  <a16:creationId xmlns:a16="http://schemas.microsoft.com/office/drawing/2014/main" id="{DDFE28D3-2D4F-28B8-086F-E38AFCA9B466}"/>
                </a:ext>
              </a:extLst>
            </p:cNvPr>
            <p:cNvSpPr>
              <a:spLocks/>
            </p:cNvSpPr>
            <p:nvPr/>
          </p:nvSpPr>
          <p:spPr bwMode="auto">
            <a:xfrm>
              <a:off x="7545581" y="4336853"/>
              <a:ext cx="60508" cy="25353"/>
            </a:xfrm>
            <a:custGeom>
              <a:avLst/>
              <a:gdLst>
                <a:gd name="T0" fmla="*/ 2147483647 w 336"/>
                <a:gd name="T1" fmla="*/ 2147483647 h 138"/>
                <a:gd name="T2" fmla="*/ 2147483647 w 336"/>
                <a:gd name="T3" fmla="*/ 2147483647 h 138"/>
                <a:gd name="T4" fmla="*/ 0 w 336"/>
                <a:gd name="T5" fmla="*/ 2147483647 h 138"/>
                <a:gd name="T6" fmla="*/ 2147483647 w 336"/>
                <a:gd name="T7" fmla="*/ 2147483647 h 138"/>
                <a:gd name="T8" fmla="*/ 2147483647 w 336"/>
                <a:gd name="T9" fmla="*/ 0 h 138"/>
                <a:gd name="T10" fmla="*/ 2147483647 w 336"/>
                <a:gd name="T11" fmla="*/ 2147483647 h 138"/>
                <a:gd name="T12" fmla="*/ 2147483647 w 336"/>
                <a:gd name="T13" fmla="*/ 2147483647 h 138"/>
                <a:gd name="T14" fmla="*/ 2147483647 w 336"/>
                <a:gd name="T15" fmla="*/ 2147483647 h 138"/>
                <a:gd name="T16" fmla="*/ 2147483647 w 336"/>
                <a:gd name="T17" fmla="*/ 2147483647 h 138"/>
                <a:gd name="T18" fmla="*/ 2147483647 w 336"/>
                <a:gd name="T19" fmla="*/ 2147483647 h 138"/>
                <a:gd name="T20" fmla="*/ 2147483647 w 336"/>
                <a:gd name="T21" fmla="*/ 2147483647 h 138"/>
                <a:gd name="T22" fmla="*/ 2147483647 w 336"/>
                <a:gd name="T23" fmla="*/ 2147483647 h 138"/>
                <a:gd name="T24" fmla="*/ 2147483647 w 336"/>
                <a:gd name="T25" fmla="*/ 2147483647 h 1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6"/>
                <a:gd name="T40" fmla="*/ 0 h 138"/>
                <a:gd name="T41" fmla="*/ 336 w 336"/>
                <a:gd name="T42" fmla="*/ 138 h 1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6" h="138">
                  <a:moveTo>
                    <a:pt x="145" y="126"/>
                  </a:moveTo>
                  <a:lnTo>
                    <a:pt x="67" y="138"/>
                  </a:lnTo>
                  <a:lnTo>
                    <a:pt x="0" y="108"/>
                  </a:lnTo>
                  <a:lnTo>
                    <a:pt x="4" y="34"/>
                  </a:lnTo>
                  <a:lnTo>
                    <a:pt x="60" y="0"/>
                  </a:lnTo>
                  <a:lnTo>
                    <a:pt x="126" y="12"/>
                  </a:lnTo>
                  <a:lnTo>
                    <a:pt x="162" y="36"/>
                  </a:lnTo>
                  <a:lnTo>
                    <a:pt x="264" y="48"/>
                  </a:lnTo>
                  <a:lnTo>
                    <a:pt x="336" y="48"/>
                  </a:lnTo>
                  <a:lnTo>
                    <a:pt x="330" y="108"/>
                  </a:lnTo>
                  <a:lnTo>
                    <a:pt x="270" y="120"/>
                  </a:lnTo>
                  <a:lnTo>
                    <a:pt x="205" y="102"/>
                  </a:lnTo>
                  <a:lnTo>
                    <a:pt x="145" y="126"/>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0" name="Freeform 32">
              <a:extLst>
                <a:ext uri="{FF2B5EF4-FFF2-40B4-BE49-F238E27FC236}">
                  <a16:creationId xmlns:a16="http://schemas.microsoft.com/office/drawing/2014/main" id="{FD33E7C7-93A4-4567-BB5F-D15CE42D908B}"/>
                </a:ext>
              </a:extLst>
            </p:cNvPr>
            <p:cNvSpPr>
              <a:spLocks/>
            </p:cNvSpPr>
            <p:nvPr/>
          </p:nvSpPr>
          <p:spPr bwMode="auto">
            <a:xfrm>
              <a:off x="7538860" y="3631595"/>
              <a:ext cx="73952" cy="182078"/>
            </a:xfrm>
            <a:custGeom>
              <a:avLst/>
              <a:gdLst>
                <a:gd name="T0" fmla="*/ 2147483647 w 424"/>
                <a:gd name="T1" fmla="*/ 2147483647 h 1002"/>
                <a:gd name="T2" fmla="*/ 2147483647 w 424"/>
                <a:gd name="T3" fmla="*/ 2147483647 h 1002"/>
                <a:gd name="T4" fmla="*/ 2147483647 w 424"/>
                <a:gd name="T5" fmla="*/ 2147483647 h 1002"/>
                <a:gd name="T6" fmla="*/ 2147483647 w 424"/>
                <a:gd name="T7" fmla="*/ 2147483647 h 1002"/>
                <a:gd name="T8" fmla="*/ 2147483647 w 424"/>
                <a:gd name="T9" fmla="*/ 2147483647 h 1002"/>
                <a:gd name="T10" fmla="*/ 2147483647 w 424"/>
                <a:gd name="T11" fmla="*/ 2147483647 h 1002"/>
                <a:gd name="T12" fmla="*/ 2147483647 w 424"/>
                <a:gd name="T13" fmla="*/ 2147483647 h 1002"/>
                <a:gd name="T14" fmla="*/ 2147483647 w 424"/>
                <a:gd name="T15" fmla="*/ 2147483647 h 1002"/>
                <a:gd name="T16" fmla="*/ 2147483647 w 424"/>
                <a:gd name="T17" fmla="*/ 2147483647 h 1002"/>
                <a:gd name="T18" fmla="*/ 2147483647 w 424"/>
                <a:gd name="T19" fmla="*/ 2147483647 h 1002"/>
                <a:gd name="T20" fmla="*/ 2147483647 w 424"/>
                <a:gd name="T21" fmla="*/ 2147483647 h 1002"/>
                <a:gd name="T22" fmla="*/ 2147483647 w 424"/>
                <a:gd name="T23" fmla="*/ 2147483647 h 1002"/>
                <a:gd name="T24" fmla="*/ 2147483647 w 424"/>
                <a:gd name="T25" fmla="*/ 2147483647 h 1002"/>
                <a:gd name="T26" fmla="*/ 0 w 424"/>
                <a:gd name="T27" fmla="*/ 2147483647 h 1002"/>
                <a:gd name="T28" fmla="*/ 2147483647 w 424"/>
                <a:gd name="T29" fmla="*/ 2147483647 h 1002"/>
                <a:gd name="T30" fmla="*/ 2147483647 w 424"/>
                <a:gd name="T31" fmla="*/ 2147483647 h 1002"/>
                <a:gd name="T32" fmla="*/ 2147483647 w 424"/>
                <a:gd name="T33" fmla="*/ 2147483647 h 1002"/>
                <a:gd name="T34" fmla="*/ 2147483647 w 424"/>
                <a:gd name="T35" fmla="*/ 2147483647 h 1002"/>
                <a:gd name="T36" fmla="*/ 2147483647 w 424"/>
                <a:gd name="T37" fmla="*/ 2147483647 h 1002"/>
                <a:gd name="T38" fmla="*/ 2147483647 w 424"/>
                <a:gd name="T39" fmla="*/ 2147483647 h 1002"/>
                <a:gd name="T40" fmla="*/ 2147483647 w 424"/>
                <a:gd name="T41" fmla="*/ 0 h 1002"/>
                <a:gd name="T42" fmla="*/ 2147483647 w 424"/>
                <a:gd name="T43" fmla="*/ 2147483647 h 1002"/>
                <a:gd name="T44" fmla="*/ 2147483647 w 424"/>
                <a:gd name="T45" fmla="*/ 2147483647 h 1002"/>
                <a:gd name="T46" fmla="*/ 2147483647 w 424"/>
                <a:gd name="T47" fmla="*/ 2147483647 h 1002"/>
                <a:gd name="T48" fmla="*/ 2147483647 w 424"/>
                <a:gd name="T49" fmla="*/ 2147483647 h 1002"/>
                <a:gd name="T50" fmla="*/ 2147483647 w 424"/>
                <a:gd name="T51" fmla="*/ 2147483647 h 1002"/>
                <a:gd name="T52" fmla="*/ 2147483647 w 424"/>
                <a:gd name="T53" fmla="*/ 2147483647 h 1002"/>
                <a:gd name="T54" fmla="*/ 2147483647 w 424"/>
                <a:gd name="T55" fmla="*/ 2147483647 h 100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24"/>
                <a:gd name="T85" fmla="*/ 0 h 1002"/>
                <a:gd name="T86" fmla="*/ 424 w 424"/>
                <a:gd name="T87" fmla="*/ 1002 h 100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24" h="1002">
                  <a:moveTo>
                    <a:pt x="256" y="490"/>
                  </a:moveTo>
                  <a:lnTo>
                    <a:pt x="256" y="594"/>
                  </a:lnTo>
                  <a:lnTo>
                    <a:pt x="336" y="666"/>
                  </a:lnTo>
                  <a:lnTo>
                    <a:pt x="312" y="730"/>
                  </a:lnTo>
                  <a:lnTo>
                    <a:pt x="264" y="778"/>
                  </a:lnTo>
                  <a:lnTo>
                    <a:pt x="264" y="874"/>
                  </a:lnTo>
                  <a:lnTo>
                    <a:pt x="248" y="1002"/>
                  </a:lnTo>
                  <a:lnTo>
                    <a:pt x="168" y="930"/>
                  </a:lnTo>
                  <a:lnTo>
                    <a:pt x="120" y="858"/>
                  </a:lnTo>
                  <a:lnTo>
                    <a:pt x="200" y="778"/>
                  </a:lnTo>
                  <a:lnTo>
                    <a:pt x="120" y="674"/>
                  </a:lnTo>
                  <a:lnTo>
                    <a:pt x="56" y="610"/>
                  </a:lnTo>
                  <a:lnTo>
                    <a:pt x="32" y="490"/>
                  </a:lnTo>
                  <a:lnTo>
                    <a:pt x="0" y="394"/>
                  </a:lnTo>
                  <a:lnTo>
                    <a:pt x="56" y="362"/>
                  </a:lnTo>
                  <a:lnTo>
                    <a:pt x="120" y="418"/>
                  </a:lnTo>
                  <a:lnTo>
                    <a:pt x="128" y="306"/>
                  </a:lnTo>
                  <a:lnTo>
                    <a:pt x="128" y="250"/>
                  </a:lnTo>
                  <a:lnTo>
                    <a:pt x="104" y="161"/>
                  </a:lnTo>
                  <a:lnTo>
                    <a:pt x="144" y="82"/>
                  </a:lnTo>
                  <a:lnTo>
                    <a:pt x="200" y="0"/>
                  </a:lnTo>
                  <a:lnTo>
                    <a:pt x="320" y="98"/>
                  </a:lnTo>
                  <a:lnTo>
                    <a:pt x="424" y="98"/>
                  </a:lnTo>
                  <a:lnTo>
                    <a:pt x="376" y="178"/>
                  </a:lnTo>
                  <a:lnTo>
                    <a:pt x="416" y="306"/>
                  </a:lnTo>
                  <a:lnTo>
                    <a:pt x="368" y="378"/>
                  </a:lnTo>
                  <a:lnTo>
                    <a:pt x="288" y="392"/>
                  </a:lnTo>
                  <a:lnTo>
                    <a:pt x="256" y="49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1" name="Freeform 33">
              <a:extLst>
                <a:ext uri="{FF2B5EF4-FFF2-40B4-BE49-F238E27FC236}">
                  <a16:creationId xmlns:a16="http://schemas.microsoft.com/office/drawing/2014/main" id="{B8BA1863-A6BA-F83E-D092-30C3F41662C9}"/>
                </a:ext>
              </a:extLst>
            </p:cNvPr>
            <p:cNvSpPr>
              <a:spLocks/>
            </p:cNvSpPr>
            <p:nvPr/>
          </p:nvSpPr>
          <p:spPr bwMode="auto">
            <a:xfrm>
              <a:off x="7599366" y="3885119"/>
              <a:ext cx="112050" cy="101410"/>
            </a:xfrm>
            <a:custGeom>
              <a:avLst/>
              <a:gdLst>
                <a:gd name="T0" fmla="*/ 2147483647 w 640"/>
                <a:gd name="T1" fmla="*/ 2147483647 h 544"/>
                <a:gd name="T2" fmla="*/ 2147483647 w 640"/>
                <a:gd name="T3" fmla="*/ 2147483647 h 544"/>
                <a:gd name="T4" fmla="*/ 2147483647 w 640"/>
                <a:gd name="T5" fmla="*/ 2147483647 h 544"/>
                <a:gd name="T6" fmla="*/ 2147483647 w 640"/>
                <a:gd name="T7" fmla="*/ 2147483647 h 544"/>
                <a:gd name="T8" fmla="*/ 2147483647 w 640"/>
                <a:gd name="T9" fmla="*/ 2147483647 h 544"/>
                <a:gd name="T10" fmla="*/ 2147483647 w 640"/>
                <a:gd name="T11" fmla="*/ 2147483647 h 544"/>
                <a:gd name="T12" fmla="*/ 2147483647 w 640"/>
                <a:gd name="T13" fmla="*/ 2147483647 h 544"/>
                <a:gd name="T14" fmla="*/ 2147483647 w 640"/>
                <a:gd name="T15" fmla="*/ 2147483647 h 544"/>
                <a:gd name="T16" fmla="*/ 2147483647 w 640"/>
                <a:gd name="T17" fmla="*/ 2147483647 h 544"/>
                <a:gd name="T18" fmla="*/ 2147483647 w 640"/>
                <a:gd name="T19" fmla="*/ 2147483647 h 544"/>
                <a:gd name="T20" fmla="*/ 0 w 640"/>
                <a:gd name="T21" fmla="*/ 2147483647 h 544"/>
                <a:gd name="T22" fmla="*/ 2147483647 w 640"/>
                <a:gd name="T23" fmla="*/ 2147483647 h 544"/>
                <a:gd name="T24" fmla="*/ 2147483647 w 640"/>
                <a:gd name="T25" fmla="*/ 2147483647 h 544"/>
                <a:gd name="T26" fmla="*/ 2147483647 w 640"/>
                <a:gd name="T27" fmla="*/ 2147483647 h 544"/>
                <a:gd name="T28" fmla="*/ 2147483647 w 640"/>
                <a:gd name="T29" fmla="*/ 2147483647 h 544"/>
                <a:gd name="T30" fmla="*/ 2147483647 w 640"/>
                <a:gd name="T31" fmla="*/ 2147483647 h 544"/>
                <a:gd name="T32" fmla="*/ 2147483647 w 640"/>
                <a:gd name="T33" fmla="*/ 2147483647 h 544"/>
                <a:gd name="T34" fmla="*/ 2147483647 w 640"/>
                <a:gd name="T35" fmla="*/ 2147483647 h 544"/>
                <a:gd name="T36" fmla="*/ 2147483647 w 640"/>
                <a:gd name="T37" fmla="*/ 0 h 544"/>
                <a:gd name="T38" fmla="*/ 2147483647 w 640"/>
                <a:gd name="T39" fmla="*/ 2147483647 h 544"/>
                <a:gd name="T40" fmla="*/ 2147483647 w 640"/>
                <a:gd name="T41" fmla="*/ 2147483647 h 544"/>
                <a:gd name="T42" fmla="*/ 2147483647 w 640"/>
                <a:gd name="T43" fmla="*/ 2147483647 h 544"/>
                <a:gd name="T44" fmla="*/ 2147483647 w 640"/>
                <a:gd name="T45" fmla="*/ 2147483647 h 544"/>
                <a:gd name="T46" fmla="*/ 2147483647 w 640"/>
                <a:gd name="T47" fmla="*/ 2147483647 h 544"/>
                <a:gd name="T48" fmla="*/ 2147483647 w 640"/>
                <a:gd name="T49" fmla="*/ 2147483647 h 5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40"/>
                <a:gd name="T76" fmla="*/ 0 h 544"/>
                <a:gd name="T77" fmla="*/ 640 w 640"/>
                <a:gd name="T78" fmla="*/ 544 h 5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40" h="544">
                  <a:moveTo>
                    <a:pt x="496" y="416"/>
                  </a:moveTo>
                  <a:lnTo>
                    <a:pt x="512" y="496"/>
                  </a:lnTo>
                  <a:lnTo>
                    <a:pt x="472" y="544"/>
                  </a:lnTo>
                  <a:lnTo>
                    <a:pt x="376" y="512"/>
                  </a:lnTo>
                  <a:lnTo>
                    <a:pt x="296" y="456"/>
                  </a:lnTo>
                  <a:lnTo>
                    <a:pt x="304" y="346"/>
                  </a:lnTo>
                  <a:lnTo>
                    <a:pt x="248" y="280"/>
                  </a:lnTo>
                  <a:lnTo>
                    <a:pt x="184" y="328"/>
                  </a:lnTo>
                  <a:lnTo>
                    <a:pt x="104" y="328"/>
                  </a:lnTo>
                  <a:lnTo>
                    <a:pt x="32" y="384"/>
                  </a:lnTo>
                  <a:lnTo>
                    <a:pt x="0" y="288"/>
                  </a:lnTo>
                  <a:lnTo>
                    <a:pt x="80" y="232"/>
                  </a:lnTo>
                  <a:lnTo>
                    <a:pt x="160" y="168"/>
                  </a:lnTo>
                  <a:lnTo>
                    <a:pt x="232" y="136"/>
                  </a:lnTo>
                  <a:lnTo>
                    <a:pt x="288" y="184"/>
                  </a:lnTo>
                  <a:lnTo>
                    <a:pt x="374" y="198"/>
                  </a:lnTo>
                  <a:lnTo>
                    <a:pt x="395" y="119"/>
                  </a:lnTo>
                  <a:lnTo>
                    <a:pt x="488" y="64"/>
                  </a:lnTo>
                  <a:lnTo>
                    <a:pt x="520" y="0"/>
                  </a:lnTo>
                  <a:lnTo>
                    <a:pt x="592" y="24"/>
                  </a:lnTo>
                  <a:lnTo>
                    <a:pt x="640" y="144"/>
                  </a:lnTo>
                  <a:lnTo>
                    <a:pt x="630" y="238"/>
                  </a:lnTo>
                  <a:lnTo>
                    <a:pt x="614" y="326"/>
                  </a:lnTo>
                  <a:lnTo>
                    <a:pt x="520" y="352"/>
                  </a:lnTo>
                  <a:lnTo>
                    <a:pt x="496" y="416"/>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2" name="Freeform 34">
              <a:extLst>
                <a:ext uri="{FF2B5EF4-FFF2-40B4-BE49-F238E27FC236}">
                  <a16:creationId xmlns:a16="http://schemas.microsoft.com/office/drawing/2014/main" id="{41060069-8839-D9EF-33CE-BB080A08BED9}"/>
                </a:ext>
              </a:extLst>
            </p:cNvPr>
            <p:cNvSpPr>
              <a:spLocks/>
            </p:cNvSpPr>
            <p:nvPr/>
          </p:nvSpPr>
          <p:spPr bwMode="auto">
            <a:xfrm>
              <a:off x="7597125" y="3829806"/>
              <a:ext cx="40338" cy="66840"/>
            </a:xfrm>
            <a:custGeom>
              <a:avLst/>
              <a:gdLst>
                <a:gd name="T0" fmla="*/ 2147483647 w 228"/>
                <a:gd name="T1" fmla="*/ 2147483647 h 366"/>
                <a:gd name="T2" fmla="*/ 2147483647 w 228"/>
                <a:gd name="T3" fmla="*/ 2147483647 h 366"/>
                <a:gd name="T4" fmla="*/ 2147483647 w 228"/>
                <a:gd name="T5" fmla="*/ 2147483647 h 366"/>
                <a:gd name="T6" fmla="*/ 2147483647 w 228"/>
                <a:gd name="T7" fmla="*/ 2147483647 h 366"/>
                <a:gd name="T8" fmla="*/ 0 w 228"/>
                <a:gd name="T9" fmla="*/ 2147483647 h 366"/>
                <a:gd name="T10" fmla="*/ 2147483647 w 228"/>
                <a:gd name="T11" fmla="*/ 2147483647 h 366"/>
                <a:gd name="T12" fmla="*/ 2147483647 w 228"/>
                <a:gd name="T13" fmla="*/ 2147483647 h 366"/>
                <a:gd name="T14" fmla="*/ 2147483647 w 228"/>
                <a:gd name="T15" fmla="*/ 2147483647 h 366"/>
                <a:gd name="T16" fmla="*/ 2147483647 w 228"/>
                <a:gd name="T17" fmla="*/ 0 h 366"/>
                <a:gd name="T18" fmla="*/ 2147483647 w 228"/>
                <a:gd name="T19" fmla="*/ 2147483647 h 366"/>
                <a:gd name="T20" fmla="*/ 2147483647 w 228"/>
                <a:gd name="T21" fmla="*/ 2147483647 h 366"/>
                <a:gd name="T22" fmla="*/ 2147483647 w 228"/>
                <a:gd name="T23" fmla="*/ 2147483647 h 366"/>
                <a:gd name="T24" fmla="*/ 2147483647 w 228"/>
                <a:gd name="T25" fmla="*/ 2147483647 h 366"/>
                <a:gd name="T26" fmla="*/ 2147483647 w 228"/>
                <a:gd name="T27" fmla="*/ 2147483647 h 366"/>
                <a:gd name="T28" fmla="*/ 2147483647 w 228"/>
                <a:gd name="T29" fmla="*/ 2147483647 h 3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8"/>
                <a:gd name="T46" fmla="*/ 0 h 366"/>
                <a:gd name="T47" fmla="*/ 228 w 228"/>
                <a:gd name="T48" fmla="*/ 366 h 3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8" h="366">
                  <a:moveTo>
                    <a:pt x="108" y="348"/>
                  </a:moveTo>
                  <a:lnTo>
                    <a:pt x="48" y="288"/>
                  </a:lnTo>
                  <a:lnTo>
                    <a:pt x="72" y="210"/>
                  </a:lnTo>
                  <a:lnTo>
                    <a:pt x="66" y="138"/>
                  </a:lnTo>
                  <a:lnTo>
                    <a:pt x="0" y="156"/>
                  </a:lnTo>
                  <a:lnTo>
                    <a:pt x="6" y="78"/>
                  </a:lnTo>
                  <a:lnTo>
                    <a:pt x="17" y="7"/>
                  </a:lnTo>
                  <a:lnTo>
                    <a:pt x="102" y="6"/>
                  </a:lnTo>
                  <a:lnTo>
                    <a:pt x="162" y="0"/>
                  </a:lnTo>
                  <a:lnTo>
                    <a:pt x="180" y="60"/>
                  </a:lnTo>
                  <a:lnTo>
                    <a:pt x="228" y="108"/>
                  </a:lnTo>
                  <a:lnTo>
                    <a:pt x="222" y="168"/>
                  </a:lnTo>
                  <a:lnTo>
                    <a:pt x="186" y="258"/>
                  </a:lnTo>
                  <a:lnTo>
                    <a:pt x="186" y="366"/>
                  </a:lnTo>
                  <a:lnTo>
                    <a:pt x="108" y="348"/>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3" name="Freeform 35">
              <a:extLst>
                <a:ext uri="{FF2B5EF4-FFF2-40B4-BE49-F238E27FC236}">
                  <a16:creationId xmlns:a16="http://schemas.microsoft.com/office/drawing/2014/main" id="{16B1D16B-F65D-48B5-F053-69A0F05A8DEC}"/>
                </a:ext>
              </a:extLst>
            </p:cNvPr>
            <p:cNvSpPr>
              <a:spLocks/>
            </p:cNvSpPr>
            <p:nvPr/>
          </p:nvSpPr>
          <p:spPr bwMode="auto">
            <a:xfrm>
              <a:off x="7662114" y="3799843"/>
              <a:ext cx="29134" cy="43790"/>
            </a:xfrm>
            <a:custGeom>
              <a:avLst/>
              <a:gdLst>
                <a:gd name="T0" fmla="*/ 2147483647 w 169"/>
                <a:gd name="T1" fmla="*/ 2147483647 h 240"/>
                <a:gd name="T2" fmla="*/ 2147483647 w 169"/>
                <a:gd name="T3" fmla="*/ 2147483647 h 240"/>
                <a:gd name="T4" fmla="*/ 2147483647 w 169"/>
                <a:gd name="T5" fmla="*/ 2147483647 h 240"/>
                <a:gd name="T6" fmla="*/ 0 w 169"/>
                <a:gd name="T7" fmla="*/ 2147483647 h 240"/>
                <a:gd name="T8" fmla="*/ 2147483647 w 169"/>
                <a:gd name="T9" fmla="*/ 2147483647 h 240"/>
                <a:gd name="T10" fmla="*/ 2147483647 w 169"/>
                <a:gd name="T11" fmla="*/ 0 h 240"/>
                <a:gd name="T12" fmla="*/ 2147483647 w 169"/>
                <a:gd name="T13" fmla="*/ 2147483647 h 240"/>
                <a:gd name="T14" fmla="*/ 2147483647 w 169"/>
                <a:gd name="T15" fmla="*/ 2147483647 h 240"/>
                <a:gd name="T16" fmla="*/ 2147483647 w 169"/>
                <a:gd name="T17" fmla="*/ 2147483647 h 240"/>
                <a:gd name="T18" fmla="*/ 2147483647 w 169"/>
                <a:gd name="T19" fmla="*/ 2147483647 h 2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240"/>
                <a:gd name="T32" fmla="*/ 169 w 169"/>
                <a:gd name="T33" fmla="*/ 240 h 2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240">
                  <a:moveTo>
                    <a:pt x="114" y="240"/>
                  </a:moveTo>
                  <a:lnTo>
                    <a:pt x="54" y="162"/>
                  </a:lnTo>
                  <a:lnTo>
                    <a:pt x="6" y="126"/>
                  </a:lnTo>
                  <a:lnTo>
                    <a:pt x="0" y="72"/>
                  </a:lnTo>
                  <a:lnTo>
                    <a:pt x="33" y="45"/>
                  </a:lnTo>
                  <a:lnTo>
                    <a:pt x="78" y="0"/>
                  </a:lnTo>
                  <a:lnTo>
                    <a:pt x="162" y="54"/>
                  </a:lnTo>
                  <a:lnTo>
                    <a:pt x="169" y="136"/>
                  </a:lnTo>
                  <a:lnTo>
                    <a:pt x="169" y="226"/>
                  </a:lnTo>
                  <a:lnTo>
                    <a:pt x="114" y="24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4" name="Freeform 36">
              <a:extLst>
                <a:ext uri="{FF2B5EF4-FFF2-40B4-BE49-F238E27FC236}">
                  <a16:creationId xmlns:a16="http://schemas.microsoft.com/office/drawing/2014/main" id="{0BE26828-537F-9509-8034-51114D14F1AD}"/>
                </a:ext>
              </a:extLst>
            </p:cNvPr>
            <p:cNvSpPr>
              <a:spLocks/>
            </p:cNvSpPr>
            <p:nvPr/>
          </p:nvSpPr>
          <p:spPr bwMode="auto">
            <a:xfrm>
              <a:off x="7473869" y="3855158"/>
              <a:ext cx="71712" cy="78363"/>
            </a:xfrm>
            <a:custGeom>
              <a:avLst/>
              <a:gdLst>
                <a:gd name="T0" fmla="*/ 0 w 424"/>
                <a:gd name="T1" fmla="*/ 2147483647 h 424"/>
                <a:gd name="T2" fmla="*/ 2147483647 w 424"/>
                <a:gd name="T3" fmla="*/ 2147483647 h 424"/>
                <a:gd name="T4" fmla="*/ 2147483647 w 424"/>
                <a:gd name="T5" fmla="*/ 2147483647 h 424"/>
                <a:gd name="T6" fmla="*/ 2147483647 w 424"/>
                <a:gd name="T7" fmla="*/ 2147483647 h 424"/>
                <a:gd name="T8" fmla="*/ 2147483647 w 424"/>
                <a:gd name="T9" fmla="*/ 2147483647 h 424"/>
                <a:gd name="T10" fmla="*/ 2147483647 w 424"/>
                <a:gd name="T11" fmla="*/ 2147483647 h 424"/>
                <a:gd name="T12" fmla="*/ 2147483647 w 424"/>
                <a:gd name="T13" fmla="*/ 0 h 424"/>
                <a:gd name="T14" fmla="*/ 2147483647 w 424"/>
                <a:gd name="T15" fmla="*/ 2147483647 h 424"/>
                <a:gd name="T16" fmla="*/ 2147483647 w 424"/>
                <a:gd name="T17" fmla="*/ 2147483647 h 424"/>
                <a:gd name="T18" fmla="*/ 2147483647 w 424"/>
                <a:gd name="T19" fmla="*/ 2147483647 h 424"/>
                <a:gd name="T20" fmla="*/ 2147483647 w 424"/>
                <a:gd name="T21" fmla="*/ 2147483647 h 424"/>
                <a:gd name="T22" fmla="*/ 2147483647 w 424"/>
                <a:gd name="T23" fmla="*/ 2147483647 h 424"/>
                <a:gd name="T24" fmla="*/ 2147483647 w 424"/>
                <a:gd name="T25" fmla="*/ 2147483647 h 424"/>
                <a:gd name="T26" fmla="*/ 0 w 424"/>
                <a:gd name="T27" fmla="*/ 2147483647 h 4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4"/>
                <a:gd name="T43" fmla="*/ 0 h 424"/>
                <a:gd name="T44" fmla="*/ 424 w 424"/>
                <a:gd name="T45" fmla="*/ 424 h 4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4" h="424">
                  <a:moveTo>
                    <a:pt x="0" y="368"/>
                  </a:moveTo>
                  <a:lnTo>
                    <a:pt x="64" y="304"/>
                  </a:lnTo>
                  <a:lnTo>
                    <a:pt x="112" y="227"/>
                  </a:lnTo>
                  <a:lnTo>
                    <a:pt x="170" y="161"/>
                  </a:lnTo>
                  <a:lnTo>
                    <a:pt x="213" y="128"/>
                  </a:lnTo>
                  <a:lnTo>
                    <a:pt x="272" y="72"/>
                  </a:lnTo>
                  <a:lnTo>
                    <a:pt x="320" y="0"/>
                  </a:lnTo>
                  <a:lnTo>
                    <a:pt x="424" y="24"/>
                  </a:lnTo>
                  <a:lnTo>
                    <a:pt x="328" y="120"/>
                  </a:lnTo>
                  <a:lnTo>
                    <a:pt x="248" y="200"/>
                  </a:lnTo>
                  <a:lnTo>
                    <a:pt x="184" y="280"/>
                  </a:lnTo>
                  <a:lnTo>
                    <a:pt x="96" y="368"/>
                  </a:lnTo>
                  <a:lnTo>
                    <a:pt x="56" y="424"/>
                  </a:lnTo>
                  <a:lnTo>
                    <a:pt x="0" y="368"/>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5" name="Freeform 37">
              <a:extLst>
                <a:ext uri="{FF2B5EF4-FFF2-40B4-BE49-F238E27FC236}">
                  <a16:creationId xmlns:a16="http://schemas.microsoft.com/office/drawing/2014/main" id="{6673FD5D-63AE-D35F-6E22-2452E0F10CA2}"/>
                </a:ext>
              </a:extLst>
            </p:cNvPr>
            <p:cNvSpPr>
              <a:spLocks/>
            </p:cNvSpPr>
            <p:nvPr/>
          </p:nvSpPr>
          <p:spPr bwMode="auto">
            <a:xfrm>
              <a:off x="7599366" y="3756053"/>
              <a:ext cx="51544" cy="46095"/>
            </a:xfrm>
            <a:custGeom>
              <a:avLst/>
              <a:gdLst>
                <a:gd name="T0" fmla="*/ 2147483647 w 288"/>
                <a:gd name="T1" fmla="*/ 2147483647 h 246"/>
                <a:gd name="T2" fmla="*/ 2147483647 w 288"/>
                <a:gd name="T3" fmla="*/ 2147483647 h 246"/>
                <a:gd name="T4" fmla="*/ 2147483647 w 288"/>
                <a:gd name="T5" fmla="*/ 2147483647 h 246"/>
                <a:gd name="T6" fmla="*/ 2147483647 w 288"/>
                <a:gd name="T7" fmla="*/ 2147483647 h 246"/>
                <a:gd name="T8" fmla="*/ 2147483647 w 288"/>
                <a:gd name="T9" fmla="*/ 2147483647 h 246"/>
                <a:gd name="T10" fmla="*/ 0 w 288"/>
                <a:gd name="T11" fmla="*/ 2147483647 h 246"/>
                <a:gd name="T12" fmla="*/ 2147483647 w 288"/>
                <a:gd name="T13" fmla="*/ 2147483647 h 246"/>
                <a:gd name="T14" fmla="*/ 2147483647 w 288"/>
                <a:gd name="T15" fmla="*/ 0 h 246"/>
                <a:gd name="T16" fmla="*/ 2147483647 w 288"/>
                <a:gd name="T17" fmla="*/ 2147483647 h 246"/>
                <a:gd name="T18" fmla="*/ 2147483647 w 288"/>
                <a:gd name="T19" fmla="*/ 2147483647 h 246"/>
                <a:gd name="T20" fmla="*/ 2147483647 w 288"/>
                <a:gd name="T21" fmla="*/ 2147483647 h 246"/>
                <a:gd name="T22" fmla="*/ 2147483647 w 288"/>
                <a:gd name="T23" fmla="*/ 2147483647 h 246"/>
                <a:gd name="T24" fmla="*/ 2147483647 w 288"/>
                <a:gd name="T25" fmla="*/ 2147483647 h 2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8"/>
                <a:gd name="T40" fmla="*/ 0 h 246"/>
                <a:gd name="T41" fmla="*/ 288 w 288"/>
                <a:gd name="T42" fmla="*/ 246 h 2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8" h="246">
                  <a:moveTo>
                    <a:pt x="216" y="246"/>
                  </a:moveTo>
                  <a:lnTo>
                    <a:pt x="150" y="138"/>
                  </a:lnTo>
                  <a:lnTo>
                    <a:pt x="90" y="126"/>
                  </a:lnTo>
                  <a:lnTo>
                    <a:pt x="24" y="156"/>
                  </a:lnTo>
                  <a:lnTo>
                    <a:pt x="6" y="108"/>
                  </a:lnTo>
                  <a:lnTo>
                    <a:pt x="0" y="60"/>
                  </a:lnTo>
                  <a:lnTo>
                    <a:pt x="24" y="18"/>
                  </a:lnTo>
                  <a:lnTo>
                    <a:pt x="90" y="0"/>
                  </a:lnTo>
                  <a:lnTo>
                    <a:pt x="147" y="7"/>
                  </a:lnTo>
                  <a:lnTo>
                    <a:pt x="204" y="60"/>
                  </a:lnTo>
                  <a:lnTo>
                    <a:pt x="238" y="143"/>
                  </a:lnTo>
                  <a:lnTo>
                    <a:pt x="288" y="222"/>
                  </a:lnTo>
                  <a:lnTo>
                    <a:pt x="216" y="246"/>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6" name="Freeform 38">
              <a:extLst>
                <a:ext uri="{FF2B5EF4-FFF2-40B4-BE49-F238E27FC236}">
                  <a16:creationId xmlns:a16="http://schemas.microsoft.com/office/drawing/2014/main" id="{40084233-24DB-DA2E-3CCB-4A580D7A508B}"/>
                </a:ext>
              </a:extLst>
            </p:cNvPr>
            <p:cNvSpPr>
              <a:spLocks/>
            </p:cNvSpPr>
            <p:nvPr/>
          </p:nvSpPr>
          <p:spPr bwMode="auto">
            <a:xfrm>
              <a:off x="8255982" y="4249272"/>
              <a:ext cx="98605" cy="59923"/>
            </a:xfrm>
            <a:custGeom>
              <a:avLst/>
              <a:gdLst>
                <a:gd name="T0" fmla="*/ 2147483647 w 568"/>
                <a:gd name="T1" fmla="*/ 2147483647 h 316"/>
                <a:gd name="T2" fmla="*/ 2147483647 w 568"/>
                <a:gd name="T3" fmla="*/ 2147483647 h 316"/>
                <a:gd name="T4" fmla="*/ 2147483647 w 568"/>
                <a:gd name="T5" fmla="*/ 2147483647 h 316"/>
                <a:gd name="T6" fmla="*/ 2147483647 w 568"/>
                <a:gd name="T7" fmla="*/ 2147483647 h 316"/>
                <a:gd name="T8" fmla="*/ 2147483647 w 568"/>
                <a:gd name="T9" fmla="*/ 2147483647 h 316"/>
                <a:gd name="T10" fmla="*/ 0 w 568"/>
                <a:gd name="T11" fmla="*/ 2147483647 h 316"/>
                <a:gd name="T12" fmla="*/ 2147483647 w 568"/>
                <a:gd name="T13" fmla="*/ 2147483647 h 316"/>
                <a:gd name="T14" fmla="*/ 2147483647 w 568"/>
                <a:gd name="T15" fmla="*/ 2147483647 h 316"/>
                <a:gd name="T16" fmla="*/ 2147483647 w 568"/>
                <a:gd name="T17" fmla="*/ 2147483647 h 316"/>
                <a:gd name="T18" fmla="*/ 2147483647 w 568"/>
                <a:gd name="T19" fmla="*/ 2147483647 h 316"/>
                <a:gd name="T20" fmla="*/ 2147483647 w 568"/>
                <a:gd name="T21" fmla="*/ 2147483647 h 316"/>
                <a:gd name="T22" fmla="*/ 2147483647 w 568"/>
                <a:gd name="T23" fmla="*/ 2147483647 h 316"/>
                <a:gd name="T24" fmla="*/ 2147483647 w 568"/>
                <a:gd name="T25" fmla="*/ 2147483647 h 316"/>
                <a:gd name="T26" fmla="*/ 2147483647 w 568"/>
                <a:gd name="T27" fmla="*/ 2147483647 h 316"/>
                <a:gd name="T28" fmla="*/ 2147483647 w 568"/>
                <a:gd name="T29" fmla="*/ 0 h 316"/>
                <a:gd name="T30" fmla="*/ 2147483647 w 568"/>
                <a:gd name="T31" fmla="*/ 2147483647 h 316"/>
                <a:gd name="T32" fmla="*/ 2147483647 w 568"/>
                <a:gd name="T33" fmla="*/ 2147483647 h 3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8"/>
                <a:gd name="T52" fmla="*/ 0 h 316"/>
                <a:gd name="T53" fmla="*/ 568 w 568"/>
                <a:gd name="T54" fmla="*/ 316 h 3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8" h="316">
                  <a:moveTo>
                    <a:pt x="384" y="136"/>
                  </a:moveTo>
                  <a:lnTo>
                    <a:pt x="318" y="178"/>
                  </a:lnTo>
                  <a:lnTo>
                    <a:pt x="258" y="190"/>
                  </a:lnTo>
                  <a:lnTo>
                    <a:pt x="184" y="184"/>
                  </a:lnTo>
                  <a:lnTo>
                    <a:pt x="64" y="192"/>
                  </a:lnTo>
                  <a:lnTo>
                    <a:pt x="0" y="256"/>
                  </a:lnTo>
                  <a:lnTo>
                    <a:pt x="112" y="296"/>
                  </a:lnTo>
                  <a:lnTo>
                    <a:pt x="192" y="298"/>
                  </a:lnTo>
                  <a:lnTo>
                    <a:pt x="258" y="316"/>
                  </a:lnTo>
                  <a:lnTo>
                    <a:pt x="315" y="309"/>
                  </a:lnTo>
                  <a:lnTo>
                    <a:pt x="389" y="301"/>
                  </a:lnTo>
                  <a:lnTo>
                    <a:pt x="472" y="232"/>
                  </a:lnTo>
                  <a:lnTo>
                    <a:pt x="528" y="168"/>
                  </a:lnTo>
                  <a:lnTo>
                    <a:pt x="568" y="40"/>
                  </a:lnTo>
                  <a:lnTo>
                    <a:pt x="480" y="0"/>
                  </a:lnTo>
                  <a:lnTo>
                    <a:pt x="464" y="80"/>
                  </a:lnTo>
                  <a:lnTo>
                    <a:pt x="384" y="13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7" name="Freeform 39">
              <a:extLst>
                <a:ext uri="{FF2B5EF4-FFF2-40B4-BE49-F238E27FC236}">
                  <a16:creationId xmlns:a16="http://schemas.microsoft.com/office/drawing/2014/main" id="{B8DA3483-C35A-2E69-A986-E38114EEA4FF}"/>
                </a:ext>
              </a:extLst>
            </p:cNvPr>
            <p:cNvSpPr>
              <a:spLocks/>
            </p:cNvSpPr>
            <p:nvPr/>
          </p:nvSpPr>
          <p:spPr bwMode="auto">
            <a:xfrm>
              <a:off x="7361819" y="4378340"/>
              <a:ext cx="1035345" cy="859678"/>
            </a:xfrm>
            <a:custGeom>
              <a:avLst/>
              <a:gdLst>
                <a:gd name="T0" fmla="*/ 2147483647 w 3045"/>
                <a:gd name="T1" fmla="*/ 2147483647 h 2382"/>
                <a:gd name="T2" fmla="*/ 2147483647 w 3045"/>
                <a:gd name="T3" fmla="*/ 2147483647 h 2382"/>
                <a:gd name="T4" fmla="*/ 2147483647 w 3045"/>
                <a:gd name="T5" fmla="*/ 2147483647 h 2382"/>
                <a:gd name="T6" fmla="*/ 2147483647 w 3045"/>
                <a:gd name="T7" fmla="*/ 2147483647 h 2382"/>
                <a:gd name="T8" fmla="*/ 2147483647 w 3045"/>
                <a:gd name="T9" fmla="*/ 2147483647 h 2382"/>
                <a:gd name="T10" fmla="*/ 2147483647 w 3045"/>
                <a:gd name="T11" fmla="*/ 2147483647 h 2382"/>
                <a:gd name="T12" fmla="*/ 0 w 3045"/>
                <a:gd name="T13" fmla="*/ 2147483647 h 2382"/>
                <a:gd name="T14" fmla="*/ 2147483647 w 3045"/>
                <a:gd name="T15" fmla="*/ 2147483647 h 2382"/>
                <a:gd name="T16" fmla="*/ 2147483647 w 3045"/>
                <a:gd name="T17" fmla="*/ 2147483647 h 2382"/>
                <a:gd name="T18" fmla="*/ 2147483647 w 3045"/>
                <a:gd name="T19" fmla="*/ 2147483647 h 2382"/>
                <a:gd name="T20" fmla="*/ 2147483647 w 3045"/>
                <a:gd name="T21" fmla="*/ 2147483647 h 2382"/>
                <a:gd name="T22" fmla="*/ 2147483647 w 3045"/>
                <a:gd name="T23" fmla="*/ 2147483647 h 2382"/>
                <a:gd name="T24" fmla="*/ 2147483647 w 3045"/>
                <a:gd name="T25" fmla="*/ 2147483647 h 2382"/>
                <a:gd name="T26" fmla="*/ 2147483647 w 3045"/>
                <a:gd name="T27" fmla="*/ 2147483647 h 2382"/>
                <a:gd name="T28" fmla="*/ 2147483647 w 3045"/>
                <a:gd name="T29" fmla="*/ 2147483647 h 2382"/>
                <a:gd name="T30" fmla="*/ 2147483647 w 3045"/>
                <a:gd name="T31" fmla="*/ 2147483647 h 2382"/>
                <a:gd name="T32" fmla="*/ 2147483647 w 3045"/>
                <a:gd name="T33" fmla="*/ 2147483647 h 2382"/>
                <a:gd name="T34" fmla="*/ 2147483647 w 3045"/>
                <a:gd name="T35" fmla="*/ 2147483647 h 2382"/>
                <a:gd name="T36" fmla="*/ 2147483647 w 3045"/>
                <a:gd name="T37" fmla="*/ 2147483647 h 2382"/>
                <a:gd name="T38" fmla="*/ 2147483647 w 3045"/>
                <a:gd name="T39" fmla="*/ 2147483647 h 2382"/>
                <a:gd name="T40" fmla="*/ 2147483647 w 3045"/>
                <a:gd name="T41" fmla="*/ 2147483647 h 2382"/>
                <a:gd name="T42" fmla="*/ 2147483647 w 3045"/>
                <a:gd name="T43" fmla="*/ 2147483647 h 2382"/>
                <a:gd name="T44" fmla="*/ 2147483647 w 3045"/>
                <a:gd name="T45" fmla="*/ 2147483647 h 2382"/>
                <a:gd name="T46" fmla="*/ 2147483647 w 3045"/>
                <a:gd name="T47" fmla="*/ 0 h 2382"/>
                <a:gd name="T48" fmla="*/ 2147483647 w 3045"/>
                <a:gd name="T49" fmla="*/ 2147483647 h 2382"/>
                <a:gd name="T50" fmla="*/ 2147483647 w 3045"/>
                <a:gd name="T51" fmla="*/ 2147483647 h 2382"/>
                <a:gd name="T52" fmla="*/ 2147483647 w 3045"/>
                <a:gd name="T53" fmla="*/ 2147483647 h 2382"/>
                <a:gd name="T54" fmla="*/ 2147483647 w 3045"/>
                <a:gd name="T55" fmla="*/ 2147483647 h 2382"/>
                <a:gd name="T56" fmla="*/ 2147483647 w 3045"/>
                <a:gd name="T57" fmla="*/ 2147483647 h 2382"/>
                <a:gd name="T58" fmla="*/ 2147483647 w 3045"/>
                <a:gd name="T59" fmla="*/ 2147483647 h 2382"/>
                <a:gd name="T60" fmla="*/ 2147483647 w 3045"/>
                <a:gd name="T61" fmla="*/ 2147483647 h 2382"/>
                <a:gd name="T62" fmla="*/ 2147483647 w 3045"/>
                <a:gd name="T63" fmla="*/ 2147483647 h 2382"/>
                <a:gd name="T64" fmla="*/ 2147483647 w 3045"/>
                <a:gd name="T65" fmla="*/ 2147483647 h 2382"/>
                <a:gd name="T66" fmla="*/ 2147483647 w 3045"/>
                <a:gd name="T67" fmla="*/ 2147483647 h 2382"/>
                <a:gd name="T68" fmla="*/ 2147483647 w 3045"/>
                <a:gd name="T69" fmla="*/ 2147483647 h 2382"/>
                <a:gd name="T70" fmla="*/ 2147483647 w 3045"/>
                <a:gd name="T71" fmla="*/ 2147483647 h 2382"/>
                <a:gd name="T72" fmla="*/ 2147483647 w 3045"/>
                <a:gd name="T73" fmla="*/ 2147483647 h 2382"/>
                <a:gd name="T74" fmla="*/ 2147483647 w 3045"/>
                <a:gd name="T75" fmla="*/ 2147483647 h 2382"/>
                <a:gd name="T76" fmla="*/ 2147483647 w 3045"/>
                <a:gd name="T77" fmla="*/ 2147483647 h 2382"/>
                <a:gd name="T78" fmla="*/ 2147483647 w 3045"/>
                <a:gd name="T79" fmla="*/ 2147483647 h 2382"/>
                <a:gd name="T80" fmla="*/ 2147483647 w 3045"/>
                <a:gd name="T81" fmla="*/ 2147483647 h 2382"/>
                <a:gd name="T82" fmla="*/ 2147483647 w 3045"/>
                <a:gd name="T83" fmla="*/ 2147483647 h 2382"/>
                <a:gd name="T84" fmla="*/ 2147483647 w 3045"/>
                <a:gd name="T85" fmla="*/ 2147483647 h 2382"/>
                <a:gd name="T86" fmla="*/ 2147483647 w 3045"/>
                <a:gd name="T87" fmla="*/ 2147483647 h 23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045"/>
                <a:gd name="T133" fmla="*/ 0 h 2382"/>
                <a:gd name="T134" fmla="*/ 3045 w 3045"/>
                <a:gd name="T135" fmla="*/ 2382 h 238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045" h="2382">
                  <a:moveTo>
                    <a:pt x="1399" y="1744"/>
                  </a:moveTo>
                  <a:lnTo>
                    <a:pt x="1234" y="1735"/>
                  </a:lnTo>
                  <a:lnTo>
                    <a:pt x="1070" y="1808"/>
                  </a:lnTo>
                  <a:lnTo>
                    <a:pt x="924" y="1854"/>
                  </a:lnTo>
                  <a:lnTo>
                    <a:pt x="841" y="1945"/>
                  </a:lnTo>
                  <a:lnTo>
                    <a:pt x="590" y="1946"/>
                  </a:lnTo>
                  <a:lnTo>
                    <a:pt x="430" y="2019"/>
                  </a:lnTo>
                  <a:lnTo>
                    <a:pt x="274" y="2055"/>
                  </a:lnTo>
                  <a:lnTo>
                    <a:pt x="154" y="1946"/>
                  </a:lnTo>
                  <a:lnTo>
                    <a:pt x="247" y="1808"/>
                  </a:lnTo>
                  <a:lnTo>
                    <a:pt x="221" y="1711"/>
                  </a:lnTo>
                  <a:lnTo>
                    <a:pt x="174" y="1552"/>
                  </a:lnTo>
                  <a:lnTo>
                    <a:pt x="119" y="1388"/>
                  </a:lnTo>
                  <a:lnTo>
                    <a:pt x="0" y="1260"/>
                  </a:lnTo>
                  <a:lnTo>
                    <a:pt x="46" y="1168"/>
                  </a:lnTo>
                  <a:lnTo>
                    <a:pt x="64" y="1040"/>
                  </a:lnTo>
                  <a:lnTo>
                    <a:pt x="101" y="940"/>
                  </a:lnTo>
                  <a:lnTo>
                    <a:pt x="201" y="885"/>
                  </a:lnTo>
                  <a:lnTo>
                    <a:pt x="338" y="812"/>
                  </a:lnTo>
                  <a:lnTo>
                    <a:pt x="430" y="793"/>
                  </a:lnTo>
                  <a:lnTo>
                    <a:pt x="585" y="766"/>
                  </a:lnTo>
                  <a:lnTo>
                    <a:pt x="691" y="671"/>
                  </a:lnTo>
                  <a:lnTo>
                    <a:pt x="713" y="565"/>
                  </a:lnTo>
                  <a:lnTo>
                    <a:pt x="805" y="473"/>
                  </a:lnTo>
                  <a:lnTo>
                    <a:pt x="860" y="510"/>
                  </a:lnTo>
                  <a:lnTo>
                    <a:pt x="914" y="382"/>
                  </a:lnTo>
                  <a:lnTo>
                    <a:pt x="1024" y="272"/>
                  </a:lnTo>
                  <a:lnTo>
                    <a:pt x="1143" y="355"/>
                  </a:lnTo>
                  <a:lnTo>
                    <a:pt x="1253" y="345"/>
                  </a:lnTo>
                  <a:lnTo>
                    <a:pt x="1308" y="263"/>
                  </a:lnTo>
                  <a:lnTo>
                    <a:pt x="1353" y="190"/>
                  </a:lnTo>
                  <a:lnTo>
                    <a:pt x="1289" y="135"/>
                  </a:lnTo>
                  <a:lnTo>
                    <a:pt x="1372" y="89"/>
                  </a:lnTo>
                  <a:lnTo>
                    <a:pt x="1527" y="99"/>
                  </a:lnTo>
                  <a:lnTo>
                    <a:pt x="1637" y="153"/>
                  </a:lnTo>
                  <a:lnTo>
                    <a:pt x="1731" y="101"/>
                  </a:lnTo>
                  <a:lnTo>
                    <a:pt x="1801" y="108"/>
                  </a:lnTo>
                  <a:lnTo>
                    <a:pt x="1829" y="181"/>
                  </a:lnTo>
                  <a:lnTo>
                    <a:pt x="1792" y="263"/>
                  </a:lnTo>
                  <a:lnTo>
                    <a:pt x="1731" y="335"/>
                  </a:lnTo>
                  <a:lnTo>
                    <a:pt x="1820" y="455"/>
                  </a:lnTo>
                  <a:lnTo>
                    <a:pt x="1920" y="501"/>
                  </a:lnTo>
                  <a:lnTo>
                    <a:pt x="2030" y="583"/>
                  </a:lnTo>
                  <a:lnTo>
                    <a:pt x="2100" y="503"/>
                  </a:lnTo>
                  <a:lnTo>
                    <a:pt x="2149" y="428"/>
                  </a:lnTo>
                  <a:lnTo>
                    <a:pt x="2167" y="309"/>
                  </a:lnTo>
                  <a:lnTo>
                    <a:pt x="2134" y="134"/>
                  </a:lnTo>
                  <a:lnTo>
                    <a:pt x="2167" y="0"/>
                  </a:lnTo>
                  <a:lnTo>
                    <a:pt x="2277" y="80"/>
                  </a:lnTo>
                  <a:lnTo>
                    <a:pt x="2332" y="199"/>
                  </a:lnTo>
                  <a:lnTo>
                    <a:pt x="2341" y="309"/>
                  </a:lnTo>
                  <a:lnTo>
                    <a:pt x="2402" y="335"/>
                  </a:lnTo>
                  <a:lnTo>
                    <a:pt x="2402" y="436"/>
                  </a:lnTo>
                  <a:lnTo>
                    <a:pt x="2469" y="570"/>
                  </a:lnTo>
                  <a:lnTo>
                    <a:pt x="2533" y="693"/>
                  </a:lnTo>
                  <a:lnTo>
                    <a:pt x="2637" y="738"/>
                  </a:lnTo>
                  <a:lnTo>
                    <a:pt x="2716" y="867"/>
                  </a:lnTo>
                  <a:lnTo>
                    <a:pt x="2805" y="939"/>
                  </a:lnTo>
                  <a:lnTo>
                    <a:pt x="2898" y="1086"/>
                  </a:lnTo>
                  <a:lnTo>
                    <a:pt x="2972" y="1174"/>
                  </a:lnTo>
                  <a:lnTo>
                    <a:pt x="3036" y="1296"/>
                  </a:lnTo>
                  <a:lnTo>
                    <a:pt x="3036" y="1406"/>
                  </a:lnTo>
                  <a:lnTo>
                    <a:pt x="3045" y="1534"/>
                  </a:lnTo>
                  <a:lnTo>
                    <a:pt x="3045" y="1671"/>
                  </a:lnTo>
                  <a:lnTo>
                    <a:pt x="2981" y="1781"/>
                  </a:lnTo>
                  <a:lnTo>
                    <a:pt x="2905" y="1845"/>
                  </a:lnTo>
                  <a:lnTo>
                    <a:pt x="2853" y="1955"/>
                  </a:lnTo>
                  <a:lnTo>
                    <a:pt x="2816" y="2019"/>
                  </a:lnTo>
                  <a:lnTo>
                    <a:pt x="2807" y="2156"/>
                  </a:lnTo>
                  <a:lnTo>
                    <a:pt x="2780" y="2265"/>
                  </a:lnTo>
                  <a:lnTo>
                    <a:pt x="2642" y="2320"/>
                  </a:lnTo>
                  <a:lnTo>
                    <a:pt x="2536" y="2348"/>
                  </a:lnTo>
                  <a:lnTo>
                    <a:pt x="2469" y="2382"/>
                  </a:lnTo>
                  <a:lnTo>
                    <a:pt x="2377" y="2348"/>
                  </a:lnTo>
                  <a:lnTo>
                    <a:pt x="2268" y="2382"/>
                  </a:lnTo>
                  <a:lnTo>
                    <a:pt x="2103" y="2348"/>
                  </a:lnTo>
                  <a:lnTo>
                    <a:pt x="2002" y="2275"/>
                  </a:lnTo>
                  <a:lnTo>
                    <a:pt x="1993" y="2119"/>
                  </a:lnTo>
                  <a:lnTo>
                    <a:pt x="1920" y="2128"/>
                  </a:lnTo>
                  <a:lnTo>
                    <a:pt x="1838" y="2147"/>
                  </a:lnTo>
                  <a:lnTo>
                    <a:pt x="1829" y="2064"/>
                  </a:lnTo>
                  <a:lnTo>
                    <a:pt x="1874" y="1927"/>
                  </a:lnTo>
                  <a:lnTo>
                    <a:pt x="1792" y="1964"/>
                  </a:lnTo>
                  <a:lnTo>
                    <a:pt x="1692" y="2055"/>
                  </a:lnTo>
                  <a:lnTo>
                    <a:pt x="1637" y="1918"/>
                  </a:lnTo>
                  <a:lnTo>
                    <a:pt x="1582" y="1790"/>
                  </a:lnTo>
                  <a:lnTo>
                    <a:pt x="1500" y="1799"/>
                  </a:lnTo>
                  <a:lnTo>
                    <a:pt x="1399" y="174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8" name="Freeform 40">
              <a:extLst>
                <a:ext uri="{FF2B5EF4-FFF2-40B4-BE49-F238E27FC236}">
                  <a16:creationId xmlns:a16="http://schemas.microsoft.com/office/drawing/2014/main" id="{D14ED962-4DD6-0AEC-D181-2269C8E05770}"/>
                </a:ext>
              </a:extLst>
            </p:cNvPr>
            <p:cNvSpPr>
              <a:spLocks/>
            </p:cNvSpPr>
            <p:nvPr/>
          </p:nvSpPr>
          <p:spPr bwMode="auto">
            <a:xfrm>
              <a:off x="8179788" y="5293332"/>
              <a:ext cx="103087" cy="103713"/>
            </a:xfrm>
            <a:custGeom>
              <a:avLst/>
              <a:gdLst>
                <a:gd name="T0" fmla="*/ 32 w 433388"/>
                <a:gd name="T1" fmla="*/ 63 h 414038"/>
                <a:gd name="T2" fmla="*/ 20 w 433388"/>
                <a:gd name="T3" fmla="*/ 60 h 414038"/>
                <a:gd name="T4" fmla="*/ 13 w 433388"/>
                <a:gd name="T5" fmla="*/ 52 h 414038"/>
                <a:gd name="T6" fmla="*/ 10 w 433388"/>
                <a:gd name="T7" fmla="*/ 22 h 414038"/>
                <a:gd name="T8" fmla="*/ 0 w 433388"/>
                <a:gd name="T9" fmla="*/ 8 h 414038"/>
                <a:gd name="T10" fmla="*/ 2 w 433388"/>
                <a:gd name="T11" fmla="*/ 0 h 414038"/>
                <a:gd name="T12" fmla="*/ 16 w 433388"/>
                <a:gd name="T13" fmla="*/ 8 h 414038"/>
                <a:gd name="T14" fmla="*/ 23 w 433388"/>
                <a:gd name="T15" fmla="*/ 12 h 414038"/>
                <a:gd name="T16" fmla="*/ 40 w 433388"/>
                <a:gd name="T17" fmla="*/ 6 h 414038"/>
                <a:gd name="T18" fmla="*/ 49 w 433388"/>
                <a:gd name="T19" fmla="*/ 1 h 414038"/>
                <a:gd name="T20" fmla="*/ 57 w 433388"/>
                <a:gd name="T21" fmla="*/ 11 h 414038"/>
                <a:gd name="T22" fmla="*/ 59 w 433388"/>
                <a:gd name="T23" fmla="*/ 27 h 414038"/>
                <a:gd name="T24" fmla="*/ 51 w 433388"/>
                <a:gd name="T25" fmla="*/ 35 h 414038"/>
                <a:gd name="T26" fmla="*/ 51 w 433388"/>
                <a:gd name="T27" fmla="*/ 49 h 414038"/>
                <a:gd name="T28" fmla="*/ 41 w 433388"/>
                <a:gd name="T29" fmla="*/ 53 h 414038"/>
                <a:gd name="T30" fmla="*/ 32 w 433388"/>
                <a:gd name="T31" fmla="*/ 63 h 4140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3388"/>
                <a:gd name="T49" fmla="*/ 0 h 414038"/>
                <a:gd name="T50" fmla="*/ 433388 w 433388"/>
                <a:gd name="T51" fmla="*/ 414038 h 4140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3388" h="414038">
                  <a:moveTo>
                    <a:pt x="235744" y="414038"/>
                  </a:moveTo>
                  <a:lnTo>
                    <a:pt x="150019" y="394988"/>
                  </a:lnTo>
                  <a:lnTo>
                    <a:pt x="92869" y="342600"/>
                  </a:lnTo>
                  <a:lnTo>
                    <a:pt x="73819" y="144956"/>
                  </a:lnTo>
                  <a:lnTo>
                    <a:pt x="0" y="52088"/>
                  </a:lnTo>
                  <a:lnTo>
                    <a:pt x="16896" y="0"/>
                  </a:lnTo>
                  <a:lnTo>
                    <a:pt x="116422" y="50796"/>
                  </a:lnTo>
                  <a:lnTo>
                    <a:pt x="167948" y="75726"/>
                  </a:lnTo>
                  <a:lnTo>
                    <a:pt x="292634" y="36509"/>
                  </a:lnTo>
                  <a:lnTo>
                    <a:pt x="359569" y="4463"/>
                  </a:lnTo>
                  <a:lnTo>
                    <a:pt x="421482" y="71138"/>
                  </a:lnTo>
                  <a:lnTo>
                    <a:pt x="433388" y="173531"/>
                  </a:lnTo>
                  <a:lnTo>
                    <a:pt x="373857" y="230681"/>
                  </a:lnTo>
                  <a:lnTo>
                    <a:pt x="374057" y="320722"/>
                  </a:lnTo>
                  <a:lnTo>
                    <a:pt x="302419" y="344981"/>
                  </a:lnTo>
                  <a:lnTo>
                    <a:pt x="235744" y="41403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59" name="Freeform 41">
              <a:extLst>
                <a:ext uri="{FF2B5EF4-FFF2-40B4-BE49-F238E27FC236}">
                  <a16:creationId xmlns:a16="http://schemas.microsoft.com/office/drawing/2014/main" id="{EC396997-EDC0-CDA6-11BC-2F954F4635CA}"/>
                </a:ext>
              </a:extLst>
            </p:cNvPr>
            <p:cNvSpPr>
              <a:spLocks/>
            </p:cNvSpPr>
            <p:nvPr/>
          </p:nvSpPr>
          <p:spPr bwMode="auto">
            <a:xfrm>
              <a:off x="8731077" y="5293332"/>
              <a:ext cx="208414" cy="228171"/>
            </a:xfrm>
            <a:custGeom>
              <a:avLst/>
              <a:gdLst>
                <a:gd name="T0" fmla="*/ 27 w 859171"/>
                <a:gd name="T1" fmla="*/ 122 h 917326"/>
                <a:gd name="T2" fmla="*/ 14 w 859171"/>
                <a:gd name="T3" fmla="*/ 118 h 917326"/>
                <a:gd name="T4" fmla="*/ 0 w 859171"/>
                <a:gd name="T5" fmla="*/ 117 h 917326"/>
                <a:gd name="T6" fmla="*/ 2 w 859171"/>
                <a:gd name="T7" fmla="*/ 101 h 917326"/>
                <a:gd name="T8" fmla="*/ 27 w 859171"/>
                <a:gd name="T9" fmla="*/ 76 h 917326"/>
                <a:gd name="T10" fmla="*/ 52 w 859171"/>
                <a:gd name="T11" fmla="*/ 58 h 917326"/>
                <a:gd name="T12" fmla="*/ 74 w 859171"/>
                <a:gd name="T13" fmla="*/ 38 h 917326"/>
                <a:gd name="T14" fmla="*/ 85 w 859171"/>
                <a:gd name="T15" fmla="*/ 20 h 917326"/>
                <a:gd name="T16" fmla="*/ 95 w 859171"/>
                <a:gd name="T17" fmla="*/ 11 h 917326"/>
                <a:gd name="T18" fmla="*/ 100 w 859171"/>
                <a:gd name="T19" fmla="*/ 0 h 917326"/>
                <a:gd name="T20" fmla="*/ 107 w 859171"/>
                <a:gd name="T21" fmla="*/ 0 h 917326"/>
                <a:gd name="T22" fmla="*/ 115 w 859171"/>
                <a:gd name="T23" fmla="*/ 6 h 917326"/>
                <a:gd name="T24" fmla="*/ 126 w 859171"/>
                <a:gd name="T25" fmla="*/ 0 h 917326"/>
                <a:gd name="T26" fmla="*/ 129 w 859171"/>
                <a:gd name="T27" fmla="*/ 13 h 917326"/>
                <a:gd name="T28" fmla="*/ 128 w 859171"/>
                <a:gd name="T29" fmla="*/ 20 h 917326"/>
                <a:gd name="T30" fmla="*/ 122 w 859171"/>
                <a:gd name="T31" fmla="*/ 29 h 917326"/>
                <a:gd name="T32" fmla="*/ 117 w 859171"/>
                <a:gd name="T33" fmla="*/ 46 h 917326"/>
                <a:gd name="T34" fmla="*/ 107 w 859171"/>
                <a:gd name="T35" fmla="*/ 54 h 917326"/>
                <a:gd name="T36" fmla="*/ 115 w 859171"/>
                <a:gd name="T37" fmla="*/ 65 h 917326"/>
                <a:gd name="T38" fmla="*/ 94 w 859171"/>
                <a:gd name="T39" fmla="*/ 67 h 917326"/>
                <a:gd name="T40" fmla="*/ 87 w 859171"/>
                <a:gd name="T41" fmla="*/ 80 h 917326"/>
                <a:gd name="T42" fmla="*/ 76 w 859171"/>
                <a:gd name="T43" fmla="*/ 110 h 917326"/>
                <a:gd name="T44" fmla="*/ 59 w 859171"/>
                <a:gd name="T45" fmla="*/ 122 h 917326"/>
                <a:gd name="T46" fmla="*/ 47 w 859171"/>
                <a:gd name="T47" fmla="*/ 135 h 917326"/>
                <a:gd name="T48" fmla="*/ 34 w 859171"/>
                <a:gd name="T49" fmla="*/ 128 h 917326"/>
                <a:gd name="T50" fmla="*/ 27 w 859171"/>
                <a:gd name="T51" fmla="*/ 122 h 9173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59171"/>
                <a:gd name="T79" fmla="*/ 0 h 917326"/>
                <a:gd name="T80" fmla="*/ 859171 w 859171"/>
                <a:gd name="T81" fmla="*/ 917326 h 9173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59171" h="917326">
                  <a:moveTo>
                    <a:pt x="182896" y="823913"/>
                  </a:moveTo>
                  <a:lnTo>
                    <a:pt x="94790" y="802481"/>
                  </a:lnTo>
                  <a:lnTo>
                    <a:pt x="0" y="789853"/>
                  </a:lnTo>
                  <a:lnTo>
                    <a:pt x="12690" y="684108"/>
                  </a:lnTo>
                  <a:lnTo>
                    <a:pt x="180474" y="511729"/>
                  </a:lnTo>
                  <a:lnTo>
                    <a:pt x="344028" y="392947"/>
                  </a:lnTo>
                  <a:lnTo>
                    <a:pt x="496303" y="256782"/>
                  </a:lnTo>
                  <a:lnTo>
                    <a:pt x="563896" y="135731"/>
                  </a:lnTo>
                  <a:lnTo>
                    <a:pt x="630571" y="71438"/>
                  </a:lnTo>
                  <a:lnTo>
                    <a:pt x="666290" y="0"/>
                  </a:lnTo>
                  <a:lnTo>
                    <a:pt x="711534" y="2381"/>
                  </a:lnTo>
                  <a:lnTo>
                    <a:pt x="771065" y="38100"/>
                  </a:lnTo>
                  <a:lnTo>
                    <a:pt x="842502" y="2381"/>
                  </a:lnTo>
                  <a:lnTo>
                    <a:pt x="859171" y="85725"/>
                  </a:lnTo>
                  <a:lnTo>
                    <a:pt x="856790" y="138113"/>
                  </a:lnTo>
                  <a:lnTo>
                    <a:pt x="816361" y="198839"/>
                  </a:lnTo>
                  <a:lnTo>
                    <a:pt x="778209" y="309563"/>
                  </a:lnTo>
                  <a:lnTo>
                    <a:pt x="711534" y="366713"/>
                  </a:lnTo>
                  <a:lnTo>
                    <a:pt x="769833" y="442198"/>
                  </a:lnTo>
                  <a:lnTo>
                    <a:pt x="628190" y="454819"/>
                  </a:lnTo>
                  <a:lnTo>
                    <a:pt x="580900" y="539251"/>
                  </a:lnTo>
                  <a:lnTo>
                    <a:pt x="507582" y="743499"/>
                  </a:lnTo>
                  <a:lnTo>
                    <a:pt x="390556" y="830412"/>
                  </a:lnTo>
                  <a:lnTo>
                    <a:pt x="315829" y="917326"/>
                  </a:lnTo>
                  <a:lnTo>
                    <a:pt x="228140" y="869156"/>
                  </a:lnTo>
                  <a:lnTo>
                    <a:pt x="182896" y="82391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0" name="Freeform 44">
              <a:extLst>
                <a:ext uri="{FF2B5EF4-FFF2-40B4-BE49-F238E27FC236}">
                  <a16:creationId xmlns:a16="http://schemas.microsoft.com/office/drawing/2014/main" id="{2DB2CE52-B1C8-C15A-5DB2-EDC4282AE46C}"/>
                </a:ext>
              </a:extLst>
            </p:cNvPr>
            <p:cNvSpPr>
              <a:spLocks/>
            </p:cNvSpPr>
            <p:nvPr/>
          </p:nvSpPr>
          <p:spPr bwMode="auto">
            <a:xfrm>
              <a:off x="7142201" y="4097157"/>
              <a:ext cx="24651" cy="16135"/>
            </a:xfrm>
            <a:custGeom>
              <a:avLst/>
              <a:gdLst>
                <a:gd name="T0" fmla="*/ 143606411 w 1594"/>
                <a:gd name="T1" fmla="*/ 167354325 h 951"/>
                <a:gd name="T2" fmla="*/ 152609497 w 1594"/>
                <a:gd name="T3" fmla="*/ 160157705 h 951"/>
                <a:gd name="T4" fmla="*/ 193318806 w 1594"/>
                <a:gd name="T5" fmla="*/ 132038122 h 951"/>
                <a:gd name="T6" fmla="*/ 228367277 w 1594"/>
                <a:gd name="T7" fmla="*/ 125082518 h 951"/>
                <a:gd name="T8" fmla="*/ 244933683 w 1594"/>
                <a:gd name="T9" fmla="*/ 122248492 h 951"/>
                <a:gd name="T10" fmla="*/ 251559379 w 1594"/>
                <a:gd name="T11" fmla="*/ 91518453 h 951"/>
                <a:gd name="T12" fmla="*/ 237355968 w 1594"/>
                <a:gd name="T13" fmla="*/ 79099085 h 951"/>
                <a:gd name="T14" fmla="*/ 220314884 w 1594"/>
                <a:gd name="T15" fmla="*/ 62093706 h 951"/>
                <a:gd name="T16" fmla="*/ 204210087 w 1594"/>
                <a:gd name="T17" fmla="*/ 71902466 h 951"/>
                <a:gd name="T18" fmla="*/ 191907831 w 1594"/>
                <a:gd name="T19" fmla="*/ 55567290 h 951"/>
                <a:gd name="T20" fmla="*/ 181016550 w 1594"/>
                <a:gd name="T21" fmla="*/ 40537303 h 951"/>
                <a:gd name="T22" fmla="*/ 160187332 w 1594"/>
                <a:gd name="T23" fmla="*/ 31382773 h 951"/>
                <a:gd name="T24" fmla="*/ 150246623 w 1594"/>
                <a:gd name="T25" fmla="*/ 41842607 h 951"/>
                <a:gd name="T26" fmla="*/ 142194230 w 1594"/>
                <a:gd name="T27" fmla="*/ 48369023 h 951"/>
                <a:gd name="T28" fmla="*/ 149771945 w 1594"/>
                <a:gd name="T29" fmla="*/ 16335163 h 951"/>
                <a:gd name="T30" fmla="*/ 127990709 w 1594"/>
                <a:gd name="T31" fmla="*/ 652582 h 951"/>
                <a:gd name="T32" fmla="*/ 117575399 w 1594"/>
                <a:gd name="T33" fmla="*/ 652582 h 951"/>
                <a:gd name="T34" fmla="*/ 87743085 w 1594"/>
                <a:gd name="T35" fmla="*/ 26142415 h 951"/>
                <a:gd name="T36" fmla="*/ 70066847 w 1594"/>
                <a:gd name="T37" fmla="*/ 15029988 h 951"/>
                <a:gd name="T38" fmla="*/ 57447836 w 1594"/>
                <a:gd name="T39" fmla="*/ 24184517 h 951"/>
                <a:gd name="T40" fmla="*/ 42293611 w 1594"/>
                <a:gd name="T41" fmla="*/ 36174568 h 951"/>
                <a:gd name="T42" fmla="*/ 27932375 w 1594"/>
                <a:gd name="T43" fmla="*/ 75835872 h 951"/>
                <a:gd name="T44" fmla="*/ 15154225 w 1594"/>
                <a:gd name="T45" fmla="*/ 108504703 h 951"/>
                <a:gd name="T46" fmla="*/ 6627143 w 1594"/>
                <a:gd name="T47" fmla="*/ 139234742 h 951"/>
                <a:gd name="T48" fmla="*/ 5675124 w 1594"/>
                <a:gd name="T49" fmla="*/ 158852400 h 951"/>
                <a:gd name="T50" fmla="*/ 1426707 w 1594"/>
                <a:gd name="T51" fmla="*/ 175838639 h 951"/>
                <a:gd name="T52" fmla="*/ 15630229 w 1594"/>
                <a:gd name="T53" fmla="*/ 207221412 h 951"/>
                <a:gd name="T54" fmla="*/ 20830554 w 1594"/>
                <a:gd name="T55" fmla="*/ 164726223 h 951"/>
                <a:gd name="T56" fmla="*/ 26044191 w 1594"/>
                <a:gd name="T57" fmla="*/ 153612031 h 951"/>
                <a:gd name="T58" fmla="*/ 25569502 w 1594"/>
                <a:gd name="T59" fmla="*/ 128774908 h 951"/>
                <a:gd name="T60" fmla="*/ 41185215 w 1594"/>
                <a:gd name="T61" fmla="*/ 139234742 h 951"/>
                <a:gd name="T62" fmla="*/ 70700686 w 1594"/>
                <a:gd name="T63" fmla="*/ 135318946 h 951"/>
                <a:gd name="T64" fmla="*/ 93432615 w 1594"/>
                <a:gd name="T65" fmla="*/ 139234742 h 951"/>
                <a:gd name="T66" fmla="*/ 99109054 w 1594"/>
                <a:gd name="T67" fmla="*/ 148390931 h 951"/>
                <a:gd name="T68" fmla="*/ 88693788 w 1594"/>
                <a:gd name="T69" fmla="*/ 148390931 h 951"/>
                <a:gd name="T70" fmla="*/ 97682358 w 1594"/>
                <a:gd name="T71" fmla="*/ 162768196 h 951"/>
                <a:gd name="T72" fmla="*/ 113312587 w 1594"/>
                <a:gd name="T73" fmla="*/ 160810298 h 951"/>
                <a:gd name="T74" fmla="*/ 135409384 w 1594"/>
                <a:gd name="T75" fmla="*/ 184342210 h 951"/>
                <a:gd name="T76" fmla="*/ 134141837 w 1594"/>
                <a:gd name="T77" fmla="*/ 168006918 h 9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94"/>
                <a:gd name="T118" fmla="*/ 0 h 951"/>
                <a:gd name="T119" fmla="*/ 1594 w 1594"/>
                <a:gd name="T120" fmla="*/ 951 h 9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94" h="951">
                  <a:moveTo>
                    <a:pt x="850" y="771"/>
                  </a:moveTo>
                  <a:lnTo>
                    <a:pt x="910" y="768"/>
                  </a:lnTo>
                  <a:lnTo>
                    <a:pt x="928" y="735"/>
                  </a:lnTo>
                  <a:lnTo>
                    <a:pt x="967" y="735"/>
                  </a:lnTo>
                  <a:lnTo>
                    <a:pt x="1081" y="651"/>
                  </a:lnTo>
                  <a:lnTo>
                    <a:pt x="1225" y="606"/>
                  </a:lnTo>
                  <a:lnTo>
                    <a:pt x="1357" y="574"/>
                  </a:lnTo>
                  <a:lnTo>
                    <a:pt x="1447" y="574"/>
                  </a:lnTo>
                  <a:lnTo>
                    <a:pt x="1489" y="594"/>
                  </a:lnTo>
                  <a:lnTo>
                    <a:pt x="1552" y="561"/>
                  </a:lnTo>
                  <a:lnTo>
                    <a:pt x="1549" y="492"/>
                  </a:lnTo>
                  <a:lnTo>
                    <a:pt x="1594" y="420"/>
                  </a:lnTo>
                  <a:lnTo>
                    <a:pt x="1543" y="378"/>
                  </a:lnTo>
                  <a:lnTo>
                    <a:pt x="1504" y="363"/>
                  </a:lnTo>
                  <a:lnTo>
                    <a:pt x="1459" y="306"/>
                  </a:lnTo>
                  <a:lnTo>
                    <a:pt x="1396" y="285"/>
                  </a:lnTo>
                  <a:lnTo>
                    <a:pt x="1345" y="321"/>
                  </a:lnTo>
                  <a:lnTo>
                    <a:pt x="1294" y="330"/>
                  </a:lnTo>
                  <a:lnTo>
                    <a:pt x="1258" y="300"/>
                  </a:lnTo>
                  <a:lnTo>
                    <a:pt x="1216" y="255"/>
                  </a:lnTo>
                  <a:lnTo>
                    <a:pt x="1174" y="228"/>
                  </a:lnTo>
                  <a:lnTo>
                    <a:pt x="1147" y="186"/>
                  </a:lnTo>
                  <a:lnTo>
                    <a:pt x="1039" y="166"/>
                  </a:lnTo>
                  <a:lnTo>
                    <a:pt x="1015" y="144"/>
                  </a:lnTo>
                  <a:lnTo>
                    <a:pt x="991" y="153"/>
                  </a:lnTo>
                  <a:lnTo>
                    <a:pt x="952" y="192"/>
                  </a:lnTo>
                  <a:lnTo>
                    <a:pt x="919" y="234"/>
                  </a:lnTo>
                  <a:lnTo>
                    <a:pt x="901" y="222"/>
                  </a:lnTo>
                  <a:lnTo>
                    <a:pt x="958" y="123"/>
                  </a:lnTo>
                  <a:lnTo>
                    <a:pt x="949" y="75"/>
                  </a:lnTo>
                  <a:lnTo>
                    <a:pt x="858" y="30"/>
                  </a:lnTo>
                  <a:lnTo>
                    <a:pt x="811" y="3"/>
                  </a:lnTo>
                  <a:lnTo>
                    <a:pt x="784" y="0"/>
                  </a:lnTo>
                  <a:lnTo>
                    <a:pt x="745" y="3"/>
                  </a:lnTo>
                  <a:lnTo>
                    <a:pt x="631" y="75"/>
                  </a:lnTo>
                  <a:lnTo>
                    <a:pt x="556" y="120"/>
                  </a:lnTo>
                  <a:lnTo>
                    <a:pt x="514" y="105"/>
                  </a:lnTo>
                  <a:lnTo>
                    <a:pt x="444" y="69"/>
                  </a:lnTo>
                  <a:lnTo>
                    <a:pt x="406" y="69"/>
                  </a:lnTo>
                  <a:lnTo>
                    <a:pt x="364" y="111"/>
                  </a:lnTo>
                  <a:lnTo>
                    <a:pt x="319" y="132"/>
                  </a:lnTo>
                  <a:lnTo>
                    <a:pt x="268" y="166"/>
                  </a:lnTo>
                  <a:lnTo>
                    <a:pt x="223" y="257"/>
                  </a:lnTo>
                  <a:lnTo>
                    <a:pt x="177" y="348"/>
                  </a:lnTo>
                  <a:lnTo>
                    <a:pt x="151" y="405"/>
                  </a:lnTo>
                  <a:lnTo>
                    <a:pt x="96" y="498"/>
                  </a:lnTo>
                  <a:lnTo>
                    <a:pt x="79" y="579"/>
                  </a:lnTo>
                  <a:lnTo>
                    <a:pt x="42" y="639"/>
                  </a:lnTo>
                  <a:lnTo>
                    <a:pt x="60" y="678"/>
                  </a:lnTo>
                  <a:lnTo>
                    <a:pt x="36" y="729"/>
                  </a:lnTo>
                  <a:lnTo>
                    <a:pt x="36" y="774"/>
                  </a:lnTo>
                  <a:lnTo>
                    <a:pt x="9" y="807"/>
                  </a:lnTo>
                  <a:lnTo>
                    <a:pt x="0" y="924"/>
                  </a:lnTo>
                  <a:lnTo>
                    <a:pt x="99" y="951"/>
                  </a:lnTo>
                  <a:lnTo>
                    <a:pt x="48" y="813"/>
                  </a:lnTo>
                  <a:lnTo>
                    <a:pt x="132" y="756"/>
                  </a:lnTo>
                  <a:lnTo>
                    <a:pt x="132" y="699"/>
                  </a:lnTo>
                  <a:lnTo>
                    <a:pt x="165" y="705"/>
                  </a:lnTo>
                  <a:lnTo>
                    <a:pt x="111" y="582"/>
                  </a:lnTo>
                  <a:lnTo>
                    <a:pt x="162" y="591"/>
                  </a:lnTo>
                  <a:lnTo>
                    <a:pt x="223" y="665"/>
                  </a:lnTo>
                  <a:lnTo>
                    <a:pt x="261" y="639"/>
                  </a:lnTo>
                  <a:lnTo>
                    <a:pt x="359" y="620"/>
                  </a:lnTo>
                  <a:lnTo>
                    <a:pt x="448" y="621"/>
                  </a:lnTo>
                  <a:lnTo>
                    <a:pt x="538" y="639"/>
                  </a:lnTo>
                  <a:lnTo>
                    <a:pt x="592" y="639"/>
                  </a:lnTo>
                  <a:lnTo>
                    <a:pt x="589" y="666"/>
                  </a:lnTo>
                  <a:lnTo>
                    <a:pt x="628" y="681"/>
                  </a:lnTo>
                  <a:lnTo>
                    <a:pt x="610" y="708"/>
                  </a:lnTo>
                  <a:lnTo>
                    <a:pt x="562" y="681"/>
                  </a:lnTo>
                  <a:lnTo>
                    <a:pt x="541" y="702"/>
                  </a:lnTo>
                  <a:lnTo>
                    <a:pt x="619" y="747"/>
                  </a:lnTo>
                  <a:lnTo>
                    <a:pt x="655" y="705"/>
                  </a:lnTo>
                  <a:lnTo>
                    <a:pt x="718" y="738"/>
                  </a:lnTo>
                  <a:lnTo>
                    <a:pt x="767" y="801"/>
                  </a:lnTo>
                  <a:lnTo>
                    <a:pt x="858" y="846"/>
                  </a:lnTo>
                  <a:lnTo>
                    <a:pt x="903" y="801"/>
                  </a:lnTo>
                  <a:lnTo>
                    <a:pt x="850" y="77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1" name="Freeform 46">
              <a:extLst>
                <a:ext uri="{FF2B5EF4-FFF2-40B4-BE49-F238E27FC236}">
                  <a16:creationId xmlns:a16="http://schemas.microsoft.com/office/drawing/2014/main" id="{2D2A24B2-36A9-ECBF-7BF2-0996AA6E0587}"/>
                </a:ext>
              </a:extLst>
            </p:cNvPr>
            <p:cNvSpPr>
              <a:spLocks/>
            </p:cNvSpPr>
            <p:nvPr/>
          </p:nvSpPr>
          <p:spPr bwMode="auto">
            <a:xfrm>
              <a:off x="5418865" y="3650033"/>
              <a:ext cx="161353" cy="149810"/>
            </a:xfrm>
            <a:custGeom>
              <a:avLst/>
              <a:gdLst>
                <a:gd name="T0" fmla="*/ 94 w 675084"/>
                <a:gd name="T1" fmla="*/ 83 h 602456"/>
                <a:gd name="T2" fmla="*/ 92 w 675084"/>
                <a:gd name="T3" fmla="*/ 86 h 602456"/>
                <a:gd name="T4" fmla="*/ 86 w 675084"/>
                <a:gd name="T5" fmla="*/ 89 h 602456"/>
                <a:gd name="T6" fmla="*/ 80 w 675084"/>
                <a:gd name="T7" fmla="*/ 83 h 602456"/>
                <a:gd name="T8" fmla="*/ 71 w 675084"/>
                <a:gd name="T9" fmla="*/ 71 h 602456"/>
                <a:gd name="T10" fmla="*/ 65 w 675084"/>
                <a:gd name="T11" fmla="*/ 64 h 602456"/>
                <a:gd name="T12" fmla="*/ 56 w 675084"/>
                <a:gd name="T13" fmla="*/ 57 h 602456"/>
                <a:gd name="T14" fmla="*/ 45 w 675084"/>
                <a:gd name="T15" fmla="*/ 54 h 602456"/>
                <a:gd name="T16" fmla="*/ 32 w 675084"/>
                <a:gd name="T17" fmla="*/ 55 h 602456"/>
                <a:gd name="T18" fmla="*/ 21 w 675084"/>
                <a:gd name="T19" fmla="*/ 52 h 602456"/>
                <a:gd name="T20" fmla="*/ 12 w 675084"/>
                <a:gd name="T21" fmla="*/ 61 h 602456"/>
                <a:gd name="T22" fmla="*/ 0 w 675084"/>
                <a:gd name="T23" fmla="*/ 58 h 602456"/>
                <a:gd name="T24" fmla="*/ 1 w 675084"/>
                <a:gd name="T25" fmla="*/ 48 h 602456"/>
                <a:gd name="T26" fmla="*/ 3 w 675084"/>
                <a:gd name="T27" fmla="*/ 32 h 602456"/>
                <a:gd name="T28" fmla="*/ 6 w 675084"/>
                <a:gd name="T29" fmla="*/ 20 h 602456"/>
                <a:gd name="T30" fmla="*/ 17 w 675084"/>
                <a:gd name="T31" fmla="*/ 8 h 602456"/>
                <a:gd name="T32" fmla="*/ 31 w 675084"/>
                <a:gd name="T33" fmla="*/ 0 h 602456"/>
                <a:gd name="T34" fmla="*/ 36 w 675084"/>
                <a:gd name="T35" fmla="*/ 5 h 602456"/>
                <a:gd name="T36" fmla="*/ 39 w 675084"/>
                <a:gd name="T37" fmla="*/ 16 h 602456"/>
                <a:gd name="T38" fmla="*/ 40 w 675084"/>
                <a:gd name="T39" fmla="*/ 26 h 602456"/>
                <a:gd name="T40" fmla="*/ 42 w 675084"/>
                <a:gd name="T41" fmla="*/ 37 h 602456"/>
                <a:gd name="T42" fmla="*/ 53 w 675084"/>
                <a:gd name="T43" fmla="*/ 44 h 602456"/>
                <a:gd name="T44" fmla="*/ 66 w 675084"/>
                <a:gd name="T45" fmla="*/ 50 h 602456"/>
                <a:gd name="T46" fmla="*/ 73 w 675084"/>
                <a:gd name="T47" fmla="*/ 59 h 602456"/>
                <a:gd name="T48" fmla="*/ 82 w 675084"/>
                <a:gd name="T49" fmla="*/ 66 h 602456"/>
                <a:gd name="T50" fmla="*/ 94 w 675084"/>
                <a:gd name="T51" fmla="*/ 83 h 6024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75084"/>
                <a:gd name="T79" fmla="*/ 0 h 602456"/>
                <a:gd name="T80" fmla="*/ 675084 w 675084"/>
                <a:gd name="T81" fmla="*/ 602456 h 6024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75084" h="602456">
                  <a:moveTo>
                    <a:pt x="675084" y="559594"/>
                  </a:moveTo>
                  <a:lnTo>
                    <a:pt x="663254" y="581482"/>
                  </a:lnTo>
                  <a:lnTo>
                    <a:pt x="620316" y="602456"/>
                  </a:lnTo>
                  <a:lnTo>
                    <a:pt x="576262" y="561975"/>
                  </a:lnTo>
                  <a:lnTo>
                    <a:pt x="508438" y="483236"/>
                  </a:lnTo>
                  <a:lnTo>
                    <a:pt x="464344" y="434578"/>
                  </a:lnTo>
                  <a:lnTo>
                    <a:pt x="401241" y="383381"/>
                  </a:lnTo>
                  <a:lnTo>
                    <a:pt x="325041" y="367903"/>
                  </a:lnTo>
                  <a:lnTo>
                    <a:pt x="232172" y="371475"/>
                  </a:lnTo>
                  <a:lnTo>
                    <a:pt x="151209" y="352425"/>
                  </a:lnTo>
                  <a:lnTo>
                    <a:pt x="86916" y="411956"/>
                  </a:lnTo>
                  <a:lnTo>
                    <a:pt x="0" y="390525"/>
                  </a:lnTo>
                  <a:lnTo>
                    <a:pt x="8334" y="325040"/>
                  </a:lnTo>
                  <a:lnTo>
                    <a:pt x="23812" y="219075"/>
                  </a:lnTo>
                  <a:lnTo>
                    <a:pt x="41672" y="132159"/>
                  </a:lnTo>
                  <a:lnTo>
                    <a:pt x="122634" y="54769"/>
                  </a:lnTo>
                  <a:lnTo>
                    <a:pt x="222647" y="0"/>
                  </a:lnTo>
                  <a:lnTo>
                    <a:pt x="255984" y="35719"/>
                  </a:lnTo>
                  <a:lnTo>
                    <a:pt x="282178" y="109537"/>
                  </a:lnTo>
                  <a:lnTo>
                    <a:pt x="290512" y="177403"/>
                  </a:lnTo>
                  <a:lnTo>
                    <a:pt x="299832" y="252409"/>
                  </a:lnTo>
                  <a:lnTo>
                    <a:pt x="379930" y="295868"/>
                  </a:lnTo>
                  <a:lnTo>
                    <a:pt x="471152" y="336763"/>
                  </a:lnTo>
                  <a:lnTo>
                    <a:pt x="522560" y="399654"/>
                  </a:lnTo>
                  <a:lnTo>
                    <a:pt x="590459" y="448063"/>
                  </a:lnTo>
                  <a:lnTo>
                    <a:pt x="675084" y="55959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2" name="Freeform 47">
              <a:extLst>
                <a:ext uri="{FF2B5EF4-FFF2-40B4-BE49-F238E27FC236}">
                  <a16:creationId xmlns:a16="http://schemas.microsoft.com/office/drawing/2014/main" id="{087EABE4-E1FF-933A-E77E-7C248CDBD586}"/>
                </a:ext>
              </a:extLst>
            </p:cNvPr>
            <p:cNvSpPr>
              <a:spLocks/>
            </p:cNvSpPr>
            <p:nvPr/>
          </p:nvSpPr>
          <p:spPr bwMode="auto">
            <a:xfrm>
              <a:off x="4717428" y="3209824"/>
              <a:ext cx="412345" cy="389504"/>
            </a:xfrm>
            <a:custGeom>
              <a:avLst/>
              <a:gdLst>
                <a:gd name="T0" fmla="*/ 250 w 1707356"/>
                <a:gd name="T1" fmla="*/ 27 h 1557338"/>
                <a:gd name="T2" fmla="*/ 247 w 1707356"/>
                <a:gd name="T3" fmla="*/ 33 h 1557338"/>
                <a:gd name="T4" fmla="*/ 241 w 1707356"/>
                <a:gd name="T5" fmla="*/ 40 h 1557338"/>
                <a:gd name="T6" fmla="*/ 245 w 1707356"/>
                <a:gd name="T7" fmla="*/ 200 h 1557338"/>
                <a:gd name="T8" fmla="*/ 247 w 1707356"/>
                <a:gd name="T9" fmla="*/ 235 h 1557338"/>
                <a:gd name="T10" fmla="*/ 230 w 1707356"/>
                <a:gd name="T11" fmla="*/ 236 h 1557338"/>
                <a:gd name="T12" fmla="*/ 214 w 1707356"/>
                <a:gd name="T13" fmla="*/ 227 h 1557338"/>
                <a:gd name="T14" fmla="*/ 109 w 1707356"/>
                <a:gd name="T15" fmla="*/ 172 h 1557338"/>
                <a:gd name="T16" fmla="*/ 93 w 1707356"/>
                <a:gd name="T17" fmla="*/ 184 h 1557338"/>
                <a:gd name="T18" fmla="*/ 73 w 1707356"/>
                <a:gd name="T19" fmla="*/ 184 h 1557338"/>
                <a:gd name="T20" fmla="*/ 62 w 1707356"/>
                <a:gd name="T21" fmla="*/ 176 h 1557338"/>
                <a:gd name="T22" fmla="*/ 47 w 1707356"/>
                <a:gd name="T23" fmla="*/ 172 h 1557338"/>
                <a:gd name="T24" fmla="*/ 36 w 1707356"/>
                <a:gd name="T25" fmla="*/ 156 h 1557338"/>
                <a:gd name="T26" fmla="*/ 26 w 1707356"/>
                <a:gd name="T27" fmla="*/ 157 h 1557338"/>
                <a:gd name="T28" fmla="*/ 17 w 1707356"/>
                <a:gd name="T29" fmla="*/ 150 h 1557338"/>
                <a:gd name="T30" fmla="*/ 16 w 1707356"/>
                <a:gd name="T31" fmla="*/ 140 h 1557338"/>
                <a:gd name="T32" fmla="*/ 5 w 1707356"/>
                <a:gd name="T33" fmla="*/ 141 h 1557338"/>
                <a:gd name="T34" fmla="*/ 0 w 1707356"/>
                <a:gd name="T35" fmla="*/ 135 h 1557338"/>
                <a:gd name="T36" fmla="*/ 3 w 1707356"/>
                <a:gd name="T37" fmla="*/ 127 h 1557338"/>
                <a:gd name="T38" fmla="*/ 6 w 1707356"/>
                <a:gd name="T39" fmla="*/ 118 h 1557338"/>
                <a:gd name="T40" fmla="*/ 0 w 1707356"/>
                <a:gd name="T41" fmla="*/ 107 h 1557338"/>
                <a:gd name="T42" fmla="*/ 8 w 1707356"/>
                <a:gd name="T43" fmla="*/ 100 h 1557338"/>
                <a:gd name="T44" fmla="*/ 2 w 1707356"/>
                <a:gd name="T45" fmla="*/ 88 h 1557338"/>
                <a:gd name="T46" fmla="*/ 9 w 1707356"/>
                <a:gd name="T47" fmla="*/ 80 h 1557338"/>
                <a:gd name="T48" fmla="*/ 5 w 1707356"/>
                <a:gd name="T49" fmla="*/ 70 h 1557338"/>
                <a:gd name="T50" fmla="*/ 10 w 1707356"/>
                <a:gd name="T51" fmla="*/ 60 h 1557338"/>
                <a:gd name="T52" fmla="*/ 8 w 1707356"/>
                <a:gd name="T53" fmla="*/ 50 h 1557338"/>
                <a:gd name="T54" fmla="*/ 14 w 1707356"/>
                <a:gd name="T55" fmla="*/ 48 h 1557338"/>
                <a:gd name="T56" fmla="*/ 20 w 1707356"/>
                <a:gd name="T57" fmla="*/ 41 h 1557338"/>
                <a:gd name="T58" fmla="*/ 20 w 1707356"/>
                <a:gd name="T59" fmla="*/ 24 h 1557338"/>
                <a:gd name="T60" fmla="*/ 33 w 1707356"/>
                <a:gd name="T61" fmla="*/ 14 h 1557338"/>
                <a:gd name="T62" fmla="*/ 43 w 1707356"/>
                <a:gd name="T63" fmla="*/ 0 h 1557338"/>
                <a:gd name="T64" fmla="*/ 62 w 1707356"/>
                <a:gd name="T65" fmla="*/ 1 h 1557338"/>
                <a:gd name="T66" fmla="*/ 74 w 1707356"/>
                <a:gd name="T67" fmla="*/ 3 h 1557338"/>
                <a:gd name="T68" fmla="*/ 89 w 1707356"/>
                <a:gd name="T69" fmla="*/ 7 h 1557338"/>
                <a:gd name="T70" fmla="*/ 98 w 1707356"/>
                <a:gd name="T71" fmla="*/ 14 h 1557338"/>
                <a:gd name="T72" fmla="*/ 99 w 1707356"/>
                <a:gd name="T73" fmla="*/ 23 h 1557338"/>
                <a:gd name="T74" fmla="*/ 102 w 1707356"/>
                <a:gd name="T75" fmla="*/ 29 h 1557338"/>
                <a:gd name="T76" fmla="*/ 112 w 1707356"/>
                <a:gd name="T77" fmla="*/ 30 h 1557338"/>
                <a:gd name="T78" fmla="*/ 125 w 1707356"/>
                <a:gd name="T79" fmla="*/ 33 h 1557338"/>
                <a:gd name="T80" fmla="*/ 134 w 1707356"/>
                <a:gd name="T81" fmla="*/ 38 h 1557338"/>
                <a:gd name="T82" fmla="*/ 143 w 1707356"/>
                <a:gd name="T83" fmla="*/ 46 h 1557338"/>
                <a:gd name="T84" fmla="*/ 150 w 1707356"/>
                <a:gd name="T85" fmla="*/ 48 h 1557338"/>
                <a:gd name="T86" fmla="*/ 158 w 1707356"/>
                <a:gd name="T87" fmla="*/ 47 h 1557338"/>
                <a:gd name="T88" fmla="*/ 173 w 1707356"/>
                <a:gd name="T89" fmla="*/ 41 h 1557338"/>
                <a:gd name="T90" fmla="*/ 171 w 1707356"/>
                <a:gd name="T91" fmla="*/ 20 h 1557338"/>
                <a:gd name="T92" fmla="*/ 178 w 1707356"/>
                <a:gd name="T93" fmla="*/ 9 h 1557338"/>
                <a:gd name="T94" fmla="*/ 188 w 1707356"/>
                <a:gd name="T95" fmla="*/ 5 h 1557338"/>
                <a:gd name="T96" fmla="*/ 206 w 1707356"/>
                <a:gd name="T97" fmla="*/ 1 h 1557338"/>
                <a:gd name="T98" fmla="*/ 227 w 1707356"/>
                <a:gd name="T99" fmla="*/ 14 h 1557338"/>
                <a:gd name="T100" fmla="*/ 250 w 1707356"/>
                <a:gd name="T101" fmla="*/ 20 h 1557338"/>
                <a:gd name="T102" fmla="*/ 250 w 1707356"/>
                <a:gd name="T103" fmla="*/ 27 h 155733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07356"/>
                <a:gd name="T157" fmla="*/ 0 h 1557338"/>
                <a:gd name="T158" fmla="*/ 1707356 w 1707356"/>
                <a:gd name="T159" fmla="*/ 1557338 h 155733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07356" h="1557338">
                  <a:moveTo>
                    <a:pt x="1707356" y="176213"/>
                  </a:moveTo>
                  <a:lnTo>
                    <a:pt x="1683544" y="214313"/>
                  </a:lnTo>
                  <a:lnTo>
                    <a:pt x="1645444" y="266700"/>
                  </a:lnTo>
                  <a:lnTo>
                    <a:pt x="1672828" y="1320403"/>
                  </a:lnTo>
                  <a:lnTo>
                    <a:pt x="1685925" y="1547813"/>
                  </a:lnTo>
                  <a:lnTo>
                    <a:pt x="1569244" y="1557338"/>
                  </a:lnTo>
                  <a:lnTo>
                    <a:pt x="1457765" y="1498298"/>
                  </a:lnTo>
                  <a:lnTo>
                    <a:pt x="745331" y="1133475"/>
                  </a:lnTo>
                  <a:lnTo>
                    <a:pt x="631031" y="1212056"/>
                  </a:lnTo>
                  <a:lnTo>
                    <a:pt x="495300" y="1214438"/>
                  </a:lnTo>
                  <a:lnTo>
                    <a:pt x="426135" y="1156771"/>
                  </a:lnTo>
                  <a:lnTo>
                    <a:pt x="317897" y="1135856"/>
                  </a:lnTo>
                  <a:lnTo>
                    <a:pt x="248840" y="1031081"/>
                  </a:lnTo>
                  <a:lnTo>
                    <a:pt x="175022" y="1033463"/>
                  </a:lnTo>
                  <a:lnTo>
                    <a:pt x="116681" y="989409"/>
                  </a:lnTo>
                  <a:lnTo>
                    <a:pt x="105965" y="923925"/>
                  </a:lnTo>
                  <a:lnTo>
                    <a:pt x="34528" y="932259"/>
                  </a:lnTo>
                  <a:lnTo>
                    <a:pt x="0" y="887016"/>
                  </a:lnTo>
                  <a:lnTo>
                    <a:pt x="19050" y="837009"/>
                  </a:lnTo>
                  <a:lnTo>
                    <a:pt x="41672" y="776288"/>
                  </a:lnTo>
                  <a:lnTo>
                    <a:pt x="0" y="703659"/>
                  </a:lnTo>
                  <a:lnTo>
                    <a:pt x="52387" y="656034"/>
                  </a:lnTo>
                  <a:lnTo>
                    <a:pt x="16669" y="581025"/>
                  </a:lnTo>
                  <a:lnTo>
                    <a:pt x="64294" y="527447"/>
                  </a:lnTo>
                  <a:lnTo>
                    <a:pt x="35719" y="460772"/>
                  </a:lnTo>
                  <a:lnTo>
                    <a:pt x="65484" y="395288"/>
                  </a:lnTo>
                  <a:lnTo>
                    <a:pt x="51197" y="327422"/>
                  </a:lnTo>
                  <a:lnTo>
                    <a:pt x="96440" y="315516"/>
                  </a:lnTo>
                  <a:lnTo>
                    <a:pt x="133350" y="269081"/>
                  </a:lnTo>
                  <a:lnTo>
                    <a:pt x="135731" y="155972"/>
                  </a:lnTo>
                  <a:lnTo>
                    <a:pt x="221456" y="95250"/>
                  </a:lnTo>
                  <a:lnTo>
                    <a:pt x="296465" y="0"/>
                  </a:lnTo>
                  <a:lnTo>
                    <a:pt x="421481" y="4763"/>
                  </a:lnTo>
                  <a:lnTo>
                    <a:pt x="507206" y="19050"/>
                  </a:lnTo>
                  <a:lnTo>
                    <a:pt x="607219" y="42863"/>
                  </a:lnTo>
                  <a:lnTo>
                    <a:pt x="669131" y="95250"/>
                  </a:lnTo>
                  <a:lnTo>
                    <a:pt x="678656" y="152400"/>
                  </a:lnTo>
                  <a:lnTo>
                    <a:pt x="692944" y="190500"/>
                  </a:lnTo>
                  <a:lnTo>
                    <a:pt x="764381" y="195263"/>
                  </a:lnTo>
                  <a:lnTo>
                    <a:pt x="850106" y="219075"/>
                  </a:lnTo>
                  <a:lnTo>
                    <a:pt x="916781" y="252413"/>
                  </a:lnTo>
                  <a:lnTo>
                    <a:pt x="975002" y="301949"/>
                  </a:lnTo>
                  <a:lnTo>
                    <a:pt x="1021556" y="314325"/>
                  </a:lnTo>
                  <a:lnTo>
                    <a:pt x="1078706" y="309563"/>
                  </a:lnTo>
                  <a:lnTo>
                    <a:pt x="1178719" y="271463"/>
                  </a:lnTo>
                  <a:lnTo>
                    <a:pt x="1169194" y="133350"/>
                  </a:lnTo>
                  <a:lnTo>
                    <a:pt x="1212056" y="57150"/>
                  </a:lnTo>
                  <a:lnTo>
                    <a:pt x="1285206" y="35330"/>
                  </a:lnTo>
                  <a:lnTo>
                    <a:pt x="1402556" y="9525"/>
                  </a:lnTo>
                  <a:lnTo>
                    <a:pt x="1545431" y="90488"/>
                  </a:lnTo>
                  <a:lnTo>
                    <a:pt x="1702594" y="133350"/>
                  </a:lnTo>
                  <a:lnTo>
                    <a:pt x="1707356" y="17621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3" name="Freeform 48">
              <a:extLst>
                <a:ext uri="{FF2B5EF4-FFF2-40B4-BE49-F238E27FC236}">
                  <a16:creationId xmlns:a16="http://schemas.microsoft.com/office/drawing/2014/main" id="{5B24C70D-F510-0E8C-771B-A5BF2685D6D3}"/>
                </a:ext>
              </a:extLst>
            </p:cNvPr>
            <p:cNvSpPr>
              <a:spLocks/>
            </p:cNvSpPr>
            <p:nvPr/>
          </p:nvSpPr>
          <p:spPr bwMode="auto">
            <a:xfrm>
              <a:off x="4264745" y="3078451"/>
              <a:ext cx="528878" cy="539314"/>
            </a:xfrm>
            <a:custGeom>
              <a:avLst/>
              <a:gdLst>
                <a:gd name="T0" fmla="*/ 0 w 2197894"/>
                <a:gd name="T1" fmla="*/ 169 h 2178844"/>
                <a:gd name="T2" fmla="*/ 125 w 2197894"/>
                <a:gd name="T3" fmla="*/ 262 h 2178844"/>
                <a:gd name="T4" fmla="*/ 149 w 2197894"/>
                <a:gd name="T5" fmla="*/ 284 h 2178844"/>
                <a:gd name="T6" fmla="*/ 173 w 2197894"/>
                <a:gd name="T7" fmla="*/ 298 h 2178844"/>
                <a:gd name="T8" fmla="*/ 184 w 2197894"/>
                <a:gd name="T9" fmla="*/ 313 h 2178844"/>
                <a:gd name="T10" fmla="*/ 227 w 2197894"/>
                <a:gd name="T11" fmla="*/ 304 h 2178844"/>
                <a:gd name="T12" fmla="*/ 306 w 2197894"/>
                <a:gd name="T13" fmla="*/ 226 h 2178844"/>
                <a:gd name="T14" fmla="*/ 288 w 2197894"/>
                <a:gd name="T15" fmla="*/ 219 h 2178844"/>
                <a:gd name="T16" fmla="*/ 276 w 2197894"/>
                <a:gd name="T17" fmla="*/ 212 h 2178844"/>
                <a:gd name="T18" fmla="*/ 277 w 2197894"/>
                <a:gd name="T19" fmla="*/ 189 h 2178844"/>
                <a:gd name="T20" fmla="*/ 278 w 2197894"/>
                <a:gd name="T21" fmla="*/ 172 h 2178844"/>
                <a:gd name="T22" fmla="*/ 280 w 2197894"/>
                <a:gd name="T23" fmla="*/ 153 h 2178844"/>
                <a:gd name="T24" fmla="*/ 280 w 2197894"/>
                <a:gd name="T25" fmla="*/ 134 h 2178844"/>
                <a:gd name="T26" fmla="*/ 268 w 2197894"/>
                <a:gd name="T27" fmla="*/ 85 h 2178844"/>
                <a:gd name="T28" fmla="*/ 254 w 2197894"/>
                <a:gd name="T29" fmla="*/ 70 h 2178844"/>
                <a:gd name="T30" fmla="*/ 256 w 2197894"/>
                <a:gd name="T31" fmla="*/ 54 h 2178844"/>
                <a:gd name="T32" fmla="*/ 257 w 2197894"/>
                <a:gd name="T33" fmla="*/ 23 h 2178844"/>
                <a:gd name="T34" fmla="*/ 262 w 2197894"/>
                <a:gd name="T35" fmla="*/ 5 h 2178844"/>
                <a:gd name="T36" fmla="*/ 244 w 2197894"/>
                <a:gd name="T37" fmla="*/ 1 h 2178844"/>
                <a:gd name="T38" fmla="*/ 230 w 2197894"/>
                <a:gd name="T39" fmla="*/ 1 h 2178844"/>
                <a:gd name="T40" fmla="*/ 212 w 2197894"/>
                <a:gd name="T41" fmla="*/ 7 h 2178844"/>
                <a:gd name="T42" fmla="*/ 187 w 2197894"/>
                <a:gd name="T43" fmla="*/ 6 h 2178844"/>
                <a:gd name="T44" fmla="*/ 163 w 2197894"/>
                <a:gd name="T45" fmla="*/ 10 h 2178844"/>
                <a:gd name="T46" fmla="*/ 136 w 2197894"/>
                <a:gd name="T47" fmla="*/ 22 h 2178844"/>
                <a:gd name="T48" fmla="*/ 99 w 2197894"/>
                <a:gd name="T49" fmla="*/ 35 h 2178844"/>
                <a:gd name="T50" fmla="*/ 109 w 2197894"/>
                <a:gd name="T51" fmla="*/ 61 h 2178844"/>
                <a:gd name="T52" fmla="*/ 115 w 2197894"/>
                <a:gd name="T53" fmla="*/ 80 h 2178844"/>
                <a:gd name="T54" fmla="*/ 104 w 2197894"/>
                <a:gd name="T55" fmla="*/ 90 h 2178844"/>
                <a:gd name="T56" fmla="*/ 85 w 2197894"/>
                <a:gd name="T57" fmla="*/ 91 h 2178844"/>
                <a:gd name="T58" fmla="*/ 76 w 2197894"/>
                <a:gd name="T59" fmla="*/ 105 h 2178844"/>
                <a:gd name="T60" fmla="*/ 73 w 2197894"/>
                <a:gd name="T61" fmla="*/ 123 h 2178844"/>
                <a:gd name="T62" fmla="*/ 34 w 2197894"/>
                <a:gd name="T63" fmla="*/ 135 h 2178844"/>
                <a:gd name="T64" fmla="*/ 1 w 2197894"/>
                <a:gd name="T65" fmla="*/ 147 h 21788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97894"/>
                <a:gd name="T100" fmla="*/ 0 h 2178844"/>
                <a:gd name="T101" fmla="*/ 2197894 w 2197894"/>
                <a:gd name="T102" fmla="*/ 2178844 h 21788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97894" h="2178844">
                  <a:moveTo>
                    <a:pt x="4763" y="1023937"/>
                  </a:moveTo>
                  <a:lnTo>
                    <a:pt x="0" y="1173956"/>
                  </a:lnTo>
                  <a:lnTo>
                    <a:pt x="364332" y="1476375"/>
                  </a:lnTo>
                  <a:lnTo>
                    <a:pt x="866775" y="1821656"/>
                  </a:lnTo>
                  <a:lnTo>
                    <a:pt x="991059" y="1899194"/>
                  </a:lnTo>
                  <a:lnTo>
                    <a:pt x="1038225" y="1971675"/>
                  </a:lnTo>
                  <a:lnTo>
                    <a:pt x="1128713" y="2031206"/>
                  </a:lnTo>
                  <a:lnTo>
                    <a:pt x="1202532" y="2069306"/>
                  </a:lnTo>
                  <a:lnTo>
                    <a:pt x="1259346" y="2069057"/>
                  </a:lnTo>
                  <a:lnTo>
                    <a:pt x="1281113" y="2174081"/>
                  </a:lnTo>
                  <a:lnTo>
                    <a:pt x="1381125" y="2178844"/>
                  </a:lnTo>
                  <a:lnTo>
                    <a:pt x="1578769" y="2107406"/>
                  </a:lnTo>
                  <a:lnTo>
                    <a:pt x="2197894" y="1674019"/>
                  </a:lnTo>
                  <a:lnTo>
                    <a:pt x="2128838" y="1565672"/>
                  </a:lnTo>
                  <a:lnTo>
                    <a:pt x="2053828" y="1568053"/>
                  </a:lnTo>
                  <a:lnTo>
                    <a:pt x="1999060" y="1522809"/>
                  </a:lnTo>
                  <a:lnTo>
                    <a:pt x="1986421" y="1459457"/>
                  </a:lnTo>
                  <a:lnTo>
                    <a:pt x="1916571" y="1468982"/>
                  </a:lnTo>
                  <a:lnTo>
                    <a:pt x="1881646" y="1424532"/>
                  </a:lnTo>
                  <a:lnTo>
                    <a:pt x="1924050" y="1312069"/>
                  </a:lnTo>
                  <a:lnTo>
                    <a:pt x="1881188" y="1240631"/>
                  </a:lnTo>
                  <a:lnTo>
                    <a:pt x="1933575" y="1193006"/>
                  </a:lnTo>
                  <a:lnTo>
                    <a:pt x="1900238" y="1116806"/>
                  </a:lnTo>
                  <a:lnTo>
                    <a:pt x="1945482" y="1062037"/>
                  </a:lnTo>
                  <a:lnTo>
                    <a:pt x="1916907" y="997744"/>
                  </a:lnTo>
                  <a:lnTo>
                    <a:pt x="1945482" y="928687"/>
                  </a:lnTo>
                  <a:lnTo>
                    <a:pt x="1922860" y="817959"/>
                  </a:lnTo>
                  <a:lnTo>
                    <a:pt x="1863328" y="592931"/>
                  </a:lnTo>
                  <a:lnTo>
                    <a:pt x="1810941" y="540544"/>
                  </a:lnTo>
                  <a:lnTo>
                    <a:pt x="1764507" y="485775"/>
                  </a:lnTo>
                  <a:lnTo>
                    <a:pt x="1751410" y="409575"/>
                  </a:lnTo>
                  <a:lnTo>
                    <a:pt x="1779985" y="377428"/>
                  </a:lnTo>
                  <a:lnTo>
                    <a:pt x="1772109" y="338682"/>
                  </a:lnTo>
                  <a:lnTo>
                    <a:pt x="1787984" y="159294"/>
                  </a:lnTo>
                  <a:lnTo>
                    <a:pt x="1814971" y="105319"/>
                  </a:lnTo>
                  <a:lnTo>
                    <a:pt x="1821657" y="33337"/>
                  </a:lnTo>
                  <a:lnTo>
                    <a:pt x="1745457" y="0"/>
                  </a:lnTo>
                  <a:lnTo>
                    <a:pt x="1697832" y="4762"/>
                  </a:lnTo>
                  <a:lnTo>
                    <a:pt x="1650207" y="16669"/>
                  </a:lnTo>
                  <a:lnTo>
                    <a:pt x="1600200" y="4762"/>
                  </a:lnTo>
                  <a:lnTo>
                    <a:pt x="1533525" y="35719"/>
                  </a:lnTo>
                  <a:lnTo>
                    <a:pt x="1471613" y="47625"/>
                  </a:lnTo>
                  <a:lnTo>
                    <a:pt x="1388269" y="21431"/>
                  </a:lnTo>
                  <a:lnTo>
                    <a:pt x="1297782" y="40481"/>
                  </a:lnTo>
                  <a:lnTo>
                    <a:pt x="1214438" y="69056"/>
                  </a:lnTo>
                  <a:lnTo>
                    <a:pt x="1131094" y="66675"/>
                  </a:lnTo>
                  <a:lnTo>
                    <a:pt x="1016794" y="109537"/>
                  </a:lnTo>
                  <a:lnTo>
                    <a:pt x="942975" y="154781"/>
                  </a:lnTo>
                  <a:lnTo>
                    <a:pt x="833438" y="195262"/>
                  </a:lnTo>
                  <a:lnTo>
                    <a:pt x="684671" y="240257"/>
                  </a:lnTo>
                  <a:lnTo>
                    <a:pt x="737059" y="359319"/>
                  </a:lnTo>
                  <a:lnTo>
                    <a:pt x="757238" y="426244"/>
                  </a:lnTo>
                  <a:lnTo>
                    <a:pt x="768809" y="479969"/>
                  </a:lnTo>
                  <a:lnTo>
                    <a:pt x="797384" y="554582"/>
                  </a:lnTo>
                  <a:lnTo>
                    <a:pt x="792621" y="635544"/>
                  </a:lnTo>
                  <a:lnTo>
                    <a:pt x="722771" y="621257"/>
                  </a:lnTo>
                  <a:lnTo>
                    <a:pt x="657225" y="626269"/>
                  </a:lnTo>
                  <a:lnTo>
                    <a:pt x="592932" y="628650"/>
                  </a:lnTo>
                  <a:lnTo>
                    <a:pt x="581025" y="702469"/>
                  </a:lnTo>
                  <a:lnTo>
                    <a:pt x="531019" y="731044"/>
                  </a:lnTo>
                  <a:lnTo>
                    <a:pt x="540544" y="819150"/>
                  </a:lnTo>
                  <a:lnTo>
                    <a:pt x="504825" y="854869"/>
                  </a:lnTo>
                  <a:lnTo>
                    <a:pt x="323850" y="935831"/>
                  </a:lnTo>
                  <a:lnTo>
                    <a:pt x="235744" y="938212"/>
                  </a:lnTo>
                  <a:lnTo>
                    <a:pt x="80963" y="988219"/>
                  </a:lnTo>
                  <a:lnTo>
                    <a:pt x="4763" y="102393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4" name="Freeform 49">
              <a:extLst>
                <a:ext uri="{FF2B5EF4-FFF2-40B4-BE49-F238E27FC236}">
                  <a16:creationId xmlns:a16="http://schemas.microsoft.com/office/drawing/2014/main" id="{45105DA7-05E2-5125-6D1E-9E0C57D07ACD}"/>
                </a:ext>
              </a:extLst>
            </p:cNvPr>
            <p:cNvSpPr>
              <a:spLocks/>
            </p:cNvSpPr>
            <p:nvPr/>
          </p:nvSpPr>
          <p:spPr bwMode="auto">
            <a:xfrm>
              <a:off x="4166141" y="3124547"/>
              <a:ext cx="289091" cy="246610"/>
            </a:xfrm>
            <a:custGeom>
              <a:avLst/>
              <a:gdLst>
                <a:gd name="T0" fmla="*/ 0 w 1198563"/>
                <a:gd name="T1" fmla="*/ 145 h 992187"/>
                <a:gd name="T2" fmla="*/ 59 w 1198563"/>
                <a:gd name="T3" fmla="*/ 146 h 992187"/>
                <a:gd name="T4" fmla="*/ 59 w 1198563"/>
                <a:gd name="T5" fmla="*/ 124 h 992187"/>
                <a:gd name="T6" fmla="*/ 71 w 1198563"/>
                <a:gd name="T7" fmla="*/ 118 h 992187"/>
                <a:gd name="T8" fmla="*/ 92 w 1198563"/>
                <a:gd name="T9" fmla="*/ 112 h 992187"/>
                <a:gd name="T10" fmla="*/ 107 w 1198563"/>
                <a:gd name="T11" fmla="*/ 111 h 992187"/>
                <a:gd name="T12" fmla="*/ 121 w 1198563"/>
                <a:gd name="T13" fmla="*/ 104 h 992187"/>
                <a:gd name="T14" fmla="*/ 133 w 1198563"/>
                <a:gd name="T15" fmla="*/ 99 h 992187"/>
                <a:gd name="T16" fmla="*/ 137 w 1198563"/>
                <a:gd name="T17" fmla="*/ 93 h 992187"/>
                <a:gd name="T18" fmla="*/ 136 w 1198563"/>
                <a:gd name="T19" fmla="*/ 81 h 992187"/>
                <a:gd name="T20" fmla="*/ 143 w 1198563"/>
                <a:gd name="T21" fmla="*/ 76 h 992187"/>
                <a:gd name="T22" fmla="*/ 145 w 1198563"/>
                <a:gd name="T23" fmla="*/ 65 h 992187"/>
                <a:gd name="T24" fmla="*/ 155 w 1198563"/>
                <a:gd name="T25" fmla="*/ 65 h 992187"/>
                <a:gd name="T26" fmla="*/ 163 w 1198563"/>
                <a:gd name="T27" fmla="*/ 65 h 992187"/>
                <a:gd name="T28" fmla="*/ 174 w 1198563"/>
                <a:gd name="T29" fmla="*/ 67 h 992187"/>
                <a:gd name="T30" fmla="*/ 174 w 1198563"/>
                <a:gd name="T31" fmla="*/ 55 h 992187"/>
                <a:gd name="T32" fmla="*/ 170 w 1198563"/>
                <a:gd name="T33" fmla="*/ 43 h 992187"/>
                <a:gd name="T34" fmla="*/ 169 w 1198563"/>
                <a:gd name="T35" fmla="*/ 35 h 992187"/>
                <a:gd name="T36" fmla="*/ 166 w 1198563"/>
                <a:gd name="T37" fmla="*/ 26 h 992187"/>
                <a:gd name="T38" fmla="*/ 162 w 1198563"/>
                <a:gd name="T39" fmla="*/ 17 h 992187"/>
                <a:gd name="T40" fmla="*/ 157 w 1198563"/>
                <a:gd name="T41" fmla="*/ 8 h 992187"/>
                <a:gd name="T42" fmla="*/ 148 w 1198563"/>
                <a:gd name="T43" fmla="*/ 9 h 992187"/>
                <a:gd name="T44" fmla="*/ 142 w 1198563"/>
                <a:gd name="T45" fmla="*/ 7 h 992187"/>
                <a:gd name="T46" fmla="*/ 134 w 1198563"/>
                <a:gd name="T47" fmla="*/ 5 h 992187"/>
                <a:gd name="T48" fmla="*/ 124 w 1198563"/>
                <a:gd name="T49" fmla="*/ 9 h 992187"/>
                <a:gd name="T50" fmla="*/ 113 w 1198563"/>
                <a:gd name="T51" fmla="*/ 6 h 992187"/>
                <a:gd name="T52" fmla="*/ 110 w 1198563"/>
                <a:gd name="T53" fmla="*/ 0 h 992187"/>
                <a:gd name="T54" fmla="*/ 103 w 1198563"/>
                <a:gd name="T55" fmla="*/ 1 h 992187"/>
                <a:gd name="T56" fmla="*/ 101 w 1198563"/>
                <a:gd name="T57" fmla="*/ 6 h 992187"/>
                <a:gd name="T58" fmla="*/ 99 w 1198563"/>
                <a:gd name="T59" fmla="*/ 15 h 992187"/>
                <a:gd name="T60" fmla="*/ 96 w 1198563"/>
                <a:gd name="T61" fmla="*/ 25 h 992187"/>
                <a:gd name="T62" fmla="*/ 88 w 1198563"/>
                <a:gd name="T63" fmla="*/ 30 h 992187"/>
                <a:gd name="T64" fmla="*/ 81 w 1198563"/>
                <a:gd name="T65" fmla="*/ 38 h 992187"/>
                <a:gd name="T66" fmla="*/ 71 w 1198563"/>
                <a:gd name="T67" fmla="*/ 41 h 992187"/>
                <a:gd name="T68" fmla="*/ 56 w 1198563"/>
                <a:gd name="T69" fmla="*/ 55 h 992187"/>
                <a:gd name="T70" fmla="*/ 47 w 1198563"/>
                <a:gd name="T71" fmla="*/ 69 h 992187"/>
                <a:gd name="T72" fmla="*/ 41 w 1198563"/>
                <a:gd name="T73" fmla="*/ 83 h 992187"/>
                <a:gd name="T74" fmla="*/ 45 w 1198563"/>
                <a:gd name="T75" fmla="*/ 94 h 992187"/>
                <a:gd name="T76" fmla="*/ 47 w 1198563"/>
                <a:gd name="T77" fmla="*/ 103 h 992187"/>
                <a:gd name="T78" fmla="*/ 36 w 1198563"/>
                <a:gd name="T79" fmla="*/ 110 h 992187"/>
                <a:gd name="T80" fmla="*/ 27 w 1198563"/>
                <a:gd name="T81" fmla="*/ 115 h 992187"/>
                <a:gd name="T82" fmla="*/ 20 w 1198563"/>
                <a:gd name="T83" fmla="*/ 129 h 992187"/>
                <a:gd name="T84" fmla="*/ 10 w 1198563"/>
                <a:gd name="T85" fmla="*/ 137 h 992187"/>
                <a:gd name="T86" fmla="*/ 0 w 1198563"/>
                <a:gd name="T87" fmla="*/ 145 h 9921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98563"/>
                <a:gd name="T133" fmla="*/ 0 h 992187"/>
                <a:gd name="T134" fmla="*/ 1198563 w 1198563"/>
                <a:gd name="T135" fmla="*/ 992187 h 9921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98563" h="992187">
                  <a:moveTo>
                    <a:pt x="0" y="987425"/>
                  </a:moveTo>
                  <a:lnTo>
                    <a:pt x="403225" y="992187"/>
                  </a:lnTo>
                  <a:lnTo>
                    <a:pt x="405942" y="843212"/>
                  </a:lnTo>
                  <a:lnTo>
                    <a:pt x="486904" y="802730"/>
                  </a:lnTo>
                  <a:lnTo>
                    <a:pt x="631825" y="758825"/>
                  </a:lnTo>
                  <a:lnTo>
                    <a:pt x="731838" y="752475"/>
                  </a:lnTo>
                  <a:lnTo>
                    <a:pt x="833438" y="706437"/>
                  </a:lnTo>
                  <a:lnTo>
                    <a:pt x="912813" y="671512"/>
                  </a:lnTo>
                  <a:lnTo>
                    <a:pt x="941723" y="633662"/>
                  </a:lnTo>
                  <a:lnTo>
                    <a:pt x="935038" y="549275"/>
                  </a:lnTo>
                  <a:lnTo>
                    <a:pt x="979488" y="517525"/>
                  </a:lnTo>
                  <a:lnTo>
                    <a:pt x="995363" y="444500"/>
                  </a:lnTo>
                  <a:lnTo>
                    <a:pt x="1063625" y="441325"/>
                  </a:lnTo>
                  <a:lnTo>
                    <a:pt x="1119188" y="439737"/>
                  </a:lnTo>
                  <a:lnTo>
                    <a:pt x="1193800" y="452437"/>
                  </a:lnTo>
                  <a:lnTo>
                    <a:pt x="1198563" y="373062"/>
                  </a:lnTo>
                  <a:lnTo>
                    <a:pt x="1166813" y="290512"/>
                  </a:lnTo>
                  <a:lnTo>
                    <a:pt x="1160463" y="238125"/>
                  </a:lnTo>
                  <a:lnTo>
                    <a:pt x="1138238" y="173037"/>
                  </a:lnTo>
                  <a:lnTo>
                    <a:pt x="1109663" y="114300"/>
                  </a:lnTo>
                  <a:lnTo>
                    <a:pt x="1081088" y="50800"/>
                  </a:lnTo>
                  <a:lnTo>
                    <a:pt x="1019175" y="63500"/>
                  </a:lnTo>
                  <a:lnTo>
                    <a:pt x="976313" y="44450"/>
                  </a:lnTo>
                  <a:lnTo>
                    <a:pt x="922338" y="33337"/>
                  </a:lnTo>
                  <a:lnTo>
                    <a:pt x="850900" y="63500"/>
                  </a:lnTo>
                  <a:lnTo>
                    <a:pt x="779463" y="39687"/>
                  </a:lnTo>
                  <a:lnTo>
                    <a:pt x="755650" y="0"/>
                  </a:lnTo>
                  <a:lnTo>
                    <a:pt x="709613" y="4762"/>
                  </a:lnTo>
                  <a:lnTo>
                    <a:pt x="693738" y="42862"/>
                  </a:lnTo>
                  <a:lnTo>
                    <a:pt x="679450" y="104775"/>
                  </a:lnTo>
                  <a:lnTo>
                    <a:pt x="655638" y="171450"/>
                  </a:lnTo>
                  <a:lnTo>
                    <a:pt x="603250" y="206375"/>
                  </a:lnTo>
                  <a:lnTo>
                    <a:pt x="555625" y="258762"/>
                  </a:lnTo>
                  <a:lnTo>
                    <a:pt x="485775" y="276225"/>
                  </a:lnTo>
                  <a:lnTo>
                    <a:pt x="385763" y="373062"/>
                  </a:lnTo>
                  <a:lnTo>
                    <a:pt x="322263" y="466725"/>
                  </a:lnTo>
                  <a:lnTo>
                    <a:pt x="279400" y="566737"/>
                  </a:lnTo>
                  <a:lnTo>
                    <a:pt x="309563" y="639762"/>
                  </a:lnTo>
                  <a:lnTo>
                    <a:pt x="322263" y="703262"/>
                  </a:lnTo>
                  <a:lnTo>
                    <a:pt x="247650" y="746125"/>
                  </a:lnTo>
                  <a:lnTo>
                    <a:pt x="182563" y="784225"/>
                  </a:lnTo>
                  <a:lnTo>
                    <a:pt x="136525" y="876300"/>
                  </a:lnTo>
                  <a:lnTo>
                    <a:pt x="69850" y="930275"/>
                  </a:lnTo>
                  <a:lnTo>
                    <a:pt x="0" y="98742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5" name="Freeform 50">
              <a:extLst>
                <a:ext uri="{FF2B5EF4-FFF2-40B4-BE49-F238E27FC236}">
                  <a16:creationId xmlns:a16="http://schemas.microsoft.com/office/drawing/2014/main" id="{52CF146B-3103-4AA1-4E99-A967C2E792B1}"/>
                </a:ext>
              </a:extLst>
            </p:cNvPr>
            <p:cNvSpPr>
              <a:spLocks/>
            </p:cNvSpPr>
            <p:nvPr/>
          </p:nvSpPr>
          <p:spPr bwMode="auto">
            <a:xfrm>
              <a:off x="4493328" y="3493310"/>
              <a:ext cx="405623" cy="324973"/>
            </a:xfrm>
            <a:custGeom>
              <a:avLst/>
              <a:gdLst>
                <a:gd name="T0" fmla="*/ 223 w 1688307"/>
                <a:gd name="T1" fmla="*/ 11 h 1307417"/>
                <a:gd name="T2" fmla="*/ 227 w 1688307"/>
                <a:gd name="T3" fmla="*/ 43 h 1307417"/>
                <a:gd name="T4" fmla="*/ 235 w 1688307"/>
                <a:gd name="T5" fmla="*/ 51 h 1307417"/>
                <a:gd name="T6" fmla="*/ 241 w 1688307"/>
                <a:gd name="T7" fmla="*/ 61 h 1307417"/>
                <a:gd name="T8" fmla="*/ 238 w 1688307"/>
                <a:gd name="T9" fmla="*/ 67 h 1307417"/>
                <a:gd name="T10" fmla="*/ 235 w 1688307"/>
                <a:gd name="T11" fmla="*/ 92 h 1307417"/>
                <a:gd name="T12" fmla="*/ 236 w 1688307"/>
                <a:gd name="T13" fmla="*/ 109 h 1307417"/>
                <a:gd name="T14" fmla="*/ 220 w 1688307"/>
                <a:gd name="T15" fmla="*/ 129 h 1307417"/>
                <a:gd name="T16" fmla="*/ 207 w 1688307"/>
                <a:gd name="T17" fmla="*/ 142 h 1307417"/>
                <a:gd name="T18" fmla="*/ 200 w 1688307"/>
                <a:gd name="T19" fmla="*/ 153 h 1307417"/>
                <a:gd name="T20" fmla="*/ 204 w 1688307"/>
                <a:gd name="T21" fmla="*/ 164 h 1307417"/>
                <a:gd name="T22" fmla="*/ 195 w 1688307"/>
                <a:gd name="T23" fmla="*/ 167 h 1307417"/>
                <a:gd name="T24" fmla="*/ 187 w 1688307"/>
                <a:gd name="T25" fmla="*/ 169 h 1307417"/>
                <a:gd name="T26" fmla="*/ 178 w 1688307"/>
                <a:gd name="T27" fmla="*/ 170 h 1307417"/>
                <a:gd name="T28" fmla="*/ 168 w 1688307"/>
                <a:gd name="T29" fmla="*/ 166 h 1307417"/>
                <a:gd name="T30" fmla="*/ 158 w 1688307"/>
                <a:gd name="T31" fmla="*/ 167 h 1307417"/>
                <a:gd name="T32" fmla="*/ 139 w 1688307"/>
                <a:gd name="T33" fmla="*/ 174 h 1307417"/>
                <a:gd name="T34" fmla="*/ 129 w 1688307"/>
                <a:gd name="T35" fmla="*/ 173 h 1307417"/>
                <a:gd name="T36" fmla="*/ 122 w 1688307"/>
                <a:gd name="T37" fmla="*/ 169 h 1307417"/>
                <a:gd name="T38" fmla="*/ 109 w 1688307"/>
                <a:gd name="T39" fmla="*/ 169 h 1307417"/>
                <a:gd name="T40" fmla="*/ 100 w 1688307"/>
                <a:gd name="T41" fmla="*/ 171 h 1307417"/>
                <a:gd name="T42" fmla="*/ 92 w 1688307"/>
                <a:gd name="T43" fmla="*/ 167 h 1307417"/>
                <a:gd name="T44" fmla="*/ 81 w 1688307"/>
                <a:gd name="T45" fmla="*/ 161 h 1307417"/>
                <a:gd name="T46" fmla="*/ 71 w 1688307"/>
                <a:gd name="T47" fmla="*/ 162 h 1307417"/>
                <a:gd name="T48" fmla="*/ 64 w 1688307"/>
                <a:gd name="T49" fmla="*/ 165 h 1307417"/>
                <a:gd name="T50" fmla="*/ 62 w 1688307"/>
                <a:gd name="T51" fmla="*/ 174 h 1307417"/>
                <a:gd name="T52" fmla="*/ 56 w 1688307"/>
                <a:gd name="T53" fmla="*/ 183 h 1307417"/>
                <a:gd name="T54" fmla="*/ 54 w 1688307"/>
                <a:gd name="T55" fmla="*/ 191 h 1307417"/>
                <a:gd name="T56" fmla="*/ 41 w 1688307"/>
                <a:gd name="T57" fmla="*/ 192 h 1307417"/>
                <a:gd name="T58" fmla="*/ 38 w 1688307"/>
                <a:gd name="T59" fmla="*/ 183 h 1307417"/>
                <a:gd name="T60" fmla="*/ 19 w 1688307"/>
                <a:gd name="T61" fmla="*/ 177 h 1307417"/>
                <a:gd name="T62" fmla="*/ 12 w 1688307"/>
                <a:gd name="T63" fmla="*/ 167 h 1307417"/>
                <a:gd name="T64" fmla="*/ 4 w 1688307"/>
                <a:gd name="T65" fmla="*/ 158 h 1307417"/>
                <a:gd name="T66" fmla="*/ 0 w 1688307"/>
                <a:gd name="T67" fmla="*/ 142 h 1307417"/>
                <a:gd name="T68" fmla="*/ 20 w 1688307"/>
                <a:gd name="T69" fmla="*/ 135 h 1307417"/>
                <a:gd name="T70" fmla="*/ 42 w 1688307"/>
                <a:gd name="T71" fmla="*/ 133 h 1307417"/>
                <a:gd name="T72" fmla="*/ 59 w 1688307"/>
                <a:gd name="T73" fmla="*/ 125 h 1307417"/>
                <a:gd name="T74" fmla="*/ 61 w 1688307"/>
                <a:gd name="T75" fmla="*/ 75 h 1307417"/>
                <a:gd name="T76" fmla="*/ 89 w 1688307"/>
                <a:gd name="T77" fmla="*/ 64 h 1307417"/>
                <a:gd name="T78" fmla="*/ 178 w 1688307"/>
                <a:gd name="T79" fmla="*/ 0 h 1307417"/>
                <a:gd name="T80" fmla="*/ 193 w 1688307"/>
                <a:gd name="T81" fmla="*/ 2 h 1307417"/>
                <a:gd name="T82" fmla="*/ 203 w 1688307"/>
                <a:gd name="T83" fmla="*/ 11 h 1307417"/>
                <a:gd name="T84" fmla="*/ 223 w 1688307"/>
                <a:gd name="T85" fmla="*/ 11 h 130741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88307"/>
                <a:gd name="T130" fmla="*/ 0 h 1307417"/>
                <a:gd name="T131" fmla="*/ 1688307 w 1688307"/>
                <a:gd name="T132" fmla="*/ 1307417 h 130741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88307" h="1307417">
                  <a:moveTo>
                    <a:pt x="1562100" y="73818"/>
                  </a:moveTo>
                  <a:lnTo>
                    <a:pt x="1585913" y="290512"/>
                  </a:lnTo>
                  <a:lnTo>
                    <a:pt x="1647825" y="345281"/>
                  </a:lnTo>
                  <a:lnTo>
                    <a:pt x="1688307" y="411956"/>
                  </a:lnTo>
                  <a:lnTo>
                    <a:pt x="1663839" y="458488"/>
                  </a:lnTo>
                  <a:lnTo>
                    <a:pt x="1646655" y="624876"/>
                  </a:lnTo>
                  <a:lnTo>
                    <a:pt x="1652588" y="740568"/>
                  </a:lnTo>
                  <a:lnTo>
                    <a:pt x="1540669" y="878681"/>
                  </a:lnTo>
                  <a:lnTo>
                    <a:pt x="1452563" y="966787"/>
                  </a:lnTo>
                  <a:lnTo>
                    <a:pt x="1402557" y="1038225"/>
                  </a:lnTo>
                  <a:lnTo>
                    <a:pt x="1431024" y="1112984"/>
                  </a:lnTo>
                  <a:lnTo>
                    <a:pt x="1364457" y="1138237"/>
                  </a:lnTo>
                  <a:lnTo>
                    <a:pt x="1309688" y="1152525"/>
                  </a:lnTo>
                  <a:lnTo>
                    <a:pt x="1243013" y="1154906"/>
                  </a:lnTo>
                  <a:lnTo>
                    <a:pt x="1178719" y="1131093"/>
                  </a:lnTo>
                  <a:lnTo>
                    <a:pt x="1104900" y="1135856"/>
                  </a:lnTo>
                  <a:lnTo>
                    <a:pt x="973932" y="1181100"/>
                  </a:lnTo>
                  <a:lnTo>
                    <a:pt x="904875" y="1173956"/>
                  </a:lnTo>
                  <a:lnTo>
                    <a:pt x="852488" y="1150143"/>
                  </a:lnTo>
                  <a:lnTo>
                    <a:pt x="766763" y="1150143"/>
                  </a:lnTo>
                  <a:lnTo>
                    <a:pt x="702469" y="1162050"/>
                  </a:lnTo>
                  <a:lnTo>
                    <a:pt x="642938" y="1138237"/>
                  </a:lnTo>
                  <a:lnTo>
                    <a:pt x="564357" y="1095375"/>
                  </a:lnTo>
                  <a:lnTo>
                    <a:pt x="497682" y="1104900"/>
                  </a:lnTo>
                  <a:lnTo>
                    <a:pt x="445294" y="1119187"/>
                  </a:lnTo>
                  <a:lnTo>
                    <a:pt x="435595" y="1184849"/>
                  </a:lnTo>
                  <a:lnTo>
                    <a:pt x="390525" y="1240631"/>
                  </a:lnTo>
                  <a:lnTo>
                    <a:pt x="381571" y="1300445"/>
                  </a:lnTo>
                  <a:lnTo>
                    <a:pt x="287412" y="1307417"/>
                  </a:lnTo>
                  <a:lnTo>
                    <a:pt x="269082" y="1240631"/>
                  </a:lnTo>
                  <a:lnTo>
                    <a:pt x="132889" y="1204377"/>
                  </a:lnTo>
                  <a:lnTo>
                    <a:pt x="83344" y="1133475"/>
                  </a:lnTo>
                  <a:lnTo>
                    <a:pt x="28933" y="1073519"/>
                  </a:lnTo>
                  <a:lnTo>
                    <a:pt x="0" y="962025"/>
                  </a:lnTo>
                  <a:lnTo>
                    <a:pt x="140494" y="916781"/>
                  </a:lnTo>
                  <a:lnTo>
                    <a:pt x="290513" y="902493"/>
                  </a:lnTo>
                  <a:lnTo>
                    <a:pt x="411957" y="847725"/>
                  </a:lnTo>
                  <a:lnTo>
                    <a:pt x="426244" y="507206"/>
                  </a:lnTo>
                  <a:lnTo>
                    <a:pt x="623888" y="433387"/>
                  </a:lnTo>
                  <a:lnTo>
                    <a:pt x="1245394" y="0"/>
                  </a:lnTo>
                  <a:lnTo>
                    <a:pt x="1352550" y="16668"/>
                  </a:lnTo>
                  <a:lnTo>
                    <a:pt x="1423988" y="76200"/>
                  </a:lnTo>
                  <a:lnTo>
                    <a:pt x="1562100" y="7381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6" name="Freeform 52">
              <a:extLst>
                <a:ext uri="{FF2B5EF4-FFF2-40B4-BE49-F238E27FC236}">
                  <a16:creationId xmlns:a16="http://schemas.microsoft.com/office/drawing/2014/main" id="{055F41CE-D149-910E-C05D-104AC1D51D99}"/>
                </a:ext>
              </a:extLst>
            </p:cNvPr>
            <p:cNvSpPr>
              <a:spLocks/>
            </p:cNvSpPr>
            <p:nvPr/>
          </p:nvSpPr>
          <p:spPr bwMode="auto">
            <a:xfrm>
              <a:off x="5114087" y="3251309"/>
              <a:ext cx="307017" cy="288094"/>
            </a:xfrm>
            <a:custGeom>
              <a:avLst/>
              <a:gdLst>
                <a:gd name="T0" fmla="*/ 166 w 1279177"/>
                <a:gd name="T1" fmla="*/ 144 h 1160821"/>
                <a:gd name="T2" fmla="*/ 163 w 1279177"/>
                <a:gd name="T3" fmla="*/ 156 h 1160821"/>
                <a:gd name="T4" fmla="*/ 172 w 1279177"/>
                <a:gd name="T5" fmla="*/ 155 h 1160821"/>
                <a:gd name="T6" fmla="*/ 182 w 1279177"/>
                <a:gd name="T7" fmla="*/ 167 h 1160821"/>
                <a:gd name="T8" fmla="*/ 162 w 1279177"/>
                <a:gd name="T9" fmla="*/ 168 h 1160821"/>
                <a:gd name="T10" fmla="*/ 139 w 1279177"/>
                <a:gd name="T11" fmla="*/ 168 h 1160821"/>
                <a:gd name="T12" fmla="*/ 3 w 1279177"/>
                <a:gd name="T13" fmla="*/ 169 h 1160821"/>
                <a:gd name="T14" fmla="*/ 0 w 1279177"/>
                <a:gd name="T15" fmla="*/ 36 h 1160821"/>
                <a:gd name="T16" fmla="*/ 0 w 1279177"/>
                <a:gd name="T17" fmla="*/ 15 h 1160821"/>
                <a:gd name="T18" fmla="*/ 5 w 1279177"/>
                <a:gd name="T19" fmla="*/ 8 h 1160821"/>
                <a:gd name="T20" fmla="*/ 8 w 1279177"/>
                <a:gd name="T21" fmla="*/ 2 h 1160821"/>
                <a:gd name="T22" fmla="*/ 14 w 1279177"/>
                <a:gd name="T23" fmla="*/ 0 h 1160821"/>
                <a:gd name="T24" fmla="*/ 24 w 1279177"/>
                <a:gd name="T25" fmla="*/ 4 h 1160821"/>
                <a:gd name="T26" fmla="*/ 38 w 1279177"/>
                <a:gd name="T27" fmla="*/ 9 h 1160821"/>
                <a:gd name="T28" fmla="*/ 45 w 1279177"/>
                <a:gd name="T29" fmla="*/ 7 h 1160821"/>
                <a:gd name="T30" fmla="*/ 57 w 1279177"/>
                <a:gd name="T31" fmla="*/ 11 h 1160821"/>
                <a:gd name="T32" fmla="*/ 69 w 1279177"/>
                <a:gd name="T33" fmla="*/ 13 h 1160821"/>
                <a:gd name="T34" fmla="*/ 77 w 1279177"/>
                <a:gd name="T35" fmla="*/ 9 h 1160821"/>
                <a:gd name="T36" fmla="*/ 84 w 1279177"/>
                <a:gd name="T37" fmla="*/ 2 h 1160821"/>
                <a:gd name="T38" fmla="*/ 92 w 1279177"/>
                <a:gd name="T39" fmla="*/ 2 h 1160821"/>
                <a:gd name="T40" fmla="*/ 100 w 1279177"/>
                <a:gd name="T41" fmla="*/ 6 h 1160821"/>
                <a:gd name="T42" fmla="*/ 113 w 1279177"/>
                <a:gd name="T43" fmla="*/ 4 h 1160821"/>
                <a:gd name="T44" fmla="*/ 124 w 1279177"/>
                <a:gd name="T45" fmla="*/ 6 h 1160821"/>
                <a:gd name="T46" fmla="*/ 132 w 1279177"/>
                <a:gd name="T47" fmla="*/ 6 h 1160821"/>
                <a:gd name="T48" fmla="*/ 145 w 1279177"/>
                <a:gd name="T49" fmla="*/ 4 h 1160821"/>
                <a:gd name="T50" fmla="*/ 159 w 1279177"/>
                <a:gd name="T51" fmla="*/ 33 h 1160821"/>
                <a:gd name="T52" fmla="*/ 159 w 1279177"/>
                <a:gd name="T53" fmla="*/ 39 h 1160821"/>
                <a:gd name="T54" fmla="*/ 151 w 1279177"/>
                <a:gd name="T55" fmla="*/ 51 h 1160821"/>
                <a:gd name="T56" fmla="*/ 148 w 1279177"/>
                <a:gd name="T57" fmla="*/ 60 h 1160821"/>
                <a:gd name="T58" fmla="*/ 140 w 1279177"/>
                <a:gd name="T59" fmla="*/ 62 h 1160821"/>
                <a:gd name="T60" fmla="*/ 135 w 1279177"/>
                <a:gd name="T61" fmla="*/ 58 h 1160821"/>
                <a:gd name="T62" fmla="*/ 130 w 1279177"/>
                <a:gd name="T63" fmla="*/ 56 h 1160821"/>
                <a:gd name="T64" fmla="*/ 123 w 1279177"/>
                <a:gd name="T65" fmla="*/ 52 h 1160821"/>
                <a:gd name="T66" fmla="*/ 118 w 1279177"/>
                <a:gd name="T67" fmla="*/ 44 h 1160821"/>
                <a:gd name="T68" fmla="*/ 115 w 1279177"/>
                <a:gd name="T69" fmla="*/ 37 h 1160821"/>
                <a:gd name="T70" fmla="*/ 105 w 1279177"/>
                <a:gd name="T71" fmla="*/ 25 h 1160821"/>
                <a:gd name="T72" fmla="*/ 101 w 1279177"/>
                <a:gd name="T73" fmla="*/ 25 h 1160821"/>
                <a:gd name="T74" fmla="*/ 101 w 1279177"/>
                <a:gd name="T75" fmla="*/ 29 h 1160821"/>
                <a:gd name="T76" fmla="*/ 107 w 1279177"/>
                <a:gd name="T77" fmla="*/ 39 h 1160821"/>
                <a:gd name="T78" fmla="*/ 116 w 1279177"/>
                <a:gd name="T79" fmla="*/ 52 h 1160821"/>
                <a:gd name="T80" fmla="*/ 132 w 1279177"/>
                <a:gd name="T81" fmla="*/ 66 h 1160821"/>
                <a:gd name="T82" fmla="*/ 139 w 1279177"/>
                <a:gd name="T83" fmla="*/ 78 h 1160821"/>
                <a:gd name="T84" fmla="*/ 145 w 1279177"/>
                <a:gd name="T85" fmla="*/ 92 h 1160821"/>
                <a:gd name="T86" fmla="*/ 151 w 1279177"/>
                <a:gd name="T87" fmla="*/ 102 h 1160821"/>
                <a:gd name="T88" fmla="*/ 151 w 1279177"/>
                <a:gd name="T89" fmla="*/ 110 h 1160821"/>
                <a:gd name="T90" fmla="*/ 156 w 1279177"/>
                <a:gd name="T91" fmla="*/ 117 h 1160821"/>
                <a:gd name="T92" fmla="*/ 162 w 1279177"/>
                <a:gd name="T93" fmla="*/ 125 h 1160821"/>
                <a:gd name="T94" fmla="*/ 166 w 1279177"/>
                <a:gd name="T95" fmla="*/ 134 h 1160821"/>
                <a:gd name="T96" fmla="*/ 166 w 1279177"/>
                <a:gd name="T97" fmla="*/ 144 h 11608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79177"/>
                <a:gd name="T148" fmla="*/ 0 h 1160821"/>
                <a:gd name="T149" fmla="*/ 1279177 w 1279177"/>
                <a:gd name="T150" fmla="*/ 1160821 h 11608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79177" h="1160821">
                  <a:moveTo>
                    <a:pt x="1169640" y="984609"/>
                  </a:moveTo>
                  <a:lnTo>
                    <a:pt x="1150590" y="1067952"/>
                  </a:lnTo>
                  <a:lnTo>
                    <a:pt x="1207740" y="1060809"/>
                  </a:lnTo>
                  <a:lnTo>
                    <a:pt x="1279177" y="1144152"/>
                  </a:lnTo>
                  <a:lnTo>
                    <a:pt x="1141065" y="1153677"/>
                  </a:lnTo>
                  <a:lnTo>
                    <a:pt x="979140" y="1148915"/>
                  </a:lnTo>
                  <a:lnTo>
                    <a:pt x="24259" y="1160821"/>
                  </a:lnTo>
                  <a:lnTo>
                    <a:pt x="2647" y="247857"/>
                  </a:lnTo>
                  <a:lnTo>
                    <a:pt x="0" y="102001"/>
                  </a:lnTo>
                  <a:lnTo>
                    <a:pt x="36165" y="51159"/>
                  </a:lnTo>
                  <a:lnTo>
                    <a:pt x="57091" y="14829"/>
                  </a:lnTo>
                  <a:lnTo>
                    <a:pt x="99290" y="0"/>
                  </a:lnTo>
                  <a:lnTo>
                    <a:pt x="171301" y="26819"/>
                  </a:lnTo>
                  <a:lnTo>
                    <a:pt x="268061" y="62564"/>
                  </a:lnTo>
                  <a:lnTo>
                    <a:pt x="319240" y="49916"/>
                  </a:lnTo>
                  <a:lnTo>
                    <a:pt x="404025" y="72403"/>
                  </a:lnTo>
                  <a:lnTo>
                    <a:pt x="486221" y="89259"/>
                  </a:lnTo>
                  <a:lnTo>
                    <a:pt x="543371" y="60684"/>
                  </a:lnTo>
                  <a:lnTo>
                    <a:pt x="593377" y="15440"/>
                  </a:lnTo>
                  <a:lnTo>
                    <a:pt x="644954" y="15880"/>
                  </a:lnTo>
                  <a:lnTo>
                    <a:pt x="707415" y="39942"/>
                  </a:lnTo>
                  <a:lnTo>
                    <a:pt x="792679" y="27262"/>
                  </a:lnTo>
                  <a:lnTo>
                    <a:pt x="869602" y="41634"/>
                  </a:lnTo>
                  <a:lnTo>
                    <a:pt x="926752" y="44015"/>
                  </a:lnTo>
                  <a:lnTo>
                    <a:pt x="1019621" y="27346"/>
                  </a:lnTo>
                  <a:lnTo>
                    <a:pt x="1117252" y="224990"/>
                  </a:lnTo>
                  <a:lnTo>
                    <a:pt x="1122015" y="270234"/>
                  </a:lnTo>
                  <a:lnTo>
                    <a:pt x="1060102" y="348815"/>
                  </a:lnTo>
                  <a:lnTo>
                    <a:pt x="1041052" y="413109"/>
                  </a:lnTo>
                  <a:lnTo>
                    <a:pt x="986284" y="425015"/>
                  </a:lnTo>
                  <a:lnTo>
                    <a:pt x="950565" y="398821"/>
                  </a:lnTo>
                  <a:lnTo>
                    <a:pt x="916460" y="381864"/>
                  </a:lnTo>
                  <a:lnTo>
                    <a:pt x="865707" y="356417"/>
                  </a:lnTo>
                  <a:lnTo>
                    <a:pt x="829121" y="298809"/>
                  </a:lnTo>
                  <a:lnTo>
                    <a:pt x="812940" y="250730"/>
                  </a:lnTo>
                  <a:lnTo>
                    <a:pt x="735524" y="172445"/>
                  </a:lnTo>
                  <a:lnTo>
                    <a:pt x="709829" y="172911"/>
                  </a:lnTo>
                  <a:lnTo>
                    <a:pt x="710318" y="199857"/>
                  </a:lnTo>
                  <a:lnTo>
                    <a:pt x="750137" y="269449"/>
                  </a:lnTo>
                  <a:lnTo>
                    <a:pt x="818742" y="354926"/>
                  </a:lnTo>
                  <a:lnTo>
                    <a:pt x="929134" y="451209"/>
                  </a:lnTo>
                  <a:lnTo>
                    <a:pt x="981521" y="532171"/>
                  </a:lnTo>
                  <a:lnTo>
                    <a:pt x="1022002" y="632184"/>
                  </a:lnTo>
                  <a:lnTo>
                    <a:pt x="1060102" y="696477"/>
                  </a:lnTo>
                  <a:lnTo>
                    <a:pt x="1062946" y="755978"/>
                  </a:lnTo>
                  <a:lnTo>
                    <a:pt x="1100584" y="801252"/>
                  </a:lnTo>
                  <a:lnTo>
                    <a:pt x="1141065" y="858402"/>
                  </a:lnTo>
                  <a:lnTo>
                    <a:pt x="1169640" y="915552"/>
                  </a:lnTo>
                  <a:lnTo>
                    <a:pt x="1169640" y="98460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7" name="Freeform 53">
              <a:extLst>
                <a:ext uri="{FF2B5EF4-FFF2-40B4-BE49-F238E27FC236}">
                  <a16:creationId xmlns:a16="http://schemas.microsoft.com/office/drawing/2014/main" id="{FC0EE313-38BD-F10D-AE56-4043081F97B0}"/>
                </a:ext>
              </a:extLst>
            </p:cNvPr>
            <p:cNvSpPr>
              <a:spLocks/>
            </p:cNvSpPr>
            <p:nvPr/>
          </p:nvSpPr>
          <p:spPr bwMode="auto">
            <a:xfrm>
              <a:off x="4831721" y="3493310"/>
              <a:ext cx="266679" cy="437906"/>
            </a:xfrm>
            <a:custGeom>
              <a:avLst/>
              <a:gdLst>
                <a:gd name="T0" fmla="*/ 3 w 1104900"/>
                <a:gd name="T1" fmla="*/ 160 h 1769269"/>
                <a:gd name="T2" fmla="*/ 14 w 1104900"/>
                <a:gd name="T3" fmla="*/ 167 h 1769269"/>
                <a:gd name="T4" fmla="*/ 25 w 1104900"/>
                <a:gd name="T5" fmla="*/ 178 h 1769269"/>
                <a:gd name="T6" fmla="*/ 26 w 1104900"/>
                <a:gd name="T7" fmla="*/ 184 h 1769269"/>
                <a:gd name="T8" fmla="*/ 31 w 1104900"/>
                <a:gd name="T9" fmla="*/ 189 h 1769269"/>
                <a:gd name="T10" fmla="*/ 30 w 1104900"/>
                <a:gd name="T11" fmla="*/ 201 h 1769269"/>
                <a:gd name="T12" fmla="*/ 32 w 1104900"/>
                <a:gd name="T13" fmla="*/ 209 h 1769269"/>
                <a:gd name="T14" fmla="*/ 30 w 1104900"/>
                <a:gd name="T15" fmla="*/ 214 h 1769269"/>
                <a:gd name="T16" fmla="*/ 24 w 1104900"/>
                <a:gd name="T17" fmla="*/ 217 h 1769269"/>
                <a:gd name="T18" fmla="*/ 20 w 1104900"/>
                <a:gd name="T19" fmla="*/ 226 h 1769269"/>
                <a:gd name="T20" fmla="*/ 22 w 1104900"/>
                <a:gd name="T21" fmla="*/ 234 h 1769269"/>
                <a:gd name="T22" fmla="*/ 25 w 1104900"/>
                <a:gd name="T23" fmla="*/ 245 h 1769269"/>
                <a:gd name="T24" fmla="*/ 30 w 1104900"/>
                <a:gd name="T25" fmla="*/ 255 h 1769269"/>
                <a:gd name="T26" fmla="*/ 42 w 1104900"/>
                <a:gd name="T27" fmla="*/ 252 h 1769269"/>
                <a:gd name="T28" fmla="*/ 57 w 1104900"/>
                <a:gd name="T29" fmla="*/ 250 h 1769269"/>
                <a:gd name="T30" fmla="*/ 69 w 1104900"/>
                <a:gd name="T31" fmla="*/ 247 h 1769269"/>
                <a:gd name="T32" fmla="*/ 80 w 1104900"/>
                <a:gd name="T33" fmla="*/ 244 h 1769269"/>
                <a:gd name="T34" fmla="*/ 84 w 1104900"/>
                <a:gd name="T35" fmla="*/ 233 h 1769269"/>
                <a:gd name="T36" fmla="*/ 92 w 1104900"/>
                <a:gd name="T37" fmla="*/ 235 h 1769269"/>
                <a:gd name="T38" fmla="*/ 102 w 1104900"/>
                <a:gd name="T39" fmla="*/ 233 h 1769269"/>
                <a:gd name="T40" fmla="*/ 110 w 1104900"/>
                <a:gd name="T41" fmla="*/ 227 h 1769269"/>
                <a:gd name="T42" fmla="*/ 122 w 1104900"/>
                <a:gd name="T43" fmla="*/ 214 h 1769269"/>
                <a:gd name="T44" fmla="*/ 131 w 1104900"/>
                <a:gd name="T45" fmla="*/ 203 h 1769269"/>
                <a:gd name="T46" fmla="*/ 142 w 1104900"/>
                <a:gd name="T47" fmla="*/ 197 h 1769269"/>
                <a:gd name="T48" fmla="*/ 143 w 1104900"/>
                <a:gd name="T49" fmla="*/ 178 h 1769269"/>
                <a:gd name="T50" fmla="*/ 130 w 1104900"/>
                <a:gd name="T51" fmla="*/ 170 h 1769269"/>
                <a:gd name="T52" fmla="*/ 133 w 1104900"/>
                <a:gd name="T53" fmla="*/ 156 h 1769269"/>
                <a:gd name="T54" fmla="*/ 139 w 1104900"/>
                <a:gd name="T55" fmla="*/ 145 h 1769269"/>
                <a:gd name="T56" fmla="*/ 147 w 1104900"/>
                <a:gd name="T57" fmla="*/ 132 h 1769269"/>
                <a:gd name="T58" fmla="*/ 161 w 1104900"/>
                <a:gd name="T59" fmla="*/ 123 h 1769269"/>
                <a:gd name="T60" fmla="*/ 160 w 1104900"/>
                <a:gd name="T61" fmla="*/ 61 h 1769269"/>
                <a:gd name="T62" fmla="*/ 39 w 1104900"/>
                <a:gd name="T63" fmla="*/ 0 h 1769269"/>
                <a:gd name="T64" fmla="*/ 23 w 1104900"/>
                <a:gd name="T65" fmla="*/ 11 h 1769269"/>
                <a:gd name="T66" fmla="*/ 26 w 1104900"/>
                <a:gd name="T67" fmla="*/ 42 h 1769269"/>
                <a:gd name="T68" fmla="*/ 36 w 1104900"/>
                <a:gd name="T69" fmla="*/ 50 h 1769269"/>
                <a:gd name="T70" fmla="*/ 42 w 1104900"/>
                <a:gd name="T71" fmla="*/ 60 h 1769269"/>
                <a:gd name="T72" fmla="*/ 38 w 1104900"/>
                <a:gd name="T73" fmla="*/ 67 h 1769269"/>
                <a:gd name="T74" fmla="*/ 35 w 1104900"/>
                <a:gd name="T75" fmla="*/ 91 h 1769269"/>
                <a:gd name="T76" fmla="*/ 36 w 1104900"/>
                <a:gd name="T77" fmla="*/ 107 h 1769269"/>
                <a:gd name="T78" fmla="*/ 19 w 1104900"/>
                <a:gd name="T79" fmla="*/ 127 h 1769269"/>
                <a:gd name="T80" fmla="*/ 7 w 1104900"/>
                <a:gd name="T81" fmla="*/ 140 h 1769269"/>
                <a:gd name="T82" fmla="*/ 0 w 1104900"/>
                <a:gd name="T83" fmla="*/ 150 h 1769269"/>
                <a:gd name="T84" fmla="*/ 3 w 1104900"/>
                <a:gd name="T85" fmla="*/ 160 h 17692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04900"/>
                <a:gd name="T130" fmla="*/ 0 h 1769269"/>
                <a:gd name="T131" fmla="*/ 1104900 w 1104900"/>
                <a:gd name="T132" fmla="*/ 1769269 h 17692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04900" h="1769269">
                  <a:moveTo>
                    <a:pt x="23812" y="1113235"/>
                  </a:moveTo>
                  <a:lnTo>
                    <a:pt x="97944" y="1158782"/>
                  </a:lnTo>
                  <a:lnTo>
                    <a:pt x="170259" y="1238250"/>
                  </a:lnTo>
                  <a:lnTo>
                    <a:pt x="176212" y="1275160"/>
                  </a:lnTo>
                  <a:lnTo>
                    <a:pt x="215503" y="1313260"/>
                  </a:lnTo>
                  <a:lnTo>
                    <a:pt x="205978" y="1397794"/>
                  </a:lnTo>
                  <a:lnTo>
                    <a:pt x="216694" y="1453753"/>
                  </a:lnTo>
                  <a:lnTo>
                    <a:pt x="207169" y="1485900"/>
                  </a:lnTo>
                  <a:lnTo>
                    <a:pt x="164306" y="1509713"/>
                  </a:lnTo>
                  <a:lnTo>
                    <a:pt x="138112" y="1566863"/>
                  </a:lnTo>
                  <a:lnTo>
                    <a:pt x="150019" y="1624013"/>
                  </a:lnTo>
                  <a:lnTo>
                    <a:pt x="173138" y="1702984"/>
                  </a:lnTo>
                  <a:lnTo>
                    <a:pt x="204787" y="1769269"/>
                  </a:lnTo>
                  <a:lnTo>
                    <a:pt x="285750" y="1752600"/>
                  </a:lnTo>
                  <a:lnTo>
                    <a:pt x="390525" y="1733550"/>
                  </a:lnTo>
                  <a:lnTo>
                    <a:pt x="473869" y="1716882"/>
                  </a:lnTo>
                  <a:lnTo>
                    <a:pt x="547687" y="1693069"/>
                  </a:lnTo>
                  <a:lnTo>
                    <a:pt x="576262" y="1619250"/>
                  </a:lnTo>
                  <a:lnTo>
                    <a:pt x="628650" y="1633538"/>
                  </a:lnTo>
                  <a:lnTo>
                    <a:pt x="695325" y="1619250"/>
                  </a:lnTo>
                  <a:lnTo>
                    <a:pt x="750094" y="1578769"/>
                  </a:lnTo>
                  <a:lnTo>
                    <a:pt x="835819" y="1488282"/>
                  </a:lnTo>
                  <a:lnTo>
                    <a:pt x="900112" y="1409700"/>
                  </a:lnTo>
                  <a:lnTo>
                    <a:pt x="971550" y="1369219"/>
                  </a:lnTo>
                  <a:lnTo>
                    <a:pt x="976312" y="1238250"/>
                  </a:lnTo>
                  <a:lnTo>
                    <a:pt x="890587" y="1178719"/>
                  </a:lnTo>
                  <a:lnTo>
                    <a:pt x="912019" y="1083469"/>
                  </a:lnTo>
                  <a:lnTo>
                    <a:pt x="950119" y="1007269"/>
                  </a:lnTo>
                  <a:lnTo>
                    <a:pt x="1007269" y="914400"/>
                  </a:lnTo>
                  <a:lnTo>
                    <a:pt x="1104900" y="857250"/>
                  </a:lnTo>
                  <a:lnTo>
                    <a:pt x="1095375" y="421482"/>
                  </a:lnTo>
                  <a:lnTo>
                    <a:pt x="266700" y="0"/>
                  </a:lnTo>
                  <a:lnTo>
                    <a:pt x="154781" y="73819"/>
                  </a:lnTo>
                  <a:lnTo>
                    <a:pt x="178594" y="290513"/>
                  </a:lnTo>
                  <a:lnTo>
                    <a:pt x="245269" y="347663"/>
                  </a:lnTo>
                  <a:lnTo>
                    <a:pt x="284559" y="415528"/>
                  </a:lnTo>
                  <a:lnTo>
                    <a:pt x="257175" y="464344"/>
                  </a:lnTo>
                  <a:lnTo>
                    <a:pt x="241697" y="629841"/>
                  </a:lnTo>
                  <a:lnTo>
                    <a:pt x="245269" y="744141"/>
                  </a:lnTo>
                  <a:lnTo>
                    <a:pt x="133350" y="881063"/>
                  </a:lnTo>
                  <a:lnTo>
                    <a:pt x="45244" y="970360"/>
                  </a:lnTo>
                  <a:lnTo>
                    <a:pt x="0" y="1042988"/>
                  </a:lnTo>
                  <a:lnTo>
                    <a:pt x="23812" y="1113235"/>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8" name="Freeform 54">
              <a:extLst>
                <a:ext uri="{FF2B5EF4-FFF2-40B4-BE49-F238E27FC236}">
                  <a16:creationId xmlns:a16="http://schemas.microsoft.com/office/drawing/2014/main" id="{F06981F4-9A43-3418-772F-F7C43B1EF33B}"/>
                </a:ext>
              </a:extLst>
            </p:cNvPr>
            <p:cNvSpPr>
              <a:spLocks/>
            </p:cNvSpPr>
            <p:nvPr/>
          </p:nvSpPr>
          <p:spPr bwMode="auto">
            <a:xfrm>
              <a:off x="4686054" y="3076148"/>
              <a:ext cx="103087" cy="216648"/>
            </a:xfrm>
            <a:custGeom>
              <a:avLst/>
              <a:gdLst>
                <a:gd name="T0" fmla="*/ 51 w 426244"/>
                <a:gd name="T1" fmla="*/ 7 h 871166"/>
                <a:gd name="T2" fmla="*/ 43 w 426244"/>
                <a:gd name="T3" fmla="*/ 8 h 871166"/>
                <a:gd name="T4" fmla="*/ 38 w 426244"/>
                <a:gd name="T5" fmla="*/ 3 h 871166"/>
                <a:gd name="T6" fmla="*/ 33 w 426244"/>
                <a:gd name="T7" fmla="*/ 0 h 871166"/>
                <a:gd name="T8" fmla="*/ 27 w 426244"/>
                <a:gd name="T9" fmla="*/ 4 h 871166"/>
                <a:gd name="T10" fmla="*/ 11 w 426244"/>
                <a:gd name="T11" fmla="*/ 6 h 871166"/>
                <a:gd name="T12" fmla="*/ 10 w 426244"/>
                <a:gd name="T13" fmla="*/ 15 h 871166"/>
                <a:gd name="T14" fmla="*/ 5 w 426244"/>
                <a:gd name="T15" fmla="*/ 25 h 871166"/>
                <a:gd name="T16" fmla="*/ 3 w 426244"/>
                <a:gd name="T17" fmla="*/ 50 h 871166"/>
                <a:gd name="T18" fmla="*/ 4 w 426244"/>
                <a:gd name="T19" fmla="*/ 57 h 871166"/>
                <a:gd name="T20" fmla="*/ 0 w 426244"/>
                <a:gd name="T21" fmla="*/ 62 h 871166"/>
                <a:gd name="T22" fmla="*/ 2 w 426244"/>
                <a:gd name="T23" fmla="*/ 73 h 871166"/>
                <a:gd name="T24" fmla="*/ 9 w 426244"/>
                <a:gd name="T25" fmla="*/ 80 h 871166"/>
                <a:gd name="T26" fmla="*/ 17 w 426244"/>
                <a:gd name="T27" fmla="*/ 89 h 871166"/>
                <a:gd name="T28" fmla="*/ 27 w 426244"/>
                <a:gd name="T29" fmla="*/ 128 h 871166"/>
                <a:gd name="T30" fmla="*/ 33 w 426244"/>
                <a:gd name="T31" fmla="*/ 127 h 871166"/>
                <a:gd name="T32" fmla="*/ 39 w 426244"/>
                <a:gd name="T33" fmla="*/ 120 h 871166"/>
                <a:gd name="T34" fmla="*/ 39 w 426244"/>
                <a:gd name="T35" fmla="*/ 103 h 871166"/>
                <a:gd name="T36" fmla="*/ 52 w 426244"/>
                <a:gd name="T37" fmla="*/ 94 h 871166"/>
                <a:gd name="T38" fmla="*/ 63 w 426244"/>
                <a:gd name="T39" fmla="*/ 80 h 871166"/>
                <a:gd name="T40" fmla="*/ 58 w 426244"/>
                <a:gd name="T41" fmla="*/ 76 h 871166"/>
                <a:gd name="T42" fmla="*/ 54 w 426244"/>
                <a:gd name="T43" fmla="*/ 68 h 871166"/>
                <a:gd name="T44" fmla="*/ 50 w 426244"/>
                <a:gd name="T45" fmla="*/ 68 h 871166"/>
                <a:gd name="T46" fmla="*/ 44 w 426244"/>
                <a:gd name="T47" fmla="*/ 63 h 871166"/>
                <a:gd name="T48" fmla="*/ 38 w 426244"/>
                <a:gd name="T49" fmla="*/ 60 h 871166"/>
                <a:gd name="T50" fmla="*/ 33 w 426244"/>
                <a:gd name="T51" fmla="*/ 54 h 871166"/>
                <a:gd name="T52" fmla="*/ 37 w 426244"/>
                <a:gd name="T53" fmla="*/ 46 h 871166"/>
                <a:gd name="T54" fmla="*/ 46 w 426244"/>
                <a:gd name="T55" fmla="*/ 41 h 871166"/>
                <a:gd name="T56" fmla="*/ 49 w 426244"/>
                <a:gd name="T57" fmla="*/ 34 h 871166"/>
                <a:gd name="T58" fmla="*/ 50 w 426244"/>
                <a:gd name="T59" fmla="*/ 26 h 871166"/>
                <a:gd name="T60" fmla="*/ 44 w 426244"/>
                <a:gd name="T61" fmla="*/ 25 h 871166"/>
                <a:gd name="T62" fmla="*/ 44 w 426244"/>
                <a:gd name="T63" fmla="*/ 16 h 871166"/>
                <a:gd name="T64" fmla="*/ 51 w 426244"/>
                <a:gd name="T65" fmla="*/ 7 h 8711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6244"/>
                <a:gd name="T100" fmla="*/ 0 h 871166"/>
                <a:gd name="T101" fmla="*/ 426244 w 426244"/>
                <a:gd name="T102" fmla="*/ 871166 h 8711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6244" h="871166">
                  <a:moveTo>
                    <a:pt x="342016" y="48656"/>
                  </a:moveTo>
                  <a:lnTo>
                    <a:pt x="288932" y="54872"/>
                  </a:lnTo>
                  <a:lnTo>
                    <a:pt x="256991" y="22769"/>
                  </a:lnTo>
                  <a:lnTo>
                    <a:pt x="225220" y="0"/>
                  </a:lnTo>
                  <a:lnTo>
                    <a:pt x="185338" y="24069"/>
                  </a:lnTo>
                  <a:lnTo>
                    <a:pt x="73819" y="42491"/>
                  </a:lnTo>
                  <a:lnTo>
                    <a:pt x="66675" y="104403"/>
                  </a:lnTo>
                  <a:lnTo>
                    <a:pt x="35719" y="168697"/>
                  </a:lnTo>
                  <a:lnTo>
                    <a:pt x="21431" y="340147"/>
                  </a:lnTo>
                  <a:lnTo>
                    <a:pt x="28575" y="385391"/>
                  </a:lnTo>
                  <a:lnTo>
                    <a:pt x="0" y="418728"/>
                  </a:lnTo>
                  <a:lnTo>
                    <a:pt x="16669" y="492547"/>
                  </a:lnTo>
                  <a:lnTo>
                    <a:pt x="59531" y="544934"/>
                  </a:lnTo>
                  <a:lnTo>
                    <a:pt x="114300" y="602084"/>
                  </a:lnTo>
                  <a:lnTo>
                    <a:pt x="183356" y="871166"/>
                  </a:lnTo>
                  <a:lnTo>
                    <a:pt x="226219" y="859259"/>
                  </a:lnTo>
                  <a:lnTo>
                    <a:pt x="264319" y="811634"/>
                  </a:lnTo>
                  <a:lnTo>
                    <a:pt x="266700" y="699716"/>
                  </a:lnTo>
                  <a:lnTo>
                    <a:pt x="352425" y="635422"/>
                  </a:lnTo>
                  <a:lnTo>
                    <a:pt x="426244" y="542553"/>
                  </a:lnTo>
                  <a:lnTo>
                    <a:pt x="390525" y="513978"/>
                  </a:lnTo>
                  <a:lnTo>
                    <a:pt x="364616" y="460873"/>
                  </a:lnTo>
                  <a:lnTo>
                    <a:pt x="336606" y="460214"/>
                  </a:lnTo>
                  <a:lnTo>
                    <a:pt x="300102" y="423523"/>
                  </a:lnTo>
                  <a:lnTo>
                    <a:pt x="255065" y="410334"/>
                  </a:lnTo>
                  <a:lnTo>
                    <a:pt x="220705" y="368353"/>
                  </a:lnTo>
                  <a:lnTo>
                    <a:pt x="253286" y="312317"/>
                  </a:lnTo>
                  <a:lnTo>
                    <a:pt x="310911" y="278587"/>
                  </a:lnTo>
                  <a:lnTo>
                    <a:pt x="332455" y="231506"/>
                  </a:lnTo>
                  <a:lnTo>
                    <a:pt x="340395" y="175333"/>
                  </a:lnTo>
                  <a:lnTo>
                    <a:pt x="295443" y="166812"/>
                  </a:lnTo>
                  <a:lnTo>
                    <a:pt x="294427" y="110801"/>
                  </a:lnTo>
                  <a:lnTo>
                    <a:pt x="342016" y="4865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69" name="Freeform 55">
              <a:extLst>
                <a:ext uri="{FF2B5EF4-FFF2-40B4-BE49-F238E27FC236}">
                  <a16:creationId xmlns:a16="http://schemas.microsoft.com/office/drawing/2014/main" id="{11CE8CE4-1851-905E-D3EB-95BB4EA7F46B}"/>
                </a:ext>
              </a:extLst>
            </p:cNvPr>
            <p:cNvSpPr>
              <a:spLocks/>
            </p:cNvSpPr>
            <p:nvPr/>
          </p:nvSpPr>
          <p:spPr bwMode="auto">
            <a:xfrm>
              <a:off x="5315779" y="3737614"/>
              <a:ext cx="387694" cy="290401"/>
            </a:xfrm>
            <a:custGeom>
              <a:avLst/>
              <a:gdLst>
                <a:gd name="T0" fmla="*/ 238 w 1600980"/>
                <a:gd name="T1" fmla="*/ 88 h 1179900"/>
                <a:gd name="T2" fmla="*/ 216 w 1600980"/>
                <a:gd name="T3" fmla="*/ 130 h 1179900"/>
                <a:gd name="T4" fmla="*/ 198 w 1600980"/>
                <a:gd name="T5" fmla="*/ 144 h 1179900"/>
                <a:gd name="T6" fmla="*/ 178 w 1600980"/>
                <a:gd name="T7" fmla="*/ 149 h 1179900"/>
                <a:gd name="T8" fmla="*/ 165 w 1600980"/>
                <a:gd name="T9" fmla="*/ 154 h 1179900"/>
                <a:gd name="T10" fmla="*/ 158 w 1600980"/>
                <a:gd name="T11" fmla="*/ 152 h 1179900"/>
                <a:gd name="T12" fmla="*/ 146 w 1600980"/>
                <a:gd name="T13" fmla="*/ 157 h 1179900"/>
                <a:gd name="T14" fmla="*/ 132 w 1600980"/>
                <a:gd name="T15" fmla="*/ 156 h 1179900"/>
                <a:gd name="T16" fmla="*/ 117 w 1600980"/>
                <a:gd name="T17" fmla="*/ 164 h 1179900"/>
                <a:gd name="T18" fmla="*/ 109 w 1600980"/>
                <a:gd name="T19" fmla="*/ 165 h 1179900"/>
                <a:gd name="T20" fmla="*/ 99 w 1600980"/>
                <a:gd name="T21" fmla="*/ 162 h 1179900"/>
                <a:gd name="T22" fmla="*/ 88 w 1600980"/>
                <a:gd name="T23" fmla="*/ 163 h 1179900"/>
                <a:gd name="T24" fmla="*/ 76 w 1600980"/>
                <a:gd name="T25" fmla="*/ 157 h 1179900"/>
                <a:gd name="T26" fmla="*/ 66 w 1600980"/>
                <a:gd name="T27" fmla="*/ 150 h 1179900"/>
                <a:gd name="T28" fmla="*/ 55 w 1600980"/>
                <a:gd name="T29" fmla="*/ 150 h 1179900"/>
                <a:gd name="T30" fmla="*/ 45 w 1600980"/>
                <a:gd name="T31" fmla="*/ 149 h 1179900"/>
                <a:gd name="T32" fmla="*/ 45 w 1600980"/>
                <a:gd name="T33" fmla="*/ 135 h 1179900"/>
                <a:gd name="T34" fmla="*/ 39 w 1600980"/>
                <a:gd name="T35" fmla="*/ 134 h 1179900"/>
                <a:gd name="T36" fmla="*/ 35 w 1600980"/>
                <a:gd name="T37" fmla="*/ 129 h 1179900"/>
                <a:gd name="T38" fmla="*/ 31 w 1600980"/>
                <a:gd name="T39" fmla="*/ 119 h 1179900"/>
                <a:gd name="T40" fmla="*/ 24 w 1600980"/>
                <a:gd name="T41" fmla="*/ 112 h 1179900"/>
                <a:gd name="T42" fmla="*/ 13 w 1600980"/>
                <a:gd name="T43" fmla="*/ 98 h 1179900"/>
                <a:gd name="T44" fmla="*/ 2 w 1600980"/>
                <a:gd name="T45" fmla="*/ 93 h 1179900"/>
                <a:gd name="T46" fmla="*/ 2 w 1600980"/>
                <a:gd name="T47" fmla="*/ 87 h 1179900"/>
                <a:gd name="T48" fmla="*/ 0 w 1600980"/>
                <a:gd name="T49" fmla="*/ 83 h 1179900"/>
                <a:gd name="T50" fmla="*/ 6 w 1600980"/>
                <a:gd name="T51" fmla="*/ 76 h 1179900"/>
                <a:gd name="T52" fmla="*/ 7 w 1600980"/>
                <a:gd name="T53" fmla="*/ 68 h 1179900"/>
                <a:gd name="T54" fmla="*/ 16 w 1600980"/>
                <a:gd name="T55" fmla="*/ 62 h 1179900"/>
                <a:gd name="T56" fmla="*/ 26 w 1600980"/>
                <a:gd name="T57" fmla="*/ 63 h 1179900"/>
                <a:gd name="T58" fmla="*/ 34 w 1600980"/>
                <a:gd name="T59" fmla="*/ 60 h 1179900"/>
                <a:gd name="T60" fmla="*/ 40 w 1600980"/>
                <a:gd name="T61" fmla="*/ 53 h 1179900"/>
                <a:gd name="T62" fmla="*/ 46 w 1600980"/>
                <a:gd name="T63" fmla="*/ 42 h 1179900"/>
                <a:gd name="T64" fmla="*/ 55 w 1600980"/>
                <a:gd name="T65" fmla="*/ 25 h 1179900"/>
                <a:gd name="T66" fmla="*/ 60 w 1600980"/>
                <a:gd name="T67" fmla="*/ 16 h 1179900"/>
                <a:gd name="T68" fmla="*/ 63 w 1600980"/>
                <a:gd name="T69" fmla="*/ 5 h 1179900"/>
                <a:gd name="T70" fmla="*/ 75 w 1600980"/>
                <a:gd name="T71" fmla="*/ 8 h 1179900"/>
                <a:gd name="T72" fmla="*/ 85 w 1600980"/>
                <a:gd name="T73" fmla="*/ 0 h 1179900"/>
                <a:gd name="T74" fmla="*/ 97 w 1600980"/>
                <a:gd name="T75" fmla="*/ 3 h 1179900"/>
                <a:gd name="T76" fmla="*/ 111 w 1600980"/>
                <a:gd name="T77" fmla="*/ 2 h 1179900"/>
                <a:gd name="T78" fmla="*/ 122 w 1600980"/>
                <a:gd name="T79" fmla="*/ 4 h 1179900"/>
                <a:gd name="T80" fmla="*/ 132 w 1600980"/>
                <a:gd name="T81" fmla="*/ 12 h 1179900"/>
                <a:gd name="T82" fmla="*/ 142 w 1600980"/>
                <a:gd name="T83" fmla="*/ 22 h 1179900"/>
                <a:gd name="T84" fmla="*/ 148 w 1600980"/>
                <a:gd name="T85" fmla="*/ 30 h 1179900"/>
                <a:gd name="T86" fmla="*/ 154 w 1600980"/>
                <a:gd name="T87" fmla="*/ 35 h 1179900"/>
                <a:gd name="T88" fmla="*/ 149 w 1600980"/>
                <a:gd name="T89" fmla="*/ 44 h 1179900"/>
                <a:gd name="T90" fmla="*/ 149 w 1600980"/>
                <a:gd name="T91" fmla="*/ 55 h 1179900"/>
                <a:gd name="T92" fmla="*/ 163 w 1600980"/>
                <a:gd name="T93" fmla="*/ 57 h 1179900"/>
                <a:gd name="T94" fmla="*/ 173 w 1600980"/>
                <a:gd name="T95" fmla="*/ 74 h 1179900"/>
                <a:gd name="T96" fmla="*/ 223 w 1600980"/>
                <a:gd name="T97" fmla="*/ 88 h 1179900"/>
                <a:gd name="T98" fmla="*/ 238 w 1600980"/>
                <a:gd name="T99" fmla="*/ 88 h 11799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00980"/>
                <a:gd name="T151" fmla="*/ 0 h 1179900"/>
                <a:gd name="T152" fmla="*/ 1600980 w 1600980"/>
                <a:gd name="T153" fmla="*/ 1179900 h 11799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00980" h="1179900">
                  <a:moveTo>
                    <a:pt x="1600980" y="630360"/>
                  </a:moveTo>
                  <a:lnTo>
                    <a:pt x="1457325" y="926306"/>
                  </a:lnTo>
                  <a:lnTo>
                    <a:pt x="1333500" y="1027509"/>
                  </a:lnTo>
                  <a:lnTo>
                    <a:pt x="1197769" y="1066800"/>
                  </a:lnTo>
                  <a:lnTo>
                    <a:pt x="1109663" y="1100137"/>
                  </a:lnTo>
                  <a:lnTo>
                    <a:pt x="1065610" y="1088231"/>
                  </a:lnTo>
                  <a:lnTo>
                    <a:pt x="984647" y="1121569"/>
                  </a:lnTo>
                  <a:lnTo>
                    <a:pt x="888615" y="1113903"/>
                  </a:lnTo>
                  <a:lnTo>
                    <a:pt x="789385" y="1169194"/>
                  </a:lnTo>
                  <a:lnTo>
                    <a:pt x="735474" y="1179900"/>
                  </a:lnTo>
                  <a:lnTo>
                    <a:pt x="664432" y="1160117"/>
                  </a:lnTo>
                  <a:lnTo>
                    <a:pt x="590643" y="1161456"/>
                  </a:lnTo>
                  <a:lnTo>
                    <a:pt x="512958" y="1120721"/>
                  </a:lnTo>
                  <a:lnTo>
                    <a:pt x="444984" y="1072786"/>
                  </a:lnTo>
                  <a:lnTo>
                    <a:pt x="371134" y="1070848"/>
                  </a:lnTo>
                  <a:lnTo>
                    <a:pt x="305991" y="1064419"/>
                  </a:lnTo>
                  <a:lnTo>
                    <a:pt x="305991" y="964406"/>
                  </a:lnTo>
                  <a:lnTo>
                    <a:pt x="264319" y="954881"/>
                  </a:lnTo>
                  <a:lnTo>
                    <a:pt x="233363" y="920353"/>
                  </a:lnTo>
                  <a:lnTo>
                    <a:pt x="207169" y="852487"/>
                  </a:lnTo>
                  <a:lnTo>
                    <a:pt x="162659" y="799286"/>
                  </a:lnTo>
                  <a:lnTo>
                    <a:pt x="90488" y="697706"/>
                  </a:lnTo>
                  <a:lnTo>
                    <a:pt x="10716" y="664369"/>
                  </a:lnTo>
                  <a:lnTo>
                    <a:pt x="15478" y="625078"/>
                  </a:lnTo>
                  <a:lnTo>
                    <a:pt x="0" y="589359"/>
                  </a:lnTo>
                  <a:lnTo>
                    <a:pt x="41672" y="546497"/>
                  </a:lnTo>
                  <a:lnTo>
                    <a:pt x="47625" y="485775"/>
                  </a:lnTo>
                  <a:lnTo>
                    <a:pt x="105966" y="445294"/>
                  </a:lnTo>
                  <a:lnTo>
                    <a:pt x="177403" y="450056"/>
                  </a:lnTo>
                  <a:lnTo>
                    <a:pt x="226219" y="426244"/>
                  </a:lnTo>
                  <a:lnTo>
                    <a:pt x="270272" y="376237"/>
                  </a:lnTo>
                  <a:lnTo>
                    <a:pt x="307182" y="302419"/>
                  </a:lnTo>
                  <a:lnTo>
                    <a:pt x="367903" y="177403"/>
                  </a:lnTo>
                  <a:lnTo>
                    <a:pt x="404813" y="116681"/>
                  </a:lnTo>
                  <a:lnTo>
                    <a:pt x="421482" y="38100"/>
                  </a:lnTo>
                  <a:lnTo>
                    <a:pt x="504825" y="59531"/>
                  </a:lnTo>
                  <a:lnTo>
                    <a:pt x="571500" y="0"/>
                  </a:lnTo>
                  <a:lnTo>
                    <a:pt x="652463" y="19050"/>
                  </a:lnTo>
                  <a:lnTo>
                    <a:pt x="750094" y="16669"/>
                  </a:lnTo>
                  <a:lnTo>
                    <a:pt x="819150" y="30956"/>
                  </a:lnTo>
                  <a:lnTo>
                    <a:pt x="890588" y="88106"/>
                  </a:lnTo>
                  <a:lnTo>
                    <a:pt x="952500" y="157162"/>
                  </a:lnTo>
                  <a:lnTo>
                    <a:pt x="997744" y="211931"/>
                  </a:lnTo>
                  <a:lnTo>
                    <a:pt x="1038225" y="250031"/>
                  </a:lnTo>
                  <a:lnTo>
                    <a:pt x="1000125" y="316706"/>
                  </a:lnTo>
                  <a:lnTo>
                    <a:pt x="1002507" y="392906"/>
                  </a:lnTo>
                  <a:lnTo>
                    <a:pt x="1095375" y="409575"/>
                  </a:lnTo>
                  <a:lnTo>
                    <a:pt x="1166489" y="525860"/>
                  </a:lnTo>
                  <a:lnTo>
                    <a:pt x="1503876" y="628845"/>
                  </a:lnTo>
                  <a:lnTo>
                    <a:pt x="1600980" y="63036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0" name="Freeform 56">
              <a:extLst>
                <a:ext uri="{FF2B5EF4-FFF2-40B4-BE49-F238E27FC236}">
                  <a16:creationId xmlns:a16="http://schemas.microsoft.com/office/drawing/2014/main" id="{252E0D83-B82D-926D-4BBF-35FE67E304F7}"/>
                </a:ext>
              </a:extLst>
            </p:cNvPr>
            <p:cNvSpPr>
              <a:spLocks/>
            </p:cNvSpPr>
            <p:nvPr/>
          </p:nvSpPr>
          <p:spPr bwMode="auto">
            <a:xfrm>
              <a:off x="5535397" y="3788319"/>
              <a:ext cx="266679" cy="366458"/>
            </a:xfrm>
            <a:custGeom>
              <a:avLst/>
              <a:gdLst>
                <a:gd name="T0" fmla="*/ 33 w 1107281"/>
                <a:gd name="T1" fmla="*/ 21 h 1476375"/>
                <a:gd name="T2" fmla="*/ 40 w 1107281"/>
                <a:gd name="T3" fmla="*/ 27 h 1476375"/>
                <a:gd name="T4" fmla="*/ 50 w 1107281"/>
                <a:gd name="T5" fmla="*/ 36 h 1476375"/>
                <a:gd name="T6" fmla="*/ 63 w 1107281"/>
                <a:gd name="T7" fmla="*/ 33 h 1476375"/>
                <a:gd name="T8" fmla="*/ 75 w 1107281"/>
                <a:gd name="T9" fmla="*/ 30 h 1476375"/>
                <a:gd name="T10" fmla="*/ 90 w 1107281"/>
                <a:gd name="T11" fmla="*/ 27 h 1476375"/>
                <a:gd name="T12" fmla="*/ 104 w 1107281"/>
                <a:gd name="T13" fmla="*/ 23 h 1476375"/>
                <a:gd name="T14" fmla="*/ 118 w 1107281"/>
                <a:gd name="T15" fmla="*/ 21 h 1476375"/>
                <a:gd name="T16" fmla="*/ 131 w 1107281"/>
                <a:gd name="T17" fmla="*/ 22 h 1476375"/>
                <a:gd name="T18" fmla="*/ 142 w 1107281"/>
                <a:gd name="T19" fmla="*/ 16 h 1476375"/>
                <a:gd name="T20" fmla="*/ 149 w 1107281"/>
                <a:gd name="T21" fmla="*/ 8 h 1476375"/>
                <a:gd name="T22" fmla="*/ 155 w 1107281"/>
                <a:gd name="T23" fmla="*/ 0 h 1476375"/>
                <a:gd name="T24" fmla="*/ 160 w 1107281"/>
                <a:gd name="T25" fmla="*/ 2 h 1476375"/>
                <a:gd name="T26" fmla="*/ 159 w 1107281"/>
                <a:gd name="T27" fmla="*/ 11 h 1476375"/>
                <a:gd name="T28" fmla="*/ 158 w 1107281"/>
                <a:gd name="T29" fmla="*/ 25 h 1476375"/>
                <a:gd name="T30" fmla="*/ 155 w 1107281"/>
                <a:gd name="T31" fmla="*/ 36 h 1476375"/>
                <a:gd name="T32" fmla="*/ 149 w 1107281"/>
                <a:gd name="T33" fmla="*/ 53 h 1476375"/>
                <a:gd name="T34" fmla="*/ 140 w 1107281"/>
                <a:gd name="T35" fmla="*/ 68 h 1476375"/>
                <a:gd name="T36" fmla="*/ 132 w 1107281"/>
                <a:gd name="T37" fmla="*/ 88 h 1476375"/>
                <a:gd name="T38" fmla="*/ 121 w 1107281"/>
                <a:gd name="T39" fmla="*/ 109 h 1476375"/>
                <a:gd name="T40" fmla="*/ 105 w 1107281"/>
                <a:gd name="T41" fmla="*/ 131 h 1476375"/>
                <a:gd name="T42" fmla="*/ 85 w 1107281"/>
                <a:gd name="T43" fmla="*/ 149 h 1476375"/>
                <a:gd name="T44" fmla="*/ 64 w 1107281"/>
                <a:gd name="T45" fmla="*/ 168 h 1476375"/>
                <a:gd name="T46" fmla="*/ 47 w 1107281"/>
                <a:gd name="T47" fmla="*/ 178 h 1476375"/>
                <a:gd name="T48" fmla="*/ 30 w 1107281"/>
                <a:gd name="T49" fmla="*/ 198 h 1476375"/>
                <a:gd name="T50" fmla="*/ 27 w 1107281"/>
                <a:gd name="T51" fmla="*/ 216 h 1476375"/>
                <a:gd name="T52" fmla="*/ 14 w 1107281"/>
                <a:gd name="T53" fmla="*/ 212 h 1476375"/>
                <a:gd name="T54" fmla="*/ 9 w 1107281"/>
                <a:gd name="T55" fmla="*/ 203 h 1476375"/>
                <a:gd name="T56" fmla="*/ 0 w 1107281"/>
                <a:gd name="T57" fmla="*/ 155 h 1476375"/>
                <a:gd name="T58" fmla="*/ 11 w 1107281"/>
                <a:gd name="T59" fmla="*/ 134 h 1476375"/>
                <a:gd name="T60" fmla="*/ 23 w 1107281"/>
                <a:gd name="T61" fmla="*/ 128 h 1476375"/>
                <a:gd name="T62" fmla="*/ 29 w 1107281"/>
                <a:gd name="T63" fmla="*/ 130 h 1476375"/>
                <a:gd name="T64" fmla="*/ 42 w 1107281"/>
                <a:gd name="T65" fmla="*/ 125 h 1476375"/>
                <a:gd name="T66" fmla="*/ 61 w 1107281"/>
                <a:gd name="T67" fmla="*/ 120 h 1476375"/>
                <a:gd name="T68" fmla="*/ 80 w 1107281"/>
                <a:gd name="T69" fmla="*/ 104 h 1476375"/>
                <a:gd name="T70" fmla="*/ 100 w 1107281"/>
                <a:gd name="T71" fmla="*/ 62 h 1476375"/>
                <a:gd name="T72" fmla="*/ 86 w 1107281"/>
                <a:gd name="T73" fmla="*/ 61 h 1476375"/>
                <a:gd name="T74" fmla="*/ 38 w 1107281"/>
                <a:gd name="T75" fmla="*/ 47 h 1476375"/>
                <a:gd name="T76" fmla="*/ 27 w 1107281"/>
                <a:gd name="T77" fmla="*/ 30 h 1476375"/>
                <a:gd name="T78" fmla="*/ 33 w 1107281"/>
                <a:gd name="T79" fmla="*/ 21 h 14763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07281"/>
                <a:gd name="T121" fmla="*/ 0 h 1476375"/>
                <a:gd name="T122" fmla="*/ 1107281 w 1107281"/>
                <a:gd name="T123" fmla="*/ 1476375 h 147637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07281" h="1476375">
                  <a:moveTo>
                    <a:pt x="228600" y="140494"/>
                  </a:moveTo>
                  <a:lnTo>
                    <a:pt x="273843" y="183356"/>
                  </a:lnTo>
                  <a:lnTo>
                    <a:pt x="347662" y="247650"/>
                  </a:lnTo>
                  <a:lnTo>
                    <a:pt x="438150" y="226219"/>
                  </a:lnTo>
                  <a:lnTo>
                    <a:pt x="516731" y="207169"/>
                  </a:lnTo>
                  <a:lnTo>
                    <a:pt x="619125" y="180975"/>
                  </a:lnTo>
                  <a:lnTo>
                    <a:pt x="719137" y="157162"/>
                  </a:lnTo>
                  <a:lnTo>
                    <a:pt x="814387" y="145256"/>
                  </a:lnTo>
                  <a:lnTo>
                    <a:pt x="907256" y="147637"/>
                  </a:lnTo>
                  <a:lnTo>
                    <a:pt x="985837" y="107156"/>
                  </a:lnTo>
                  <a:lnTo>
                    <a:pt x="1031081" y="54769"/>
                  </a:lnTo>
                  <a:lnTo>
                    <a:pt x="1071562" y="0"/>
                  </a:lnTo>
                  <a:lnTo>
                    <a:pt x="1107281" y="14287"/>
                  </a:lnTo>
                  <a:lnTo>
                    <a:pt x="1102518" y="73819"/>
                  </a:lnTo>
                  <a:lnTo>
                    <a:pt x="1092993" y="173831"/>
                  </a:lnTo>
                  <a:lnTo>
                    <a:pt x="1071562" y="247650"/>
                  </a:lnTo>
                  <a:lnTo>
                    <a:pt x="1031081" y="364331"/>
                  </a:lnTo>
                  <a:lnTo>
                    <a:pt x="966787" y="464344"/>
                  </a:lnTo>
                  <a:lnTo>
                    <a:pt x="912018" y="602456"/>
                  </a:lnTo>
                  <a:lnTo>
                    <a:pt x="835818" y="742950"/>
                  </a:lnTo>
                  <a:lnTo>
                    <a:pt x="728662" y="895350"/>
                  </a:lnTo>
                  <a:lnTo>
                    <a:pt x="588494" y="1020926"/>
                  </a:lnTo>
                  <a:lnTo>
                    <a:pt x="443060" y="1147718"/>
                  </a:lnTo>
                  <a:lnTo>
                    <a:pt x="326843" y="1219259"/>
                  </a:lnTo>
                  <a:lnTo>
                    <a:pt x="204787" y="1354931"/>
                  </a:lnTo>
                  <a:lnTo>
                    <a:pt x="185737" y="1476375"/>
                  </a:lnTo>
                  <a:lnTo>
                    <a:pt x="97631" y="1452562"/>
                  </a:lnTo>
                  <a:lnTo>
                    <a:pt x="61912" y="1388269"/>
                  </a:lnTo>
                  <a:lnTo>
                    <a:pt x="0" y="1064419"/>
                  </a:lnTo>
                  <a:lnTo>
                    <a:pt x="76774" y="914886"/>
                  </a:lnTo>
                  <a:lnTo>
                    <a:pt x="157237" y="877533"/>
                  </a:lnTo>
                  <a:lnTo>
                    <a:pt x="202406" y="891778"/>
                  </a:lnTo>
                  <a:lnTo>
                    <a:pt x="294084" y="854869"/>
                  </a:lnTo>
                  <a:lnTo>
                    <a:pt x="421481" y="821531"/>
                  </a:lnTo>
                  <a:lnTo>
                    <a:pt x="550068" y="715565"/>
                  </a:lnTo>
                  <a:lnTo>
                    <a:pt x="695325" y="421481"/>
                  </a:lnTo>
                  <a:lnTo>
                    <a:pt x="598884" y="419100"/>
                  </a:lnTo>
                  <a:lnTo>
                    <a:pt x="260746" y="319087"/>
                  </a:lnTo>
                  <a:lnTo>
                    <a:pt x="190500" y="202406"/>
                  </a:lnTo>
                  <a:lnTo>
                    <a:pt x="228600" y="14049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1" name="Freeform 57">
              <a:extLst>
                <a:ext uri="{FF2B5EF4-FFF2-40B4-BE49-F238E27FC236}">
                  <a16:creationId xmlns:a16="http://schemas.microsoft.com/office/drawing/2014/main" id="{0553FE46-C484-8838-B961-D749E21337C8}"/>
                </a:ext>
              </a:extLst>
            </p:cNvPr>
            <p:cNvSpPr>
              <a:spLocks/>
            </p:cNvSpPr>
            <p:nvPr/>
          </p:nvSpPr>
          <p:spPr bwMode="auto">
            <a:xfrm>
              <a:off x="4063053" y="3368852"/>
              <a:ext cx="203933" cy="145200"/>
            </a:xfrm>
            <a:custGeom>
              <a:avLst/>
              <a:gdLst>
                <a:gd name="T0" fmla="*/ 89 w 846535"/>
                <a:gd name="T1" fmla="*/ 0 h 582068"/>
                <a:gd name="T2" fmla="*/ 63 w 846535"/>
                <a:gd name="T3" fmla="*/ 0 h 582068"/>
                <a:gd name="T4" fmla="*/ 48 w 846535"/>
                <a:gd name="T5" fmla="*/ 4 h 582068"/>
                <a:gd name="T6" fmla="*/ 47 w 846535"/>
                <a:gd name="T7" fmla="*/ 16 h 582068"/>
                <a:gd name="T8" fmla="*/ 37 w 846535"/>
                <a:gd name="T9" fmla="*/ 26 h 582068"/>
                <a:gd name="T10" fmla="*/ 27 w 846535"/>
                <a:gd name="T11" fmla="*/ 37 h 582068"/>
                <a:gd name="T12" fmla="*/ 26 w 846535"/>
                <a:gd name="T13" fmla="*/ 53 h 582068"/>
                <a:gd name="T14" fmla="*/ 14 w 846535"/>
                <a:gd name="T15" fmla="*/ 63 h 582068"/>
                <a:gd name="T16" fmla="*/ 9 w 846535"/>
                <a:gd name="T17" fmla="*/ 77 h 582068"/>
                <a:gd name="T18" fmla="*/ 0 w 846535"/>
                <a:gd name="T19" fmla="*/ 86 h 582068"/>
                <a:gd name="T20" fmla="*/ 55 w 846535"/>
                <a:gd name="T21" fmla="*/ 87 h 582068"/>
                <a:gd name="T22" fmla="*/ 69 w 846535"/>
                <a:gd name="T23" fmla="*/ 75 h 582068"/>
                <a:gd name="T24" fmla="*/ 72 w 846535"/>
                <a:gd name="T25" fmla="*/ 50 h 582068"/>
                <a:gd name="T26" fmla="*/ 71 w 846535"/>
                <a:gd name="T27" fmla="*/ 31 h 582068"/>
                <a:gd name="T28" fmla="*/ 117 w 846535"/>
                <a:gd name="T29" fmla="*/ 31 h 582068"/>
                <a:gd name="T30" fmla="*/ 123 w 846535"/>
                <a:gd name="T31" fmla="*/ 15 h 582068"/>
                <a:gd name="T32" fmla="*/ 122 w 846535"/>
                <a:gd name="T33" fmla="*/ 1 h 582068"/>
                <a:gd name="T34" fmla="*/ 89 w 846535"/>
                <a:gd name="T35" fmla="*/ 0 h 5820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6535"/>
                <a:gd name="T55" fmla="*/ 0 h 582068"/>
                <a:gd name="T56" fmla="*/ 846535 w 846535"/>
                <a:gd name="T57" fmla="*/ 582068 h 58206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6535" h="582068">
                  <a:moveTo>
                    <a:pt x="611646" y="0"/>
                  </a:moveTo>
                  <a:lnTo>
                    <a:pt x="438150" y="1043"/>
                  </a:lnTo>
                  <a:lnTo>
                    <a:pt x="335421" y="28575"/>
                  </a:lnTo>
                  <a:lnTo>
                    <a:pt x="323850" y="105818"/>
                  </a:lnTo>
                  <a:lnTo>
                    <a:pt x="254458" y="173038"/>
                  </a:lnTo>
                  <a:lnTo>
                    <a:pt x="185738" y="248693"/>
                  </a:lnTo>
                  <a:lnTo>
                    <a:pt x="180975" y="353468"/>
                  </a:lnTo>
                  <a:lnTo>
                    <a:pt x="97632" y="420143"/>
                  </a:lnTo>
                  <a:lnTo>
                    <a:pt x="64294" y="517774"/>
                  </a:lnTo>
                  <a:lnTo>
                    <a:pt x="0" y="574924"/>
                  </a:lnTo>
                  <a:lnTo>
                    <a:pt x="381000" y="582068"/>
                  </a:lnTo>
                  <a:lnTo>
                    <a:pt x="473869" y="498724"/>
                  </a:lnTo>
                  <a:lnTo>
                    <a:pt x="494171" y="334963"/>
                  </a:lnTo>
                  <a:lnTo>
                    <a:pt x="490538" y="209402"/>
                  </a:lnTo>
                  <a:lnTo>
                    <a:pt x="804863" y="205830"/>
                  </a:lnTo>
                  <a:lnTo>
                    <a:pt x="846535" y="101055"/>
                  </a:lnTo>
                  <a:lnTo>
                    <a:pt x="840582" y="4615"/>
                  </a:lnTo>
                  <a:lnTo>
                    <a:pt x="611646"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2" name="Freeform 59">
              <a:extLst>
                <a:ext uri="{FF2B5EF4-FFF2-40B4-BE49-F238E27FC236}">
                  <a16:creationId xmlns:a16="http://schemas.microsoft.com/office/drawing/2014/main" id="{9A690A57-FECD-8F40-C06A-8FA694D2C09D}"/>
                </a:ext>
              </a:extLst>
            </p:cNvPr>
            <p:cNvSpPr>
              <a:spLocks/>
            </p:cNvSpPr>
            <p:nvPr/>
          </p:nvSpPr>
          <p:spPr bwMode="auto">
            <a:xfrm>
              <a:off x="5584699" y="4445178"/>
              <a:ext cx="186004" cy="389504"/>
            </a:xfrm>
            <a:custGeom>
              <a:avLst/>
              <a:gdLst>
                <a:gd name="T0" fmla="*/ 91 w 771858"/>
                <a:gd name="T1" fmla="*/ 9 h 1571091"/>
                <a:gd name="T2" fmla="*/ 90 w 771858"/>
                <a:gd name="T3" fmla="*/ 19 h 1571091"/>
                <a:gd name="T4" fmla="*/ 86 w 771858"/>
                <a:gd name="T5" fmla="*/ 25 h 1571091"/>
                <a:gd name="T6" fmla="*/ 82 w 771858"/>
                <a:gd name="T7" fmla="*/ 27 h 1571091"/>
                <a:gd name="T8" fmla="*/ 76 w 771858"/>
                <a:gd name="T9" fmla="*/ 26 h 1571091"/>
                <a:gd name="T10" fmla="*/ 73 w 771858"/>
                <a:gd name="T11" fmla="*/ 30 h 1571091"/>
                <a:gd name="T12" fmla="*/ 77 w 771858"/>
                <a:gd name="T13" fmla="*/ 39 h 1571091"/>
                <a:gd name="T14" fmla="*/ 70 w 771858"/>
                <a:gd name="T15" fmla="*/ 41 h 1571091"/>
                <a:gd name="T16" fmla="*/ 72 w 771858"/>
                <a:gd name="T17" fmla="*/ 47 h 1571091"/>
                <a:gd name="T18" fmla="*/ 65 w 771858"/>
                <a:gd name="T19" fmla="*/ 52 h 1571091"/>
                <a:gd name="T20" fmla="*/ 62 w 771858"/>
                <a:gd name="T21" fmla="*/ 50 h 1571091"/>
                <a:gd name="T22" fmla="*/ 56 w 771858"/>
                <a:gd name="T23" fmla="*/ 56 h 1571091"/>
                <a:gd name="T24" fmla="*/ 41 w 771858"/>
                <a:gd name="T25" fmla="*/ 65 h 1571091"/>
                <a:gd name="T26" fmla="*/ 32 w 771858"/>
                <a:gd name="T27" fmla="*/ 68 h 1571091"/>
                <a:gd name="T28" fmla="*/ 28 w 771858"/>
                <a:gd name="T29" fmla="*/ 69 h 1571091"/>
                <a:gd name="T30" fmla="*/ 23 w 771858"/>
                <a:gd name="T31" fmla="*/ 69 h 1571091"/>
                <a:gd name="T32" fmla="*/ 18 w 771858"/>
                <a:gd name="T33" fmla="*/ 80 h 1571091"/>
                <a:gd name="T34" fmla="*/ 15 w 771858"/>
                <a:gd name="T35" fmla="*/ 88 h 1571091"/>
                <a:gd name="T36" fmla="*/ 18 w 771858"/>
                <a:gd name="T37" fmla="*/ 101 h 1571091"/>
                <a:gd name="T38" fmla="*/ 19 w 771858"/>
                <a:gd name="T39" fmla="*/ 113 h 1571091"/>
                <a:gd name="T40" fmla="*/ 16 w 771858"/>
                <a:gd name="T41" fmla="*/ 125 h 1571091"/>
                <a:gd name="T42" fmla="*/ 15 w 771858"/>
                <a:gd name="T43" fmla="*/ 134 h 1571091"/>
                <a:gd name="T44" fmla="*/ 7 w 771858"/>
                <a:gd name="T45" fmla="*/ 148 h 1571091"/>
                <a:gd name="T46" fmla="*/ 0 w 771858"/>
                <a:gd name="T47" fmla="*/ 157 h 1571091"/>
                <a:gd name="T48" fmla="*/ 4 w 771858"/>
                <a:gd name="T49" fmla="*/ 163 h 1571091"/>
                <a:gd name="T50" fmla="*/ 4 w 771858"/>
                <a:gd name="T51" fmla="*/ 172 h 1571091"/>
                <a:gd name="T52" fmla="*/ 6 w 771858"/>
                <a:gd name="T53" fmla="*/ 178 h 1571091"/>
                <a:gd name="T54" fmla="*/ 6 w 771858"/>
                <a:gd name="T55" fmla="*/ 186 h 1571091"/>
                <a:gd name="T56" fmla="*/ 11 w 771858"/>
                <a:gd name="T57" fmla="*/ 198 h 1571091"/>
                <a:gd name="T58" fmla="*/ 16 w 771858"/>
                <a:gd name="T59" fmla="*/ 206 h 1571091"/>
                <a:gd name="T60" fmla="*/ 13 w 771858"/>
                <a:gd name="T61" fmla="*/ 213 h 1571091"/>
                <a:gd name="T62" fmla="*/ 11 w 771858"/>
                <a:gd name="T63" fmla="*/ 218 h 1571091"/>
                <a:gd name="T64" fmla="*/ 10 w 771858"/>
                <a:gd name="T65" fmla="*/ 222 h 1571091"/>
                <a:gd name="T66" fmla="*/ 16 w 771858"/>
                <a:gd name="T67" fmla="*/ 228 h 1571091"/>
                <a:gd name="T68" fmla="*/ 26 w 771858"/>
                <a:gd name="T69" fmla="*/ 224 h 1571091"/>
                <a:gd name="T70" fmla="*/ 36 w 771858"/>
                <a:gd name="T71" fmla="*/ 221 h 1571091"/>
                <a:gd name="T72" fmla="*/ 45 w 771858"/>
                <a:gd name="T73" fmla="*/ 218 h 1571091"/>
                <a:gd name="T74" fmla="*/ 55 w 771858"/>
                <a:gd name="T75" fmla="*/ 213 h 1571091"/>
                <a:gd name="T76" fmla="*/ 60 w 771858"/>
                <a:gd name="T77" fmla="*/ 207 h 1571091"/>
                <a:gd name="T78" fmla="*/ 72 w 771858"/>
                <a:gd name="T79" fmla="*/ 186 h 1571091"/>
                <a:gd name="T80" fmla="*/ 81 w 771858"/>
                <a:gd name="T81" fmla="*/ 147 h 1571091"/>
                <a:gd name="T82" fmla="*/ 84 w 771858"/>
                <a:gd name="T83" fmla="*/ 123 h 1571091"/>
                <a:gd name="T84" fmla="*/ 91 w 771858"/>
                <a:gd name="T85" fmla="*/ 107 h 1571091"/>
                <a:gd name="T86" fmla="*/ 99 w 771858"/>
                <a:gd name="T87" fmla="*/ 96 h 1571091"/>
                <a:gd name="T88" fmla="*/ 101 w 771858"/>
                <a:gd name="T89" fmla="*/ 87 h 1571091"/>
                <a:gd name="T90" fmla="*/ 99 w 771858"/>
                <a:gd name="T91" fmla="*/ 80 h 1571091"/>
                <a:gd name="T92" fmla="*/ 101 w 771858"/>
                <a:gd name="T93" fmla="*/ 75 h 1571091"/>
                <a:gd name="T94" fmla="*/ 96 w 771858"/>
                <a:gd name="T95" fmla="*/ 66 h 1571091"/>
                <a:gd name="T96" fmla="*/ 97 w 771858"/>
                <a:gd name="T97" fmla="*/ 61 h 1571091"/>
                <a:gd name="T98" fmla="*/ 102 w 771858"/>
                <a:gd name="T99" fmla="*/ 59 h 1571091"/>
                <a:gd name="T100" fmla="*/ 104 w 771858"/>
                <a:gd name="T101" fmla="*/ 64 h 1571091"/>
                <a:gd name="T102" fmla="*/ 105 w 771858"/>
                <a:gd name="T103" fmla="*/ 67 h 1571091"/>
                <a:gd name="T104" fmla="*/ 109 w 771858"/>
                <a:gd name="T105" fmla="*/ 63 h 1571091"/>
                <a:gd name="T106" fmla="*/ 112 w 771858"/>
                <a:gd name="T107" fmla="*/ 57 h 1571091"/>
                <a:gd name="T108" fmla="*/ 108 w 771858"/>
                <a:gd name="T109" fmla="*/ 50 h 1571091"/>
                <a:gd name="T110" fmla="*/ 108 w 771858"/>
                <a:gd name="T111" fmla="*/ 39 h 1571091"/>
                <a:gd name="T112" fmla="*/ 106 w 771858"/>
                <a:gd name="T113" fmla="*/ 18 h 1571091"/>
                <a:gd name="T114" fmla="*/ 101 w 771858"/>
                <a:gd name="T115" fmla="*/ 10 h 1571091"/>
                <a:gd name="T116" fmla="*/ 98 w 771858"/>
                <a:gd name="T117" fmla="*/ 0 h 1571091"/>
                <a:gd name="T118" fmla="*/ 94 w 771858"/>
                <a:gd name="T119" fmla="*/ 3 h 1571091"/>
                <a:gd name="T120" fmla="*/ 91 w 771858"/>
                <a:gd name="T121" fmla="*/ 9 h 15710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1858"/>
                <a:gd name="T184" fmla="*/ 0 h 1571091"/>
                <a:gd name="T185" fmla="*/ 771858 w 771858"/>
                <a:gd name="T186" fmla="*/ 1571091 h 15710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1858" h="1571091">
                  <a:moveTo>
                    <a:pt x="625523" y="60989"/>
                  </a:moveTo>
                  <a:lnTo>
                    <a:pt x="623220" y="132316"/>
                  </a:lnTo>
                  <a:lnTo>
                    <a:pt x="595126" y="170344"/>
                  </a:lnTo>
                  <a:lnTo>
                    <a:pt x="563095" y="189685"/>
                  </a:lnTo>
                  <a:lnTo>
                    <a:pt x="523325" y="179151"/>
                  </a:lnTo>
                  <a:lnTo>
                    <a:pt x="505886" y="209483"/>
                  </a:lnTo>
                  <a:lnTo>
                    <a:pt x="532084" y="265284"/>
                  </a:lnTo>
                  <a:lnTo>
                    <a:pt x="482001" y="281201"/>
                  </a:lnTo>
                  <a:lnTo>
                    <a:pt x="497205" y="325947"/>
                  </a:lnTo>
                  <a:lnTo>
                    <a:pt x="451059" y="360551"/>
                  </a:lnTo>
                  <a:lnTo>
                    <a:pt x="425609" y="346006"/>
                  </a:lnTo>
                  <a:lnTo>
                    <a:pt x="389023" y="387002"/>
                  </a:lnTo>
                  <a:lnTo>
                    <a:pt x="283505" y="446133"/>
                  </a:lnTo>
                  <a:lnTo>
                    <a:pt x="219103" y="466060"/>
                  </a:lnTo>
                  <a:lnTo>
                    <a:pt x="194129" y="477769"/>
                  </a:lnTo>
                  <a:lnTo>
                    <a:pt x="154988" y="477073"/>
                  </a:lnTo>
                  <a:lnTo>
                    <a:pt x="127083" y="550271"/>
                  </a:lnTo>
                  <a:lnTo>
                    <a:pt x="102204" y="609409"/>
                  </a:lnTo>
                  <a:lnTo>
                    <a:pt x="121254" y="695134"/>
                  </a:lnTo>
                  <a:lnTo>
                    <a:pt x="133160" y="776097"/>
                  </a:lnTo>
                  <a:lnTo>
                    <a:pt x="107486" y="858278"/>
                  </a:lnTo>
                  <a:lnTo>
                    <a:pt x="100991" y="921709"/>
                  </a:lnTo>
                  <a:lnTo>
                    <a:pt x="49198" y="1016914"/>
                  </a:lnTo>
                  <a:lnTo>
                    <a:pt x="0" y="1081588"/>
                  </a:lnTo>
                  <a:lnTo>
                    <a:pt x="26004" y="1123759"/>
                  </a:lnTo>
                  <a:lnTo>
                    <a:pt x="30766" y="1188053"/>
                  </a:lnTo>
                  <a:lnTo>
                    <a:pt x="40291" y="1228534"/>
                  </a:lnTo>
                  <a:lnTo>
                    <a:pt x="45054" y="1280922"/>
                  </a:lnTo>
                  <a:lnTo>
                    <a:pt x="73629" y="1361884"/>
                  </a:lnTo>
                  <a:lnTo>
                    <a:pt x="111729" y="1421415"/>
                  </a:lnTo>
                  <a:lnTo>
                    <a:pt x="90298" y="1464278"/>
                  </a:lnTo>
                  <a:lnTo>
                    <a:pt x="73629" y="1502378"/>
                  </a:lnTo>
                  <a:lnTo>
                    <a:pt x="69315" y="1530552"/>
                  </a:lnTo>
                  <a:lnTo>
                    <a:pt x="109628" y="1571091"/>
                  </a:lnTo>
                  <a:lnTo>
                    <a:pt x="181020" y="1539780"/>
                  </a:lnTo>
                  <a:lnTo>
                    <a:pt x="248128" y="1520272"/>
                  </a:lnTo>
                  <a:lnTo>
                    <a:pt x="309825" y="1499924"/>
                  </a:lnTo>
                  <a:lnTo>
                    <a:pt x="378429" y="1464278"/>
                  </a:lnTo>
                  <a:lnTo>
                    <a:pt x="411766" y="1426178"/>
                  </a:lnTo>
                  <a:lnTo>
                    <a:pt x="497491" y="1278540"/>
                  </a:lnTo>
                  <a:lnTo>
                    <a:pt x="561785" y="1014222"/>
                  </a:lnTo>
                  <a:lnTo>
                    <a:pt x="578603" y="845977"/>
                  </a:lnTo>
                  <a:lnTo>
                    <a:pt x="630582" y="736230"/>
                  </a:lnTo>
                  <a:lnTo>
                    <a:pt x="685610" y="664178"/>
                  </a:lnTo>
                  <a:lnTo>
                    <a:pt x="697516" y="599884"/>
                  </a:lnTo>
                  <a:lnTo>
                    <a:pt x="681131" y="547720"/>
                  </a:lnTo>
                  <a:lnTo>
                    <a:pt x="694906" y="513704"/>
                  </a:lnTo>
                  <a:lnTo>
                    <a:pt x="663235" y="453780"/>
                  </a:lnTo>
                  <a:lnTo>
                    <a:pt x="668026" y="420395"/>
                  </a:lnTo>
                  <a:lnTo>
                    <a:pt x="700126" y="404805"/>
                  </a:lnTo>
                  <a:lnTo>
                    <a:pt x="715125" y="438300"/>
                  </a:lnTo>
                  <a:lnTo>
                    <a:pt x="726324" y="460607"/>
                  </a:lnTo>
                  <a:lnTo>
                    <a:pt x="754622" y="433831"/>
                  </a:lnTo>
                  <a:lnTo>
                    <a:pt x="771858" y="392248"/>
                  </a:lnTo>
                  <a:lnTo>
                    <a:pt x="745795" y="343947"/>
                  </a:lnTo>
                  <a:lnTo>
                    <a:pt x="744366" y="265183"/>
                  </a:lnTo>
                  <a:lnTo>
                    <a:pt x="731057" y="126607"/>
                  </a:lnTo>
                  <a:lnTo>
                    <a:pt x="697596" y="67185"/>
                  </a:lnTo>
                  <a:lnTo>
                    <a:pt x="678387" y="0"/>
                  </a:lnTo>
                  <a:lnTo>
                    <a:pt x="646424" y="23091"/>
                  </a:lnTo>
                  <a:lnTo>
                    <a:pt x="625523" y="60989"/>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3" name="Freeform 60">
              <a:extLst>
                <a:ext uri="{FF2B5EF4-FFF2-40B4-BE49-F238E27FC236}">
                  <a16:creationId xmlns:a16="http://schemas.microsoft.com/office/drawing/2014/main" id="{B011CF6D-4602-0C40-8CFF-3347B1454C1C}"/>
                </a:ext>
              </a:extLst>
            </p:cNvPr>
            <p:cNvSpPr>
              <a:spLocks/>
            </p:cNvSpPr>
            <p:nvPr/>
          </p:nvSpPr>
          <p:spPr bwMode="auto">
            <a:xfrm>
              <a:off x="4345421" y="3733005"/>
              <a:ext cx="212896" cy="142895"/>
            </a:xfrm>
            <a:custGeom>
              <a:avLst/>
              <a:gdLst>
                <a:gd name="T0" fmla="*/ 89 w 884634"/>
                <a:gd name="T1" fmla="*/ 0 h 577358"/>
                <a:gd name="T2" fmla="*/ 70 w 884634"/>
                <a:gd name="T3" fmla="*/ 1 h 577358"/>
                <a:gd name="T4" fmla="*/ 56 w 884634"/>
                <a:gd name="T5" fmla="*/ 6 h 577358"/>
                <a:gd name="T6" fmla="*/ 47 w 884634"/>
                <a:gd name="T7" fmla="*/ 10 h 577358"/>
                <a:gd name="T8" fmla="*/ 40 w 884634"/>
                <a:gd name="T9" fmla="*/ 17 h 577358"/>
                <a:gd name="T10" fmla="*/ 32 w 884634"/>
                <a:gd name="T11" fmla="*/ 22 h 577358"/>
                <a:gd name="T12" fmla="*/ 17 w 884634"/>
                <a:gd name="T13" fmla="*/ 33 h 577358"/>
                <a:gd name="T14" fmla="*/ 19 w 884634"/>
                <a:gd name="T15" fmla="*/ 40 h 577358"/>
                <a:gd name="T16" fmla="*/ 13 w 884634"/>
                <a:gd name="T17" fmla="*/ 42 h 577358"/>
                <a:gd name="T18" fmla="*/ 6 w 884634"/>
                <a:gd name="T19" fmla="*/ 47 h 577358"/>
                <a:gd name="T20" fmla="*/ 0 w 884634"/>
                <a:gd name="T21" fmla="*/ 54 h 577358"/>
                <a:gd name="T22" fmla="*/ 2 w 884634"/>
                <a:gd name="T23" fmla="*/ 63 h 577358"/>
                <a:gd name="T24" fmla="*/ 1 w 884634"/>
                <a:gd name="T25" fmla="*/ 72 h 577358"/>
                <a:gd name="T26" fmla="*/ 7 w 884634"/>
                <a:gd name="T27" fmla="*/ 79 h 577358"/>
                <a:gd name="T28" fmla="*/ 17 w 884634"/>
                <a:gd name="T29" fmla="*/ 83 h 577358"/>
                <a:gd name="T30" fmla="*/ 31 w 884634"/>
                <a:gd name="T31" fmla="*/ 79 h 577358"/>
                <a:gd name="T32" fmla="*/ 39 w 884634"/>
                <a:gd name="T33" fmla="*/ 82 h 577358"/>
                <a:gd name="T34" fmla="*/ 41 w 884634"/>
                <a:gd name="T35" fmla="*/ 73 h 577358"/>
                <a:gd name="T36" fmla="*/ 40 w 884634"/>
                <a:gd name="T37" fmla="*/ 62 h 577358"/>
                <a:gd name="T38" fmla="*/ 48 w 884634"/>
                <a:gd name="T39" fmla="*/ 62 h 577358"/>
                <a:gd name="T40" fmla="*/ 64 w 884634"/>
                <a:gd name="T41" fmla="*/ 61 h 577358"/>
                <a:gd name="T42" fmla="*/ 82 w 884634"/>
                <a:gd name="T43" fmla="*/ 61 h 577358"/>
                <a:gd name="T44" fmla="*/ 90 w 884634"/>
                <a:gd name="T45" fmla="*/ 65 h 577358"/>
                <a:gd name="T46" fmla="*/ 98 w 884634"/>
                <a:gd name="T47" fmla="*/ 62 h 577358"/>
                <a:gd name="T48" fmla="*/ 104 w 884634"/>
                <a:gd name="T49" fmla="*/ 58 h 577358"/>
                <a:gd name="T50" fmla="*/ 115 w 884634"/>
                <a:gd name="T51" fmla="*/ 58 h 577358"/>
                <a:gd name="T52" fmla="*/ 119 w 884634"/>
                <a:gd name="T53" fmla="*/ 49 h 577358"/>
                <a:gd name="T54" fmla="*/ 127 w 884634"/>
                <a:gd name="T55" fmla="*/ 40 h 577358"/>
                <a:gd name="T56" fmla="*/ 108 w 884634"/>
                <a:gd name="T57" fmla="*/ 35 h 577358"/>
                <a:gd name="T58" fmla="*/ 101 w 884634"/>
                <a:gd name="T59" fmla="*/ 26 h 577358"/>
                <a:gd name="T60" fmla="*/ 93 w 884634"/>
                <a:gd name="T61" fmla="*/ 16 h 577358"/>
                <a:gd name="T62" fmla="*/ 89 w 884634"/>
                <a:gd name="T63" fmla="*/ 0 h 5773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84634"/>
                <a:gd name="T97" fmla="*/ 0 h 577358"/>
                <a:gd name="T98" fmla="*/ 884634 w 884634"/>
                <a:gd name="T99" fmla="*/ 577358 h 5773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84634" h="577358">
                  <a:moveTo>
                    <a:pt x="616743" y="0"/>
                  </a:moveTo>
                  <a:lnTo>
                    <a:pt x="488156" y="4763"/>
                  </a:lnTo>
                  <a:lnTo>
                    <a:pt x="388143" y="40482"/>
                  </a:lnTo>
                  <a:lnTo>
                    <a:pt x="328612" y="69057"/>
                  </a:lnTo>
                  <a:lnTo>
                    <a:pt x="276225" y="119063"/>
                  </a:lnTo>
                  <a:lnTo>
                    <a:pt x="223837" y="154782"/>
                  </a:lnTo>
                  <a:lnTo>
                    <a:pt x="117871" y="230982"/>
                  </a:lnTo>
                  <a:lnTo>
                    <a:pt x="128587" y="279797"/>
                  </a:lnTo>
                  <a:lnTo>
                    <a:pt x="90487" y="295275"/>
                  </a:lnTo>
                  <a:lnTo>
                    <a:pt x="39290" y="328613"/>
                  </a:lnTo>
                  <a:lnTo>
                    <a:pt x="0" y="376238"/>
                  </a:lnTo>
                  <a:lnTo>
                    <a:pt x="16668" y="438150"/>
                  </a:lnTo>
                  <a:lnTo>
                    <a:pt x="7143" y="500063"/>
                  </a:lnTo>
                  <a:lnTo>
                    <a:pt x="51531" y="546121"/>
                  </a:lnTo>
                  <a:lnTo>
                    <a:pt x="114633" y="577358"/>
                  </a:lnTo>
                  <a:lnTo>
                    <a:pt x="214849" y="546442"/>
                  </a:lnTo>
                  <a:lnTo>
                    <a:pt x="267046" y="571776"/>
                  </a:lnTo>
                  <a:lnTo>
                    <a:pt x="283368" y="509588"/>
                  </a:lnTo>
                  <a:lnTo>
                    <a:pt x="276225" y="431007"/>
                  </a:lnTo>
                  <a:lnTo>
                    <a:pt x="334228" y="431172"/>
                  </a:lnTo>
                  <a:lnTo>
                    <a:pt x="442912" y="426244"/>
                  </a:lnTo>
                  <a:lnTo>
                    <a:pt x="571625" y="423109"/>
                  </a:lnTo>
                  <a:lnTo>
                    <a:pt x="621506" y="452438"/>
                  </a:lnTo>
                  <a:lnTo>
                    <a:pt x="678656" y="431007"/>
                  </a:lnTo>
                  <a:lnTo>
                    <a:pt x="722432" y="403478"/>
                  </a:lnTo>
                  <a:lnTo>
                    <a:pt x="799356" y="403021"/>
                  </a:lnTo>
                  <a:lnTo>
                    <a:pt x="826617" y="343392"/>
                  </a:lnTo>
                  <a:lnTo>
                    <a:pt x="884634" y="280988"/>
                  </a:lnTo>
                  <a:lnTo>
                    <a:pt x="746530" y="243945"/>
                  </a:lnTo>
                  <a:lnTo>
                    <a:pt x="704850" y="178594"/>
                  </a:lnTo>
                  <a:lnTo>
                    <a:pt x="642937" y="114300"/>
                  </a:lnTo>
                  <a:lnTo>
                    <a:pt x="616743" y="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4" name="Freeform 65">
              <a:extLst>
                <a:ext uri="{FF2B5EF4-FFF2-40B4-BE49-F238E27FC236}">
                  <a16:creationId xmlns:a16="http://schemas.microsoft.com/office/drawing/2014/main" id="{B5FD3BA4-2C53-DC21-E68F-77BFCB47AC9F}"/>
                </a:ext>
              </a:extLst>
            </p:cNvPr>
            <p:cNvSpPr>
              <a:spLocks/>
            </p:cNvSpPr>
            <p:nvPr/>
          </p:nvSpPr>
          <p:spPr bwMode="auto">
            <a:xfrm>
              <a:off x="5557807" y="3788319"/>
              <a:ext cx="35855" cy="50705"/>
            </a:xfrm>
            <a:custGeom>
              <a:avLst/>
              <a:gdLst>
                <a:gd name="T0" fmla="*/ 13 w 149562"/>
                <a:gd name="T1" fmla="*/ 0 h 204788"/>
                <a:gd name="T2" fmla="*/ 11 w 149562"/>
                <a:gd name="T3" fmla="*/ 4 h 204788"/>
                <a:gd name="T4" fmla="*/ 5 w 149562"/>
                <a:gd name="T5" fmla="*/ 6 h 204788"/>
                <a:gd name="T6" fmla="*/ 0 w 149562"/>
                <a:gd name="T7" fmla="*/ 16 h 204788"/>
                <a:gd name="T8" fmla="*/ 0 w 149562"/>
                <a:gd name="T9" fmla="*/ 27 h 204788"/>
                <a:gd name="T10" fmla="*/ 8 w 149562"/>
                <a:gd name="T11" fmla="*/ 28 h 204788"/>
                <a:gd name="T12" fmla="*/ 14 w 149562"/>
                <a:gd name="T13" fmla="*/ 30 h 204788"/>
                <a:gd name="T14" fmla="*/ 19 w 149562"/>
                <a:gd name="T15" fmla="*/ 21 h 204788"/>
                <a:gd name="T16" fmla="*/ 19 w 149562"/>
                <a:gd name="T17" fmla="*/ 18 h 204788"/>
                <a:gd name="T18" fmla="*/ 14 w 149562"/>
                <a:gd name="T19" fmla="*/ 19 h 204788"/>
                <a:gd name="T20" fmla="*/ 11 w 149562"/>
                <a:gd name="T21" fmla="*/ 21 h 204788"/>
                <a:gd name="T22" fmla="*/ 8 w 149562"/>
                <a:gd name="T23" fmla="*/ 21 h 204788"/>
                <a:gd name="T24" fmla="*/ 7 w 149562"/>
                <a:gd name="T25" fmla="*/ 19 h 204788"/>
                <a:gd name="T26" fmla="*/ 11 w 149562"/>
                <a:gd name="T27" fmla="*/ 17 h 204788"/>
                <a:gd name="T28" fmla="*/ 15 w 149562"/>
                <a:gd name="T29" fmla="*/ 13 h 204788"/>
                <a:gd name="T30" fmla="*/ 21 w 149562"/>
                <a:gd name="T31" fmla="*/ 12 h 204788"/>
                <a:gd name="T32" fmla="*/ 20 w 149562"/>
                <a:gd name="T33" fmla="*/ 7 h 204788"/>
                <a:gd name="T34" fmla="*/ 17 w 149562"/>
                <a:gd name="T35" fmla="*/ 4 h 204788"/>
                <a:gd name="T36" fmla="*/ 13 w 149562"/>
                <a:gd name="T37" fmla="*/ 0 h 2047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9562"/>
                <a:gd name="T58" fmla="*/ 0 h 204788"/>
                <a:gd name="T59" fmla="*/ 149562 w 149562"/>
                <a:gd name="T60" fmla="*/ 204788 h 2047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9562" h="204788">
                  <a:moveTo>
                    <a:pt x="94060" y="0"/>
                  </a:moveTo>
                  <a:lnTo>
                    <a:pt x="80963" y="28575"/>
                  </a:lnTo>
                  <a:lnTo>
                    <a:pt x="38100" y="45244"/>
                  </a:lnTo>
                  <a:lnTo>
                    <a:pt x="0" y="111919"/>
                  </a:lnTo>
                  <a:lnTo>
                    <a:pt x="2382" y="186928"/>
                  </a:lnTo>
                  <a:lnTo>
                    <a:pt x="55730" y="197936"/>
                  </a:lnTo>
                  <a:lnTo>
                    <a:pt x="96441" y="204788"/>
                  </a:lnTo>
                  <a:lnTo>
                    <a:pt x="135732" y="147638"/>
                  </a:lnTo>
                  <a:lnTo>
                    <a:pt x="133233" y="125252"/>
                  </a:lnTo>
                  <a:lnTo>
                    <a:pt x="97322" y="129297"/>
                  </a:lnTo>
                  <a:lnTo>
                    <a:pt x="77105" y="148332"/>
                  </a:lnTo>
                  <a:lnTo>
                    <a:pt x="54837" y="148736"/>
                  </a:lnTo>
                  <a:lnTo>
                    <a:pt x="47729" y="134723"/>
                  </a:lnTo>
                  <a:lnTo>
                    <a:pt x="74839" y="117826"/>
                  </a:lnTo>
                  <a:lnTo>
                    <a:pt x="105148" y="88425"/>
                  </a:lnTo>
                  <a:lnTo>
                    <a:pt x="149562" y="80831"/>
                  </a:lnTo>
                  <a:lnTo>
                    <a:pt x="142125" y="48721"/>
                  </a:lnTo>
                  <a:lnTo>
                    <a:pt x="121138" y="25343"/>
                  </a:lnTo>
                  <a:lnTo>
                    <a:pt x="94060"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5" name="Freeform 66">
              <a:extLst>
                <a:ext uri="{FF2B5EF4-FFF2-40B4-BE49-F238E27FC236}">
                  <a16:creationId xmlns:a16="http://schemas.microsoft.com/office/drawing/2014/main" id="{3CD08961-B50C-AFD6-7C54-C7E79D215975}"/>
                </a:ext>
              </a:extLst>
            </p:cNvPr>
            <p:cNvSpPr>
              <a:spLocks/>
            </p:cNvSpPr>
            <p:nvPr/>
          </p:nvSpPr>
          <p:spPr bwMode="auto">
            <a:xfrm>
              <a:off x="5344911" y="3998054"/>
              <a:ext cx="215137" cy="230476"/>
            </a:xfrm>
            <a:custGeom>
              <a:avLst/>
              <a:gdLst>
                <a:gd name="T0" fmla="*/ 2147483647 w 480"/>
                <a:gd name="T1" fmla="*/ 2147483647 h 498"/>
                <a:gd name="T2" fmla="*/ 0 w 480"/>
                <a:gd name="T3" fmla="*/ 2147483647 h 498"/>
                <a:gd name="T4" fmla="*/ 2147483647 w 480"/>
                <a:gd name="T5" fmla="*/ 2147483647 h 498"/>
                <a:gd name="T6" fmla="*/ 2147483647 w 480"/>
                <a:gd name="T7" fmla="*/ 2147483647 h 498"/>
                <a:gd name="T8" fmla="*/ 2147483647 w 480"/>
                <a:gd name="T9" fmla="*/ 2147483647 h 498"/>
                <a:gd name="T10" fmla="*/ 2147483647 w 480"/>
                <a:gd name="T11" fmla="*/ 2147483647 h 498"/>
                <a:gd name="T12" fmla="*/ 2147483647 w 480"/>
                <a:gd name="T13" fmla="*/ 2147483647 h 498"/>
                <a:gd name="T14" fmla="*/ 2147483647 w 480"/>
                <a:gd name="T15" fmla="*/ 2147483647 h 498"/>
                <a:gd name="T16" fmla="*/ 2147483647 w 480"/>
                <a:gd name="T17" fmla="*/ 2147483647 h 498"/>
                <a:gd name="T18" fmla="*/ 2147483647 w 480"/>
                <a:gd name="T19" fmla="*/ 2147483647 h 498"/>
                <a:gd name="T20" fmla="*/ 2147483647 w 480"/>
                <a:gd name="T21" fmla="*/ 2147483647 h 498"/>
                <a:gd name="T22" fmla="*/ 2147483647 w 480"/>
                <a:gd name="T23" fmla="*/ 2147483647 h 498"/>
                <a:gd name="T24" fmla="*/ 2147483647 w 480"/>
                <a:gd name="T25" fmla="*/ 2147483647 h 498"/>
                <a:gd name="T26" fmla="*/ 2147483647 w 480"/>
                <a:gd name="T27" fmla="*/ 2147483647 h 498"/>
                <a:gd name="T28" fmla="*/ 2147483647 w 480"/>
                <a:gd name="T29" fmla="*/ 2147483647 h 498"/>
                <a:gd name="T30" fmla="*/ 2147483647 w 480"/>
                <a:gd name="T31" fmla="*/ 2147483647 h 498"/>
                <a:gd name="T32" fmla="*/ 2147483647 w 480"/>
                <a:gd name="T33" fmla="*/ 2147483647 h 498"/>
                <a:gd name="T34" fmla="*/ 2147483647 w 480"/>
                <a:gd name="T35" fmla="*/ 2147483647 h 498"/>
                <a:gd name="T36" fmla="*/ 2147483647 w 480"/>
                <a:gd name="T37" fmla="*/ 2147483647 h 498"/>
                <a:gd name="T38" fmla="*/ 2147483647 w 480"/>
                <a:gd name="T39" fmla="*/ 2147483647 h 498"/>
                <a:gd name="T40" fmla="*/ 2147483647 w 480"/>
                <a:gd name="T41" fmla="*/ 2147483647 h 498"/>
                <a:gd name="T42" fmla="*/ 2147483647 w 480"/>
                <a:gd name="T43" fmla="*/ 2147483647 h 498"/>
                <a:gd name="T44" fmla="*/ 2147483647 w 480"/>
                <a:gd name="T45" fmla="*/ 2147483647 h 498"/>
                <a:gd name="T46" fmla="*/ 2147483647 w 480"/>
                <a:gd name="T47" fmla="*/ 2147483647 h 498"/>
                <a:gd name="T48" fmla="*/ 2147483647 w 480"/>
                <a:gd name="T49" fmla="*/ 2147483647 h 498"/>
                <a:gd name="T50" fmla="*/ 2147483647 w 480"/>
                <a:gd name="T51" fmla="*/ 2147483647 h 498"/>
                <a:gd name="T52" fmla="*/ 2147483647 w 480"/>
                <a:gd name="T53" fmla="*/ 2147483647 h 498"/>
                <a:gd name="T54" fmla="*/ 2147483647 w 480"/>
                <a:gd name="T55" fmla="*/ 2147483647 h 498"/>
                <a:gd name="T56" fmla="*/ 2147483647 w 480"/>
                <a:gd name="T57" fmla="*/ 2147483647 h 498"/>
                <a:gd name="T58" fmla="*/ 2147483647 w 480"/>
                <a:gd name="T59" fmla="*/ 2147483647 h 498"/>
                <a:gd name="T60" fmla="*/ 2147483647 w 480"/>
                <a:gd name="T61" fmla="*/ 2147483647 h 498"/>
                <a:gd name="T62" fmla="*/ 2147483647 w 480"/>
                <a:gd name="T63" fmla="*/ 2147483647 h 498"/>
                <a:gd name="T64" fmla="*/ 2147483647 w 480"/>
                <a:gd name="T65" fmla="*/ 2147483647 h 498"/>
                <a:gd name="T66" fmla="*/ 2147483647 w 480"/>
                <a:gd name="T67" fmla="*/ 2147483647 h 498"/>
                <a:gd name="T68" fmla="*/ 2147483647 w 480"/>
                <a:gd name="T69" fmla="*/ 2147483647 h 498"/>
                <a:gd name="T70" fmla="*/ 2147483647 w 480"/>
                <a:gd name="T71" fmla="*/ 2147483647 h 498"/>
                <a:gd name="T72" fmla="*/ 2147483647 w 480"/>
                <a:gd name="T73" fmla="*/ 2147483647 h 498"/>
                <a:gd name="T74" fmla="*/ 2147483647 w 480"/>
                <a:gd name="T75" fmla="*/ 2147483647 h 498"/>
                <a:gd name="T76" fmla="*/ 2147483647 w 480"/>
                <a:gd name="T77" fmla="*/ 2147483647 h 498"/>
                <a:gd name="T78" fmla="*/ 2147483647 w 480"/>
                <a:gd name="T79" fmla="*/ 2147483647 h 498"/>
                <a:gd name="T80" fmla="*/ 2147483647 w 480"/>
                <a:gd name="T81" fmla="*/ 0 h 498"/>
                <a:gd name="T82" fmla="*/ 2147483647 w 480"/>
                <a:gd name="T83" fmla="*/ 2147483647 h 498"/>
                <a:gd name="T84" fmla="*/ 2147483647 w 480"/>
                <a:gd name="T85" fmla="*/ 2147483647 h 4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80"/>
                <a:gd name="T130" fmla="*/ 0 h 498"/>
                <a:gd name="T131" fmla="*/ 480 w 480"/>
                <a:gd name="T132" fmla="*/ 498 h 4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80" h="498">
                  <a:moveTo>
                    <a:pt x="28" y="24"/>
                  </a:moveTo>
                  <a:lnTo>
                    <a:pt x="0" y="36"/>
                  </a:lnTo>
                  <a:lnTo>
                    <a:pt x="41" y="92"/>
                  </a:lnTo>
                  <a:lnTo>
                    <a:pt x="64" y="139"/>
                  </a:lnTo>
                  <a:lnTo>
                    <a:pt x="95" y="147"/>
                  </a:lnTo>
                  <a:lnTo>
                    <a:pt x="103" y="174"/>
                  </a:lnTo>
                  <a:lnTo>
                    <a:pt x="107" y="199"/>
                  </a:lnTo>
                  <a:lnTo>
                    <a:pt x="74" y="229"/>
                  </a:lnTo>
                  <a:lnTo>
                    <a:pt x="41" y="285"/>
                  </a:lnTo>
                  <a:lnTo>
                    <a:pt x="57" y="309"/>
                  </a:lnTo>
                  <a:lnTo>
                    <a:pt x="86" y="303"/>
                  </a:lnTo>
                  <a:lnTo>
                    <a:pt x="98" y="318"/>
                  </a:lnTo>
                  <a:lnTo>
                    <a:pt x="79" y="335"/>
                  </a:lnTo>
                  <a:lnTo>
                    <a:pt x="59" y="333"/>
                  </a:lnTo>
                  <a:lnTo>
                    <a:pt x="60" y="351"/>
                  </a:lnTo>
                  <a:lnTo>
                    <a:pt x="83" y="365"/>
                  </a:lnTo>
                  <a:lnTo>
                    <a:pt x="108" y="375"/>
                  </a:lnTo>
                  <a:lnTo>
                    <a:pt x="155" y="397"/>
                  </a:lnTo>
                  <a:lnTo>
                    <a:pt x="198" y="424"/>
                  </a:lnTo>
                  <a:lnTo>
                    <a:pt x="227" y="456"/>
                  </a:lnTo>
                  <a:lnTo>
                    <a:pt x="264" y="485"/>
                  </a:lnTo>
                  <a:lnTo>
                    <a:pt x="286" y="498"/>
                  </a:lnTo>
                  <a:lnTo>
                    <a:pt x="340" y="498"/>
                  </a:lnTo>
                  <a:lnTo>
                    <a:pt x="357" y="471"/>
                  </a:lnTo>
                  <a:lnTo>
                    <a:pt x="376" y="431"/>
                  </a:lnTo>
                  <a:lnTo>
                    <a:pt x="413" y="403"/>
                  </a:lnTo>
                  <a:lnTo>
                    <a:pt x="441" y="374"/>
                  </a:lnTo>
                  <a:lnTo>
                    <a:pt x="461" y="351"/>
                  </a:lnTo>
                  <a:lnTo>
                    <a:pt x="480" y="328"/>
                  </a:lnTo>
                  <a:lnTo>
                    <a:pt x="463" y="292"/>
                  </a:lnTo>
                  <a:lnTo>
                    <a:pt x="428" y="120"/>
                  </a:lnTo>
                  <a:lnTo>
                    <a:pt x="468" y="34"/>
                  </a:lnTo>
                  <a:lnTo>
                    <a:pt x="414" y="30"/>
                  </a:lnTo>
                  <a:lnTo>
                    <a:pt x="365" y="57"/>
                  </a:lnTo>
                  <a:lnTo>
                    <a:pt x="336" y="62"/>
                  </a:lnTo>
                  <a:lnTo>
                    <a:pt x="292" y="50"/>
                  </a:lnTo>
                  <a:lnTo>
                    <a:pt x="254" y="52"/>
                  </a:lnTo>
                  <a:lnTo>
                    <a:pt x="214" y="36"/>
                  </a:lnTo>
                  <a:lnTo>
                    <a:pt x="176" y="6"/>
                  </a:lnTo>
                  <a:lnTo>
                    <a:pt x="142" y="2"/>
                  </a:lnTo>
                  <a:lnTo>
                    <a:pt x="102" y="0"/>
                  </a:lnTo>
                  <a:lnTo>
                    <a:pt x="62" y="6"/>
                  </a:lnTo>
                  <a:lnTo>
                    <a:pt x="28" y="2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6" name="Freeform 67">
              <a:extLst>
                <a:ext uri="{FF2B5EF4-FFF2-40B4-BE49-F238E27FC236}">
                  <a16:creationId xmlns:a16="http://schemas.microsoft.com/office/drawing/2014/main" id="{6DD2BEF7-46A7-6DE2-A960-55D2EC6657C5}"/>
                </a:ext>
              </a:extLst>
            </p:cNvPr>
            <p:cNvSpPr>
              <a:spLocks/>
            </p:cNvSpPr>
            <p:nvPr/>
          </p:nvSpPr>
          <p:spPr bwMode="auto">
            <a:xfrm>
              <a:off x="5246306" y="4016491"/>
              <a:ext cx="145666" cy="159028"/>
            </a:xfrm>
            <a:custGeom>
              <a:avLst/>
              <a:gdLst>
                <a:gd name="T0" fmla="*/ 65 w 615017"/>
                <a:gd name="T1" fmla="*/ 14 h 639366"/>
                <a:gd name="T2" fmla="*/ 54 w 615017"/>
                <a:gd name="T3" fmla="*/ 0 h 639366"/>
                <a:gd name="T4" fmla="*/ 49 w 615017"/>
                <a:gd name="T5" fmla="*/ 2 h 639366"/>
                <a:gd name="T6" fmla="*/ 26 w 615017"/>
                <a:gd name="T7" fmla="*/ 7 h 639366"/>
                <a:gd name="T8" fmla="*/ 18 w 615017"/>
                <a:gd name="T9" fmla="*/ 10 h 639366"/>
                <a:gd name="T10" fmla="*/ 15 w 615017"/>
                <a:gd name="T11" fmla="*/ 24 h 639366"/>
                <a:gd name="T12" fmla="*/ 19 w 615017"/>
                <a:gd name="T13" fmla="*/ 29 h 639366"/>
                <a:gd name="T14" fmla="*/ 19 w 615017"/>
                <a:gd name="T15" fmla="*/ 36 h 639366"/>
                <a:gd name="T16" fmla="*/ 16 w 615017"/>
                <a:gd name="T17" fmla="*/ 42 h 639366"/>
                <a:gd name="T18" fmla="*/ 7 w 615017"/>
                <a:gd name="T19" fmla="*/ 51 h 639366"/>
                <a:gd name="T20" fmla="*/ 0 w 615017"/>
                <a:gd name="T21" fmla="*/ 64 h 639366"/>
                <a:gd name="T22" fmla="*/ 0 w 615017"/>
                <a:gd name="T23" fmla="*/ 67 h 639366"/>
                <a:gd name="T24" fmla="*/ 4 w 615017"/>
                <a:gd name="T25" fmla="*/ 67 h 639366"/>
                <a:gd name="T26" fmla="*/ 7 w 615017"/>
                <a:gd name="T27" fmla="*/ 70 h 639366"/>
                <a:gd name="T28" fmla="*/ 9 w 615017"/>
                <a:gd name="T29" fmla="*/ 75 h 639366"/>
                <a:gd name="T30" fmla="*/ 8 w 615017"/>
                <a:gd name="T31" fmla="*/ 83 h 639366"/>
                <a:gd name="T32" fmla="*/ 6 w 615017"/>
                <a:gd name="T33" fmla="*/ 86 h 639366"/>
                <a:gd name="T34" fmla="*/ 3 w 615017"/>
                <a:gd name="T35" fmla="*/ 91 h 639366"/>
                <a:gd name="T36" fmla="*/ 3 w 615017"/>
                <a:gd name="T37" fmla="*/ 94 h 639366"/>
                <a:gd name="T38" fmla="*/ 9 w 615017"/>
                <a:gd name="T39" fmla="*/ 94 h 639366"/>
                <a:gd name="T40" fmla="*/ 14 w 615017"/>
                <a:gd name="T41" fmla="*/ 90 h 639366"/>
                <a:gd name="T42" fmla="*/ 21 w 615017"/>
                <a:gd name="T43" fmla="*/ 89 h 639366"/>
                <a:gd name="T44" fmla="*/ 28 w 615017"/>
                <a:gd name="T45" fmla="*/ 93 h 639366"/>
                <a:gd name="T46" fmla="*/ 33 w 615017"/>
                <a:gd name="T47" fmla="*/ 91 h 639366"/>
                <a:gd name="T48" fmla="*/ 36 w 615017"/>
                <a:gd name="T49" fmla="*/ 88 h 639366"/>
                <a:gd name="T50" fmla="*/ 35 w 615017"/>
                <a:gd name="T51" fmla="*/ 85 h 639366"/>
                <a:gd name="T52" fmla="*/ 35 w 615017"/>
                <a:gd name="T53" fmla="*/ 80 h 639366"/>
                <a:gd name="T54" fmla="*/ 34 w 615017"/>
                <a:gd name="T55" fmla="*/ 76 h 639366"/>
                <a:gd name="T56" fmla="*/ 35 w 615017"/>
                <a:gd name="T57" fmla="*/ 72 h 639366"/>
                <a:gd name="T58" fmla="*/ 33 w 615017"/>
                <a:gd name="T59" fmla="*/ 66 h 639366"/>
                <a:gd name="T60" fmla="*/ 37 w 615017"/>
                <a:gd name="T61" fmla="*/ 63 h 639366"/>
                <a:gd name="T62" fmla="*/ 42 w 615017"/>
                <a:gd name="T63" fmla="*/ 63 h 639366"/>
                <a:gd name="T64" fmla="*/ 45 w 615017"/>
                <a:gd name="T65" fmla="*/ 65 h 639366"/>
                <a:gd name="T66" fmla="*/ 46 w 615017"/>
                <a:gd name="T67" fmla="*/ 69 h 639366"/>
                <a:gd name="T68" fmla="*/ 47 w 615017"/>
                <a:gd name="T69" fmla="*/ 72 h 639366"/>
                <a:gd name="T70" fmla="*/ 49 w 615017"/>
                <a:gd name="T71" fmla="*/ 76 h 639366"/>
                <a:gd name="T72" fmla="*/ 52 w 615017"/>
                <a:gd name="T73" fmla="*/ 71 h 639366"/>
                <a:gd name="T74" fmla="*/ 62 w 615017"/>
                <a:gd name="T75" fmla="*/ 69 h 639366"/>
                <a:gd name="T76" fmla="*/ 66 w 615017"/>
                <a:gd name="T77" fmla="*/ 67 h 639366"/>
                <a:gd name="T78" fmla="*/ 74 w 615017"/>
                <a:gd name="T79" fmla="*/ 52 h 639366"/>
                <a:gd name="T80" fmla="*/ 82 w 615017"/>
                <a:gd name="T81" fmla="*/ 44 h 639366"/>
                <a:gd name="T82" fmla="*/ 81 w 615017"/>
                <a:gd name="T83" fmla="*/ 37 h 639366"/>
                <a:gd name="T84" fmla="*/ 79 w 615017"/>
                <a:gd name="T85" fmla="*/ 29 h 639366"/>
                <a:gd name="T86" fmla="*/ 71 w 615017"/>
                <a:gd name="T87" fmla="*/ 27 h 639366"/>
                <a:gd name="T88" fmla="*/ 65 w 615017"/>
                <a:gd name="T89" fmla="*/ 14 h 6393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15017"/>
                <a:gd name="T136" fmla="*/ 0 h 639366"/>
                <a:gd name="T137" fmla="*/ 615017 w 615017"/>
                <a:gd name="T138" fmla="*/ 639366 h 6393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15017" h="639366">
                  <a:moveTo>
                    <a:pt x="489347" y="91678"/>
                  </a:moveTo>
                  <a:lnTo>
                    <a:pt x="407193" y="0"/>
                  </a:lnTo>
                  <a:lnTo>
                    <a:pt x="366712" y="10716"/>
                  </a:lnTo>
                  <a:lnTo>
                    <a:pt x="196453" y="44053"/>
                  </a:lnTo>
                  <a:lnTo>
                    <a:pt x="136922" y="69056"/>
                  </a:lnTo>
                  <a:lnTo>
                    <a:pt x="110728" y="160734"/>
                  </a:lnTo>
                  <a:lnTo>
                    <a:pt x="142179" y="196835"/>
                  </a:lnTo>
                  <a:lnTo>
                    <a:pt x="144065" y="247650"/>
                  </a:lnTo>
                  <a:lnTo>
                    <a:pt x="121443" y="283369"/>
                  </a:lnTo>
                  <a:lnTo>
                    <a:pt x="51197" y="342900"/>
                  </a:lnTo>
                  <a:lnTo>
                    <a:pt x="1190" y="434578"/>
                  </a:lnTo>
                  <a:lnTo>
                    <a:pt x="0" y="453628"/>
                  </a:lnTo>
                  <a:lnTo>
                    <a:pt x="26193" y="452438"/>
                  </a:lnTo>
                  <a:lnTo>
                    <a:pt x="48815" y="472678"/>
                  </a:lnTo>
                  <a:lnTo>
                    <a:pt x="66675" y="510778"/>
                  </a:lnTo>
                  <a:lnTo>
                    <a:pt x="60722" y="559594"/>
                  </a:lnTo>
                  <a:lnTo>
                    <a:pt x="41672" y="581025"/>
                  </a:lnTo>
                  <a:lnTo>
                    <a:pt x="20240" y="614363"/>
                  </a:lnTo>
                  <a:lnTo>
                    <a:pt x="21431" y="638175"/>
                  </a:lnTo>
                  <a:lnTo>
                    <a:pt x="67865" y="639366"/>
                  </a:lnTo>
                  <a:lnTo>
                    <a:pt x="109071" y="610087"/>
                  </a:lnTo>
                  <a:lnTo>
                    <a:pt x="157733" y="606387"/>
                  </a:lnTo>
                  <a:lnTo>
                    <a:pt x="206856" y="628029"/>
                  </a:lnTo>
                  <a:lnTo>
                    <a:pt x="247246" y="616029"/>
                  </a:lnTo>
                  <a:lnTo>
                    <a:pt x="271296" y="598693"/>
                  </a:lnTo>
                  <a:lnTo>
                    <a:pt x="260062" y="576363"/>
                  </a:lnTo>
                  <a:lnTo>
                    <a:pt x="262103" y="539708"/>
                  </a:lnTo>
                  <a:lnTo>
                    <a:pt x="258365" y="514350"/>
                  </a:lnTo>
                  <a:lnTo>
                    <a:pt x="259556" y="485775"/>
                  </a:lnTo>
                  <a:lnTo>
                    <a:pt x="246459" y="450056"/>
                  </a:lnTo>
                  <a:lnTo>
                    <a:pt x="278606" y="428625"/>
                  </a:lnTo>
                  <a:lnTo>
                    <a:pt x="319087" y="426244"/>
                  </a:lnTo>
                  <a:lnTo>
                    <a:pt x="336947" y="440531"/>
                  </a:lnTo>
                  <a:lnTo>
                    <a:pt x="347479" y="470557"/>
                  </a:lnTo>
                  <a:lnTo>
                    <a:pt x="352425" y="489347"/>
                  </a:lnTo>
                  <a:lnTo>
                    <a:pt x="365522" y="517922"/>
                  </a:lnTo>
                  <a:lnTo>
                    <a:pt x="391715" y="481013"/>
                  </a:lnTo>
                  <a:lnTo>
                    <a:pt x="463798" y="465629"/>
                  </a:lnTo>
                  <a:lnTo>
                    <a:pt x="492913" y="453834"/>
                  </a:lnTo>
                  <a:lnTo>
                    <a:pt x="557845" y="352193"/>
                  </a:lnTo>
                  <a:lnTo>
                    <a:pt x="615017" y="295290"/>
                  </a:lnTo>
                  <a:lnTo>
                    <a:pt x="608361" y="251751"/>
                  </a:lnTo>
                  <a:lnTo>
                    <a:pt x="591519" y="193845"/>
                  </a:lnTo>
                  <a:lnTo>
                    <a:pt x="535781" y="182166"/>
                  </a:lnTo>
                  <a:lnTo>
                    <a:pt x="489347" y="91678"/>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7" name="Freeform 68">
              <a:extLst>
                <a:ext uri="{FF2B5EF4-FFF2-40B4-BE49-F238E27FC236}">
                  <a16:creationId xmlns:a16="http://schemas.microsoft.com/office/drawing/2014/main" id="{5F5A73BD-841B-AF47-7F2D-520B56050C86}"/>
                </a:ext>
              </a:extLst>
            </p:cNvPr>
            <p:cNvSpPr>
              <a:spLocks/>
            </p:cNvSpPr>
            <p:nvPr/>
          </p:nvSpPr>
          <p:spPr bwMode="auto">
            <a:xfrm>
              <a:off x="5235102" y="4129424"/>
              <a:ext cx="284607" cy="299619"/>
            </a:xfrm>
            <a:custGeom>
              <a:avLst/>
              <a:gdLst>
                <a:gd name="T0" fmla="*/ 2147483647 w 636"/>
                <a:gd name="T1" fmla="*/ 2147483647 h 650"/>
                <a:gd name="T2" fmla="*/ 2147483647 w 636"/>
                <a:gd name="T3" fmla="*/ 2147483647 h 650"/>
                <a:gd name="T4" fmla="*/ 2147483647 w 636"/>
                <a:gd name="T5" fmla="*/ 2147483647 h 650"/>
                <a:gd name="T6" fmla="*/ 2147483647 w 636"/>
                <a:gd name="T7" fmla="*/ 2147483647 h 650"/>
                <a:gd name="T8" fmla="*/ 2147483647 w 636"/>
                <a:gd name="T9" fmla="*/ 2147483647 h 650"/>
                <a:gd name="T10" fmla="*/ 2147483647 w 636"/>
                <a:gd name="T11" fmla="*/ 2147483647 h 650"/>
                <a:gd name="T12" fmla="*/ 2147483647 w 636"/>
                <a:gd name="T13" fmla="*/ 2147483647 h 650"/>
                <a:gd name="T14" fmla="*/ 2147483647 w 636"/>
                <a:gd name="T15" fmla="*/ 2147483647 h 650"/>
                <a:gd name="T16" fmla="*/ 2147483647 w 636"/>
                <a:gd name="T17" fmla="*/ 2147483647 h 650"/>
                <a:gd name="T18" fmla="*/ 2147483647 w 636"/>
                <a:gd name="T19" fmla="*/ 2147483647 h 650"/>
                <a:gd name="T20" fmla="*/ 2147483647 w 636"/>
                <a:gd name="T21" fmla="*/ 2147483647 h 650"/>
                <a:gd name="T22" fmla="*/ 2147483647 w 636"/>
                <a:gd name="T23" fmla="*/ 2147483647 h 650"/>
                <a:gd name="T24" fmla="*/ 2147483647 w 636"/>
                <a:gd name="T25" fmla="*/ 2147483647 h 650"/>
                <a:gd name="T26" fmla="*/ 2147483647 w 636"/>
                <a:gd name="T27" fmla="*/ 2147483647 h 650"/>
                <a:gd name="T28" fmla="*/ 2147483647 w 636"/>
                <a:gd name="T29" fmla="*/ 2147483647 h 650"/>
                <a:gd name="T30" fmla="*/ 2147483647 w 636"/>
                <a:gd name="T31" fmla="*/ 2147483647 h 650"/>
                <a:gd name="T32" fmla="*/ 2147483647 w 636"/>
                <a:gd name="T33" fmla="*/ 2147483647 h 650"/>
                <a:gd name="T34" fmla="*/ 2147483647 w 636"/>
                <a:gd name="T35" fmla="*/ 2147483647 h 650"/>
                <a:gd name="T36" fmla="*/ 2147483647 w 636"/>
                <a:gd name="T37" fmla="*/ 2147483647 h 650"/>
                <a:gd name="T38" fmla="*/ 2147483647 w 636"/>
                <a:gd name="T39" fmla="*/ 2147483647 h 650"/>
                <a:gd name="T40" fmla="*/ 2147483647 w 636"/>
                <a:gd name="T41" fmla="*/ 2147483647 h 650"/>
                <a:gd name="T42" fmla="*/ 2147483647 w 636"/>
                <a:gd name="T43" fmla="*/ 2147483647 h 650"/>
                <a:gd name="T44" fmla="*/ 2147483647 w 636"/>
                <a:gd name="T45" fmla="*/ 2147483647 h 650"/>
                <a:gd name="T46" fmla="*/ 2147483647 w 636"/>
                <a:gd name="T47" fmla="*/ 2147483647 h 650"/>
                <a:gd name="T48" fmla="*/ 2147483647 w 636"/>
                <a:gd name="T49" fmla="*/ 2147483647 h 650"/>
                <a:gd name="T50" fmla="*/ 2147483647 w 636"/>
                <a:gd name="T51" fmla="*/ 2147483647 h 650"/>
                <a:gd name="T52" fmla="*/ 2147483647 w 636"/>
                <a:gd name="T53" fmla="*/ 2147483647 h 650"/>
                <a:gd name="T54" fmla="*/ 2147483647 w 636"/>
                <a:gd name="T55" fmla="*/ 2147483647 h 650"/>
                <a:gd name="T56" fmla="*/ 2147483647 w 636"/>
                <a:gd name="T57" fmla="*/ 2147483647 h 650"/>
                <a:gd name="T58" fmla="*/ 2147483647 w 636"/>
                <a:gd name="T59" fmla="*/ 2147483647 h 650"/>
                <a:gd name="T60" fmla="*/ 2147483647 w 636"/>
                <a:gd name="T61" fmla="*/ 2147483647 h 650"/>
                <a:gd name="T62" fmla="*/ 2147483647 w 636"/>
                <a:gd name="T63" fmla="*/ 2147483647 h 650"/>
                <a:gd name="T64" fmla="*/ 2147483647 w 636"/>
                <a:gd name="T65" fmla="*/ 2147483647 h 650"/>
                <a:gd name="T66" fmla="*/ 2147483647 w 636"/>
                <a:gd name="T67" fmla="*/ 2147483647 h 650"/>
                <a:gd name="T68" fmla="*/ 2147483647 w 636"/>
                <a:gd name="T69" fmla="*/ 2147483647 h 650"/>
                <a:gd name="T70" fmla="*/ 2147483647 w 636"/>
                <a:gd name="T71" fmla="*/ 2147483647 h 650"/>
                <a:gd name="T72" fmla="*/ 2147483647 w 636"/>
                <a:gd name="T73" fmla="*/ 2147483647 h 650"/>
                <a:gd name="T74" fmla="*/ 2147483647 w 636"/>
                <a:gd name="T75" fmla="*/ 2147483647 h 650"/>
                <a:gd name="T76" fmla="*/ 2147483647 w 636"/>
                <a:gd name="T77" fmla="*/ 2147483647 h 650"/>
                <a:gd name="T78" fmla="*/ 2147483647 w 636"/>
                <a:gd name="T79" fmla="*/ 2147483647 h 650"/>
                <a:gd name="T80" fmla="*/ 2147483647 w 636"/>
                <a:gd name="T81" fmla="*/ 2147483647 h 650"/>
                <a:gd name="T82" fmla="*/ 2147483647 w 636"/>
                <a:gd name="T83" fmla="*/ 2147483647 h 650"/>
                <a:gd name="T84" fmla="*/ 2147483647 w 636"/>
                <a:gd name="T85" fmla="*/ 2147483647 h 650"/>
                <a:gd name="T86" fmla="*/ 2147483647 w 636"/>
                <a:gd name="T87" fmla="*/ 2147483647 h 650"/>
                <a:gd name="T88" fmla="*/ 2147483647 w 636"/>
                <a:gd name="T89" fmla="*/ 2147483647 h 650"/>
                <a:gd name="T90" fmla="*/ 2147483647 w 636"/>
                <a:gd name="T91" fmla="*/ 2147483647 h 650"/>
                <a:gd name="T92" fmla="*/ 2147483647 w 636"/>
                <a:gd name="T93" fmla="*/ 2147483647 h 650"/>
                <a:gd name="T94" fmla="*/ 2147483647 w 636"/>
                <a:gd name="T95" fmla="*/ 2147483647 h 650"/>
                <a:gd name="T96" fmla="*/ 2147483647 w 636"/>
                <a:gd name="T97" fmla="*/ 2147483647 h 6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6"/>
                <a:gd name="T148" fmla="*/ 0 h 650"/>
                <a:gd name="T149" fmla="*/ 636 w 636"/>
                <a:gd name="T150" fmla="*/ 650 h 6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6" h="650">
                  <a:moveTo>
                    <a:pt x="275" y="5"/>
                  </a:moveTo>
                  <a:lnTo>
                    <a:pt x="236" y="15"/>
                  </a:lnTo>
                  <a:lnTo>
                    <a:pt x="224" y="33"/>
                  </a:lnTo>
                  <a:lnTo>
                    <a:pt x="230" y="51"/>
                  </a:lnTo>
                  <a:lnTo>
                    <a:pt x="252" y="54"/>
                  </a:lnTo>
                  <a:lnTo>
                    <a:pt x="240" y="69"/>
                  </a:lnTo>
                  <a:lnTo>
                    <a:pt x="227" y="83"/>
                  </a:lnTo>
                  <a:lnTo>
                    <a:pt x="207" y="81"/>
                  </a:lnTo>
                  <a:lnTo>
                    <a:pt x="200" y="82"/>
                  </a:lnTo>
                  <a:lnTo>
                    <a:pt x="201" y="94"/>
                  </a:lnTo>
                  <a:lnTo>
                    <a:pt x="192" y="110"/>
                  </a:lnTo>
                  <a:lnTo>
                    <a:pt x="175" y="101"/>
                  </a:lnTo>
                  <a:lnTo>
                    <a:pt x="187" y="78"/>
                  </a:lnTo>
                  <a:lnTo>
                    <a:pt x="173" y="77"/>
                  </a:lnTo>
                  <a:lnTo>
                    <a:pt x="161" y="87"/>
                  </a:lnTo>
                  <a:lnTo>
                    <a:pt x="151" y="89"/>
                  </a:lnTo>
                  <a:lnTo>
                    <a:pt x="137" y="91"/>
                  </a:lnTo>
                  <a:lnTo>
                    <a:pt x="111" y="82"/>
                  </a:lnTo>
                  <a:lnTo>
                    <a:pt x="86" y="82"/>
                  </a:lnTo>
                  <a:lnTo>
                    <a:pt x="63" y="100"/>
                  </a:lnTo>
                  <a:lnTo>
                    <a:pt x="69" y="114"/>
                  </a:lnTo>
                  <a:lnTo>
                    <a:pt x="60" y="126"/>
                  </a:lnTo>
                  <a:lnTo>
                    <a:pt x="46" y="134"/>
                  </a:lnTo>
                  <a:lnTo>
                    <a:pt x="36" y="153"/>
                  </a:lnTo>
                  <a:lnTo>
                    <a:pt x="30" y="171"/>
                  </a:lnTo>
                  <a:lnTo>
                    <a:pt x="21" y="183"/>
                  </a:lnTo>
                  <a:lnTo>
                    <a:pt x="3" y="188"/>
                  </a:lnTo>
                  <a:lnTo>
                    <a:pt x="12" y="238"/>
                  </a:lnTo>
                  <a:lnTo>
                    <a:pt x="15" y="268"/>
                  </a:lnTo>
                  <a:lnTo>
                    <a:pt x="15" y="287"/>
                  </a:lnTo>
                  <a:lnTo>
                    <a:pt x="0" y="307"/>
                  </a:lnTo>
                  <a:lnTo>
                    <a:pt x="3" y="332"/>
                  </a:lnTo>
                  <a:lnTo>
                    <a:pt x="26" y="352"/>
                  </a:lnTo>
                  <a:lnTo>
                    <a:pt x="35" y="377"/>
                  </a:lnTo>
                  <a:lnTo>
                    <a:pt x="62" y="392"/>
                  </a:lnTo>
                  <a:lnTo>
                    <a:pt x="72" y="421"/>
                  </a:lnTo>
                  <a:lnTo>
                    <a:pt x="77" y="449"/>
                  </a:lnTo>
                  <a:lnTo>
                    <a:pt x="89" y="468"/>
                  </a:lnTo>
                  <a:lnTo>
                    <a:pt x="102" y="477"/>
                  </a:lnTo>
                  <a:lnTo>
                    <a:pt x="113" y="465"/>
                  </a:lnTo>
                  <a:lnTo>
                    <a:pt x="132" y="468"/>
                  </a:lnTo>
                  <a:lnTo>
                    <a:pt x="147" y="484"/>
                  </a:lnTo>
                  <a:lnTo>
                    <a:pt x="176" y="491"/>
                  </a:lnTo>
                  <a:lnTo>
                    <a:pt x="199" y="507"/>
                  </a:lnTo>
                  <a:lnTo>
                    <a:pt x="219" y="514"/>
                  </a:lnTo>
                  <a:lnTo>
                    <a:pt x="235" y="518"/>
                  </a:lnTo>
                  <a:lnTo>
                    <a:pt x="234" y="544"/>
                  </a:lnTo>
                  <a:lnTo>
                    <a:pt x="244" y="560"/>
                  </a:lnTo>
                  <a:lnTo>
                    <a:pt x="257" y="576"/>
                  </a:lnTo>
                  <a:lnTo>
                    <a:pt x="272" y="556"/>
                  </a:lnTo>
                  <a:lnTo>
                    <a:pt x="299" y="561"/>
                  </a:lnTo>
                  <a:lnTo>
                    <a:pt x="306" y="586"/>
                  </a:lnTo>
                  <a:lnTo>
                    <a:pt x="313" y="598"/>
                  </a:lnTo>
                  <a:lnTo>
                    <a:pt x="322" y="609"/>
                  </a:lnTo>
                  <a:lnTo>
                    <a:pt x="332" y="650"/>
                  </a:lnTo>
                  <a:lnTo>
                    <a:pt x="367" y="647"/>
                  </a:lnTo>
                  <a:lnTo>
                    <a:pt x="395" y="639"/>
                  </a:lnTo>
                  <a:lnTo>
                    <a:pt x="409" y="633"/>
                  </a:lnTo>
                  <a:lnTo>
                    <a:pt x="428" y="629"/>
                  </a:lnTo>
                  <a:lnTo>
                    <a:pt x="442" y="649"/>
                  </a:lnTo>
                  <a:lnTo>
                    <a:pt x="482" y="646"/>
                  </a:lnTo>
                  <a:lnTo>
                    <a:pt x="508" y="649"/>
                  </a:lnTo>
                  <a:lnTo>
                    <a:pt x="526" y="640"/>
                  </a:lnTo>
                  <a:lnTo>
                    <a:pt x="532" y="624"/>
                  </a:lnTo>
                  <a:lnTo>
                    <a:pt x="549" y="615"/>
                  </a:lnTo>
                  <a:lnTo>
                    <a:pt x="567" y="626"/>
                  </a:lnTo>
                  <a:lnTo>
                    <a:pt x="594" y="612"/>
                  </a:lnTo>
                  <a:lnTo>
                    <a:pt x="627" y="606"/>
                  </a:lnTo>
                  <a:lnTo>
                    <a:pt x="636" y="587"/>
                  </a:lnTo>
                  <a:lnTo>
                    <a:pt x="608" y="546"/>
                  </a:lnTo>
                  <a:lnTo>
                    <a:pt x="586" y="533"/>
                  </a:lnTo>
                  <a:lnTo>
                    <a:pt x="577" y="510"/>
                  </a:lnTo>
                  <a:lnTo>
                    <a:pt x="575" y="478"/>
                  </a:lnTo>
                  <a:lnTo>
                    <a:pt x="564" y="449"/>
                  </a:lnTo>
                  <a:lnTo>
                    <a:pt x="561" y="416"/>
                  </a:lnTo>
                  <a:lnTo>
                    <a:pt x="559" y="390"/>
                  </a:lnTo>
                  <a:lnTo>
                    <a:pt x="570" y="369"/>
                  </a:lnTo>
                  <a:lnTo>
                    <a:pt x="598" y="359"/>
                  </a:lnTo>
                  <a:lnTo>
                    <a:pt x="595" y="338"/>
                  </a:lnTo>
                  <a:lnTo>
                    <a:pt x="572" y="325"/>
                  </a:lnTo>
                  <a:lnTo>
                    <a:pt x="558" y="309"/>
                  </a:lnTo>
                  <a:lnTo>
                    <a:pt x="564" y="286"/>
                  </a:lnTo>
                  <a:lnTo>
                    <a:pt x="570" y="263"/>
                  </a:lnTo>
                  <a:lnTo>
                    <a:pt x="589" y="215"/>
                  </a:lnTo>
                  <a:lnTo>
                    <a:pt x="533" y="216"/>
                  </a:lnTo>
                  <a:lnTo>
                    <a:pt x="507" y="199"/>
                  </a:lnTo>
                  <a:lnTo>
                    <a:pt x="473" y="171"/>
                  </a:lnTo>
                  <a:lnTo>
                    <a:pt x="449" y="144"/>
                  </a:lnTo>
                  <a:lnTo>
                    <a:pt x="399" y="111"/>
                  </a:lnTo>
                  <a:lnTo>
                    <a:pt x="337" y="82"/>
                  </a:lnTo>
                  <a:lnTo>
                    <a:pt x="310" y="67"/>
                  </a:lnTo>
                  <a:lnTo>
                    <a:pt x="309" y="49"/>
                  </a:lnTo>
                  <a:lnTo>
                    <a:pt x="329" y="51"/>
                  </a:lnTo>
                  <a:lnTo>
                    <a:pt x="346" y="33"/>
                  </a:lnTo>
                  <a:lnTo>
                    <a:pt x="337" y="17"/>
                  </a:lnTo>
                  <a:lnTo>
                    <a:pt x="308" y="24"/>
                  </a:lnTo>
                  <a:lnTo>
                    <a:pt x="292" y="0"/>
                  </a:lnTo>
                  <a:lnTo>
                    <a:pt x="275" y="5"/>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8" name="Freeform 69">
              <a:extLst>
                <a:ext uri="{FF2B5EF4-FFF2-40B4-BE49-F238E27FC236}">
                  <a16:creationId xmlns:a16="http://schemas.microsoft.com/office/drawing/2014/main" id="{3EC2D665-362F-806A-855B-04253E6775FD}"/>
                </a:ext>
              </a:extLst>
            </p:cNvPr>
            <p:cNvSpPr>
              <a:spLocks/>
            </p:cNvSpPr>
            <p:nvPr/>
          </p:nvSpPr>
          <p:spPr bwMode="auto">
            <a:xfrm>
              <a:off x="5324742" y="4385255"/>
              <a:ext cx="80677" cy="184381"/>
            </a:xfrm>
            <a:custGeom>
              <a:avLst/>
              <a:gdLst>
                <a:gd name="T0" fmla="*/ 2147483647 w 180"/>
                <a:gd name="T1" fmla="*/ 2147483647 h 400"/>
                <a:gd name="T2" fmla="*/ 2147483647 w 180"/>
                <a:gd name="T3" fmla="*/ 0 h 400"/>
                <a:gd name="T4" fmla="*/ 2147483647 w 180"/>
                <a:gd name="T5" fmla="*/ 2147483647 h 400"/>
                <a:gd name="T6" fmla="*/ 2147483647 w 180"/>
                <a:gd name="T7" fmla="*/ 2147483647 h 400"/>
                <a:gd name="T8" fmla="*/ 2147483647 w 180"/>
                <a:gd name="T9" fmla="*/ 2147483647 h 400"/>
                <a:gd name="T10" fmla="*/ 2147483647 w 180"/>
                <a:gd name="T11" fmla="*/ 2147483647 h 400"/>
                <a:gd name="T12" fmla="*/ 2147483647 w 180"/>
                <a:gd name="T13" fmla="*/ 2147483647 h 400"/>
                <a:gd name="T14" fmla="*/ 2147483647 w 180"/>
                <a:gd name="T15" fmla="*/ 2147483647 h 400"/>
                <a:gd name="T16" fmla="*/ 2147483647 w 180"/>
                <a:gd name="T17" fmla="*/ 2147483647 h 400"/>
                <a:gd name="T18" fmla="*/ 2147483647 w 180"/>
                <a:gd name="T19" fmla="*/ 2147483647 h 400"/>
                <a:gd name="T20" fmla="*/ 2147483647 w 180"/>
                <a:gd name="T21" fmla="*/ 2147483647 h 400"/>
                <a:gd name="T22" fmla="*/ 2147483647 w 180"/>
                <a:gd name="T23" fmla="*/ 2147483647 h 400"/>
                <a:gd name="T24" fmla="*/ 0 w 180"/>
                <a:gd name="T25" fmla="*/ 2147483647 h 400"/>
                <a:gd name="T26" fmla="*/ 2147483647 w 180"/>
                <a:gd name="T27" fmla="*/ 2147483647 h 400"/>
                <a:gd name="T28" fmla="*/ 2147483647 w 180"/>
                <a:gd name="T29" fmla="*/ 2147483647 h 400"/>
                <a:gd name="T30" fmla="*/ 2147483647 w 180"/>
                <a:gd name="T31" fmla="*/ 2147483647 h 400"/>
                <a:gd name="T32" fmla="*/ 2147483647 w 180"/>
                <a:gd name="T33" fmla="*/ 2147483647 h 400"/>
                <a:gd name="T34" fmla="*/ 2147483647 w 180"/>
                <a:gd name="T35" fmla="*/ 2147483647 h 400"/>
                <a:gd name="T36" fmla="*/ 2147483647 w 180"/>
                <a:gd name="T37" fmla="*/ 2147483647 h 400"/>
                <a:gd name="T38" fmla="*/ 2147483647 w 180"/>
                <a:gd name="T39" fmla="*/ 2147483647 h 400"/>
                <a:gd name="T40" fmla="*/ 2147483647 w 180"/>
                <a:gd name="T41" fmla="*/ 2147483647 h 400"/>
                <a:gd name="T42" fmla="*/ 2147483647 w 180"/>
                <a:gd name="T43" fmla="*/ 2147483647 h 400"/>
                <a:gd name="T44" fmla="*/ 2147483647 w 180"/>
                <a:gd name="T45" fmla="*/ 2147483647 h 400"/>
                <a:gd name="T46" fmla="*/ 2147483647 w 180"/>
                <a:gd name="T47" fmla="*/ 2147483647 h 400"/>
                <a:gd name="T48" fmla="*/ 2147483647 w 180"/>
                <a:gd name="T49" fmla="*/ 2147483647 h 400"/>
                <a:gd name="T50" fmla="*/ 2147483647 w 180"/>
                <a:gd name="T51" fmla="*/ 2147483647 h 400"/>
                <a:gd name="T52" fmla="*/ 2147483647 w 180"/>
                <a:gd name="T53" fmla="*/ 2147483647 h 400"/>
                <a:gd name="T54" fmla="*/ 2147483647 w 180"/>
                <a:gd name="T55" fmla="*/ 2147483647 h 400"/>
                <a:gd name="T56" fmla="*/ 2147483647 w 180"/>
                <a:gd name="T57" fmla="*/ 2147483647 h 400"/>
                <a:gd name="T58" fmla="*/ 2147483647 w 180"/>
                <a:gd name="T59" fmla="*/ 2147483647 h 400"/>
                <a:gd name="T60" fmla="*/ 2147483647 w 180"/>
                <a:gd name="T61" fmla="*/ 2147483647 h 400"/>
                <a:gd name="T62" fmla="*/ 2147483647 w 180"/>
                <a:gd name="T63" fmla="*/ 2147483647 h 400"/>
                <a:gd name="T64" fmla="*/ 2147483647 w 180"/>
                <a:gd name="T65" fmla="*/ 2147483647 h 400"/>
                <a:gd name="T66" fmla="*/ 2147483647 w 180"/>
                <a:gd name="T67" fmla="*/ 2147483647 h 400"/>
                <a:gd name="T68" fmla="*/ 2147483647 w 180"/>
                <a:gd name="T69" fmla="*/ 2147483647 h 400"/>
                <a:gd name="T70" fmla="*/ 2147483647 w 180"/>
                <a:gd name="T71" fmla="*/ 2147483647 h 400"/>
                <a:gd name="T72" fmla="*/ 2147483647 w 180"/>
                <a:gd name="T73" fmla="*/ 2147483647 h 400"/>
                <a:gd name="T74" fmla="*/ 2147483647 w 180"/>
                <a:gd name="T75" fmla="*/ 2147483647 h 400"/>
                <a:gd name="T76" fmla="*/ 2147483647 w 180"/>
                <a:gd name="T77" fmla="*/ 2147483647 h 400"/>
                <a:gd name="T78" fmla="*/ 2147483647 w 180"/>
                <a:gd name="T79" fmla="*/ 2147483647 h 400"/>
                <a:gd name="T80" fmla="*/ 2147483647 w 180"/>
                <a:gd name="T81" fmla="*/ 2147483647 h 400"/>
                <a:gd name="T82" fmla="*/ 2147483647 w 180"/>
                <a:gd name="T83" fmla="*/ 2147483647 h 400"/>
                <a:gd name="T84" fmla="*/ 2147483647 w 180"/>
                <a:gd name="T85" fmla="*/ 2147483647 h 400"/>
                <a:gd name="T86" fmla="*/ 2147483647 w 180"/>
                <a:gd name="T87" fmla="*/ 2147483647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0"/>
                <a:gd name="T133" fmla="*/ 0 h 400"/>
                <a:gd name="T134" fmla="*/ 180 w 180"/>
                <a:gd name="T135" fmla="*/ 400 h 4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0" h="400">
                  <a:moveTo>
                    <a:pt x="95" y="5"/>
                  </a:moveTo>
                  <a:lnTo>
                    <a:pt x="69" y="0"/>
                  </a:lnTo>
                  <a:lnTo>
                    <a:pt x="56" y="19"/>
                  </a:lnTo>
                  <a:lnTo>
                    <a:pt x="43" y="29"/>
                  </a:lnTo>
                  <a:lnTo>
                    <a:pt x="22" y="61"/>
                  </a:lnTo>
                  <a:lnTo>
                    <a:pt x="30" y="94"/>
                  </a:lnTo>
                  <a:lnTo>
                    <a:pt x="47" y="117"/>
                  </a:lnTo>
                  <a:lnTo>
                    <a:pt x="44" y="139"/>
                  </a:lnTo>
                  <a:lnTo>
                    <a:pt x="36" y="144"/>
                  </a:lnTo>
                  <a:lnTo>
                    <a:pt x="30" y="154"/>
                  </a:lnTo>
                  <a:lnTo>
                    <a:pt x="11" y="167"/>
                  </a:lnTo>
                  <a:lnTo>
                    <a:pt x="14" y="187"/>
                  </a:lnTo>
                  <a:lnTo>
                    <a:pt x="0" y="212"/>
                  </a:lnTo>
                  <a:lnTo>
                    <a:pt x="27" y="232"/>
                  </a:lnTo>
                  <a:lnTo>
                    <a:pt x="55" y="256"/>
                  </a:lnTo>
                  <a:lnTo>
                    <a:pt x="86" y="260"/>
                  </a:lnTo>
                  <a:lnTo>
                    <a:pt x="93" y="270"/>
                  </a:lnTo>
                  <a:lnTo>
                    <a:pt x="92" y="298"/>
                  </a:lnTo>
                  <a:lnTo>
                    <a:pt x="84" y="338"/>
                  </a:lnTo>
                  <a:lnTo>
                    <a:pt x="100" y="354"/>
                  </a:lnTo>
                  <a:lnTo>
                    <a:pt x="106" y="365"/>
                  </a:lnTo>
                  <a:lnTo>
                    <a:pt x="121" y="382"/>
                  </a:lnTo>
                  <a:lnTo>
                    <a:pt x="132" y="399"/>
                  </a:lnTo>
                  <a:lnTo>
                    <a:pt x="152" y="400"/>
                  </a:lnTo>
                  <a:lnTo>
                    <a:pt x="161" y="378"/>
                  </a:lnTo>
                  <a:lnTo>
                    <a:pt x="173" y="365"/>
                  </a:lnTo>
                  <a:lnTo>
                    <a:pt x="176" y="354"/>
                  </a:lnTo>
                  <a:lnTo>
                    <a:pt x="176" y="341"/>
                  </a:lnTo>
                  <a:lnTo>
                    <a:pt x="179" y="320"/>
                  </a:lnTo>
                  <a:lnTo>
                    <a:pt x="180" y="294"/>
                  </a:lnTo>
                  <a:lnTo>
                    <a:pt x="176" y="269"/>
                  </a:lnTo>
                  <a:lnTo>
                    <a:pt x="134" y="236"/>
                  </a:lnTo>
                  <a:lnTo>
                    <a:pt x="139" y="218"/>
                  </a:lnTo>
                  <a:lnTo>
                    <a:pt x="132" y="201"/>
                  </a:lnTo>
                  <a:lnTo>
                    <a:pt x="122" y="193"/>
                  </a:lnTo>
                  <a:lnTo>
                    <a:pt x="123" y="179"/>
                  </a:lnTo>
                  <a:lnTo>
                    <a:pt x="117" y="144"/>
                  </a:lnTo>
                  <a:lnTo>
                    <a:pt x="105" y="120"/>
                  </a:lnTo>
                  <a:lnTo>
                    <a:pt x="115" y="101"/>
                  </a:lnTo>
                  <a:lnTo>
                    <a:pt x="131" y="88"/>
                  </a:lnTo>
                  <a:lnTo>
                    <a:pt x="118" y="53"/>
                  </a:lnTo>
                  <a:lnTo>
                    <a:pt x="106" y="38"/>
                  </a:lnTo>
                  <a:lnTo>
                    <a:pt x="99" y="24"/>
                  </a:lnTo>
                  <a:lnTo>
                    <a:pt x="95" y="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79" name="Freeform 70">
              <a:extLst>
                <a:ext uri="{FF2B5EF4-FFF2-40B4-BE49-F238E27FC236}">
                  <a16:creationId xmlns:a16="http://schemas.microsoft.com/office/drawing/2014/main" id="{9B40466B-348C-9607-7ABB-771DCA14F485}"/>
                </a:ext>
              </a:extLst>
            </p:cNvPr>
            <p:cNvSpPr>
              <a:spLocks/>
            </p:cNvSpPr>
            <p:nvPr/>
          </p:nvSpPr>
          <p:spPr bwMode="auto">
            <a:xfrm>
              <a:off x="5248549" y="4399083"/>
              <a:ext cx="289089" cy="456344"/>
            </a:xfrm>
            <a:custGeom>
              <a:avLst/>
              <a:gdLst>
                <a:gd name="T0" fmla="*/ 168 w 1200150"/>
                <a:gd name="T1" fmla="*/ 9 h 1838325"/>
                <a:gd name="T2" fmla="*/ 164 w 1200150"/>
                <a:gd name="T3" fmla="*/ 27 h 1838325"/>
                <a:gd name="T4" fmla="*/ 170 w 1200150"/>
                <a:gd name="T5" fmla="*/ 42 h 1838325"/>
                <a:gd name="T6" fmla="*/ 167 w 1200150"/>
                <a:gd name="T7" fmla="*/ 55 h 1838325"/>
                <a:gd name="T8" fmla="*/ 168 w 1200150"/>
                <a:gd name="T9" fmla="*/ 78 h 1838325"/>
                <a:gd name="T10" fmla="*/ 159 w 1200150"/>
                <a:gd name="T11" fmla="*/ 96 h 1838325"/>
                <a:gd name="T12" fmla="*/ 139 w 1200150"/>
                <a:gd name="T13" fmla="*/ 104 h 1838325"/>
                <a:gd name="T14" fmla="*/ 120 w 1200150"/>
                <a:gd name="T15" fmla="*/ 116 h 1838325"/>
                <a:gd name="T16" fmla="*/ 110 w 1200150"/>
                <a:gd name="T17" fmla="*/ 130 h 1838325"/>
                <a:gd name="T18" fmla="*/ 98 w 1200150"/>
                <a:gd name="T19" fmla="*/ 137 h 1838325"/>
                <a:gd name="T20" fmla="*/ 79 w 1200150"/>
                <a:gd name="T21" fmla="*/ 155 h 1838325"/>
                <a:gd name="T22" fmla="*/ 86 w 1200150"/>
                <a:gd name="T23" fmla="*/ 167 h 1838325"/>
                <a:gd name="T24" fmla="*/ 88 w 1200150"/>
                <a:gd name="T25" fmla="*/ 184 h 1838325"/>
                <a:gd name="T26" fmla="*/ 90 w 1200150"/>
                <a:gd name="T27" fmla="*/ 199 h 1838325"/>
                <a:gd name="T28" fmla="*/ 87 w 1200150"/>
                <a:gd name="T29" fmla="*/ 224 h 1838325"/>
                <a:gd name="T30" fmla="*/ 67 w 1200150"/>
                <a:gd name="T31" fmla="*/ 236 h 1838325"/>
                <a:gd name="T32" fmla="*/ 46 w 1200150"/>
                <a:gd name="T33" fmla="*/ 247 h 1838325"/>
                <a:gd name="T34" fmla="*/ 47 w 1200150"/>
                <a:gd name="T35" fmla="*/ 269 h 1838325"/>
                <a:gd name="T36" fmla="*/ 34 w 1200150"/>
                <a:gd name="T37" fmla="*/ 264 h 1838325"/>
                <a:gd name="T38" fmla="*/ 35 w 1200150"/>
                <a:gd name="T39" fmla="*/ 255 h 1838325"/>
                <a:gd name="T40" fmla="*/ 29 w 1200150"/>
                <a:gd name="T41" fmla="*/ 235 h 1838325"/>
                <a:gd name="T42" fmla="*/ 24 w 1200150"/>
                <a:gd name="T43" fmla="*/ 216 h 1838325"/>
                <a:gd name="T44" fmla="*/ 22 w 1200150"/>
                <a:gd name="T45" fmla="*/ 199 h 1838325"/>
                <a:gd name="T46" fmla="*/ 43 w 1200150"/>
                <a:gd name="T47" fmla="*/ 173 h 1838325"/>
                <a:gd name="T48" fmla="*/ 44 w 1200150"/>
                <a:gd name="T49" fmla="*/ 159 h 1838325"/>
                <a:gd name="T50" fmla="*/ 55 w 1200150"/>
                <a:gd name="T51" fmla="*/ 148 h 1838325"/>
                <a:gd name="T52" fmla="*/ 51 w 1200150"/>
                <a:gd name="T53" fmla="*/ 129 h 1838325"/>
                <a:gd name="T54" fmla="*/ 55 w 1200150"/>
                <a:gd name="T55" fmla="*/ 114 h 1838325"/>
                <a:gd name="T56" fmla="*/ 49 w 1200150"/>
                <a:gd name="T57" fmla="*/ 100 h 1838325"/>
                <a:gd name="T58" fmla="*/ 33 w 1200150"/>
                <a:gd name="T59" fmla="*/ 96 h 1838325"/>
                <a:gd name="T60" fmla="*/ 15 w 1200150"/>
                <a:gd name="T61" fmla="*/ 87 h 1838325"/>
                <a:gd name="T62" fmla="*/ 1 w 1200150"/>
                <a:gd name="T63" fmla="*/ 73 h 1838325"/>
                <a:gd name="T64" fmla="*/ 18 w 1200150"/>
                <a:gd name="T65" fmla="*/ 68 h 1838325"/>
                <a:gd name="T66" fmla="*/ 44 w 1200150"/>
                <a:gd name="T67" fmla="*/ 58 h 1838325"/>
                <a:gd name="T68" fmla="*/ 52 w 1200150"/>
                <a:gd name="T69" fmla="*/ 54 h 1838325"/>
                <a:gd name="T70" fmla="*/ 60 w 1200150"/>
                <a:gd name="T71" fmla="*/ 62 h 1838325"/>
                <a:gd name="T72" fmla="*/ 71 w 1200150"/>
                <a:gd name="T73" fmla="*/ 66 h 1838325"/>
                <a:gd name="T74" fmla="*/ 68 w 1200150"/>
                <a:gd name="T75" fmla="*/ 84 h 1838325"/>
                <a:gd name="T76" fmla="*/ 74 w 1200150"/>
                <a:gd name="T77" fmla="*/ 91 h 1838325"/>
                <a:gd name="T78" fmla="*/ 82 w 1200150"/>
                <a:gd name="T79" fmla="*/ 101 h 1838325"/>
                <a:gd name="T80" fmla="*/ 90 w 1200150"/>
                <a:gd name="T81" fmla="*/ 95 h 1838325"/>
                <a:gd name="T82" fmla="*/ 94 w 1200150"/>
                <a:gd name="T83" fmla="*/ 89 h 1838325"/>
                <a:gd name="T84" fmla="*/ 95 w 1200150"/>
                <a:gd name="T85" fmla="*/ 80 h 1838325"/>
                <a:gd name="T86" fmla="*/ 94 w 1200150"/>
                <a:gd name="T87" fmla="*/ 66 h 1838325"/>
                <a:gd name="T88" fmla="*/ 86 w 1200150"/>
                <a:gd name="T89" fmla="*/ 59 h 1838325"/>
                <a:gd name="T90" fmla="*/ 83 w 1200150"/>
                <a:gd name="T91" fmla="*/ 51 h 1838325"/>
                <a:gd name="T92" fmla="*/ 79 w 1200150"/>
                <a:gd name="T93" fmla="*/ 44 h 1838325"/>
                <a:gd name="T94" fmla="*/ 77 w 1200150"/>
                <a:gd name="T95" fmla="*/ 31 h 1838325"/>
                <a:gd name="T96" fmla="*/ 77 w 1200150"/>
                <a:gd name="T97" fmla="*/ 19 h 1838325"/>
                <a:gd name="T98" fmla="*/ 90 w 1200150"/>
                <a:gd name="T99" fmla="*/ 16 h 1838325"/>
                <a:gd name="T100" fmla="*/ 101 w 1200150"/>
                <a:gd name="T101" fmla="*/ 12 h 1838325"/>
                <a:gd name="T102" fmla="*/ 110 w 1200150"/>
                <a:gd name="T103" fmla="*/ 17 h 1838325"/>
                <a:gd name="T104" fmla="*/ 127 w 1200150"/>
                <a:gd name="T105" fmla="*/ 17 h 1838325"/>
                <a:gd name="T106" fmla="*/ 134 w 1200150"/>
                <a:gd name="T107" fmla="*/ 10 h 1838325"/>
                <a:gd name="T108" fmla="*/ 144 w 1200150"/>
                <a:gd name="T109" fmla="*/ 11 h 1838325"/>
                <a:gd name="T110" fmla="*/ 160 w 1200150"/>
                <a:gd name="T111" fmla="*/ 5 h 1838325"/>
                <a:gd name="T112" fmla="*/ 168 w 1200150"/>
                <a:gd name="T113" fmla="*/ 1 h 18383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0150"/>
                <a:gd name="T172" fmla="*/ 0 h 1838325"/>
                <a:gd name="T173" fmla="*/ 1200150 w 1200150"/>
                <a:gd name="T174" fmla="*/ 1838325 h 18383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0150" h="1838325">
                  <a:moveTo>
                    <a:pt x="1164431" y="7144"/>
                  </a:moveTo>
                  <a:lnTo>
                    <a:pt x="1158478" y="63104"/>
                  </a:lnTo>
                  <a:lnTo>
                    <a:pt x="1138237" y="127397"/>
                  </a:lnTo>
                  <a:lnTo>
                    <a:pt x="1132284" y="180975"/>
                  </a:lnTo>
                  <a:lnTo>
                    <a:pt x="1168003" y="233363"/>
                  </a:lnTo>
                  <a:lnTo>
                    <a:pt x="1178718" y="290513"/>
                  </a:lnTo>
                  <a:lnTo>
                    <a:pt x="1156096" y="317897"/>
                  </a:lnTo>
                  <a:lnTo>
                    <a:pt x="1152525" y="376238"/>
                  </a:lnTo>
                  <a:lnTo>
                    <a:pt x="1200150" y="448866"/>
                  </a:lnTo>
                  <a:lnTo>
                    <a:pt x="1164431" y="535782"/>
                  </a:lnTo>
                  <a:lnTo>
                    <a:pt x="1148677" y="596285"/>
                  </a:lnTo>
                  <a:lnTo>
                    <a:pt x="1100417" y="657100"/>
                  </a:lnTo>
                  <a:lnTo>
                    <a:pt x="1039808" y="705028"/>
                  </a:lnTo>
                  <a:lnTo>
                    <a:pt x="961911" y="715339"/>
                  </a:lnTo>
                  <a:lnTo>
                    <a:pt x="900996" y="746414"/>
                  </a:lnTo>
                  <a:lnTo>
                    <a:pt x="828274" y="794562"/>
                  </a:lnTo>
                  <a:lnTo>
                    <a:pt x="796307" y="838223"/>
                  </a:lnTo>
                  <a:lnTo>
                    <a:pt x="759998" y="889925"/>
                  </a:lnTo>
                  <a:lnTo>
                    <a:pt x="715299" y="899633"/>
                  </a:lnTo>
                  <a:lnTo>
                    <a:pt x="674723" y="938769"/>
                  </a:lnTo>
                  <a:lnTo>
                    <a:pt x="614428" y="1004017"/>
                  </a:lnTo>
                  <a:lnTo>
                    <a:pt x="545904" y="1060985"/>
                  </a:lnTo>
                  <a:lnTo>
                    <a:pt x="562828" y="1103291"/>
                  </a:lnTo>
                  <a:lnTo>
                    <a:pt x="596358" y="1145765"/>
                  </a:lnTo>
                  <a:lnTo>
                    <a:pt x="581134" y="1197084"/>
                  </a:lnTo>
                  <a:lnTo>
                    <a:pt x="606894" y="1256555"/>
                  </a:lnTo>
                  <a:lnTo>
                    <a:pt x="636778" y="1320635"/>
                  </a:lnTo>
                  <a:lnTo>
                    <a:pt x="620953" y="1363535"/>
                  </a:lnTo>
                  <a:lnTo>
                    <a:pt x="614195" y="1436241"/>
                  </a:lnTo>
                  <a:lnTo>
                    <a:pt x="599388" y="1535317"/>
                  </a:lnTo>
                  <a:lnTo>
                    <a:pt x="534512" y="1570679"/>
                  </a:lnTo>
                  <a:lnTo>
                    <a:pt x="461264" y="1614621"/>
                  </a:lnTo>
                  <a:lnTo>
                    <a:pt x="380161" y="1646063"/>
                  </a:lnTo>
                  <a:lnTo>
                    <a:pt x="319035" y="1690254"/>
                  </a:lnTo>
                  <a:lnTo>
                    <a:pt x="339328" y="1774032"/>
                  </a:lnTo>
                  <a:lnTo>
                    <a:pt x="325040" y="1838325"/>
                  </a:lnTo>
                  <a:lnTo>
                    <a:pt x="270271" y="1812132"/>
                  </a:lnTo>
                  <a:lnTo>
                    <a:pt x="234553" y="1803797"/>
                  </a:lnTo>
                  <a:lnTo>
                    <a:pt x="240506" y="1770460"/>
                  </a:lnTo>
                  <a:lnTo>
                    <a:pt x="245268" y="1741885"/>
                  </a:lnTo>
                  <a:lnTo>
                    <a:pt x="197643" y="1672829"/>
                  </a:lnTo>
                  <a:lnTo>
                    <a:pt x="198834" y="1606154"/>
                  </a:lnTo>
                  <a:lnTo>
                    <a:pt x="177403" y="1544241"/>
                  </a:lnTo>
                  <a:lnTo>
                    <a:pt x="167878" y="1476375"/>
                  </a:lnTo>
                  <a:lnTo>
                    <a:pt x="160734" y="1412082"/>
                  </a:lnTo>
                  <a:lnTo>
                    <a:pt x="151209" y="1359694"/>
                  </a:lnTo>
                  <a:lnTo>
                    <a:pt x="141684" y="1309688"/>
                  </a:lnTo>
                  <a:lnTo>
                    <a:pt x="297656" y="1181100"/>
                  </a:lnTo>
                  <a:lnTo>
                    <a:pt x="304800" y="1132285"/>
                  </a:lnTo>
                  <a:lnTo>
                    <a:pt x="302418" y="1088232"/>
                  </a:lnTo>
                  <a:lnTo>
                    <a:pt x="342900" y="1040607"/>
                  </a:lnTo>
                  <a:lnTo>
                    <a:pt x="377428" y="1010841"/>
                  </a:lnTo>
                  <a:lnTo>
                    <a:pt x="352425" y="962025"/>
                  </a:lnTo>
                  <a:lnTo>
                    <a:pt x="348853" y="885825"/>
                  </a:lnTo>
                  <a:lnTo>
                    <a:pt x="369093" y="835819"/>
                  </a:lnTo>
                  <a:lnTo>
                    <a:pt x="378618" y="777479"/>
                  </a:lnTo>
                  <a:lnTo>
                    <a:pt x="348853" y="734616"/>
                  </a:lnTo>
                  <a:lnTo>
                    <a:pt x="336946" y="686991"/>
                  </a:lnTo>
                  <a:lnTo>
                    <a:pt x="298846" y="672704"/>
                  </a:lnTo>
                  <a:lnTo>
                    <a:pt x="226218" y="653654"/>
                  </a:lnTo>
                  <a:lnTo>
                    <a:pt x="180975" y="627460"/>
                  </a:lnTo>
                  <a:lnTo>
                    <a:pt x="100012" y="596504"/>
                  </a:lnTo>
                  <a:lnTo>
                    <a:pt x="0" y="556022"/>
                  </a:lnTo>
                  <a:lnTo>
                    <a:pt x="8334" y="501254"/>
                  </a:lnTo>
                  <a:lnTo>
                    <a:pt x="75009" y="479822"/>
                  </a:lnTo>
                  <a:lnTo>
                    <a:pt x="127396" y="461963"/>
                  </a:lnTo>
                  <a:lnTo>
                    <a:pt x="186928" y="427435"/>
                  </a:lnTo>
                  <a:lnTo>
                    <a:pt x="304052" y="394800"/>
                  </a:lnTo>
                  <a:lnTo>
                    <a:pt x="310753" y="340519"/>
                  </a:lnTo>
                  <a:lnTo>
                    <a:pt x="355996" y="370285"/>
                  </a:lnTo>
                  <a:lnTo>
                    <a:pt x="396478" y="403622"/>
                  </a:lnTo>
                  <a:lnTo>
                    <a:pt x="416718" y="422672"/>
                  </a:lnTo>
                  <a:lnTo>
                    <a:pt x="475634" y="428212"/>
                  </a:lnTo>
                  <a:lnTo>
                    <a:pt x="490537" y="448866"/>
                  </a:lnTo>
                  <a:lnTo>
                    <a:pt x="484584" y="509588"/>
                  </a:lnTo>
                  <a:lnTo>
                    <a:pt x="471487" y="573882"/>
                  </a:lnTo>
                  <a:lnTo>
                    <a:pt x="502443" y="604838"/>
                  </a:lnTo>
                  <a:lnTo>
                    <a:pt x="513159" y="625079"/>
                  </a:lnTo>
                  <a:lnTo>
                    <a:pt x="532209" y="647700"/>
                  </a:lnTo>
                  <a:lnTo>
                    <a:pt x="564356" y="688182"/>
                  </a:lnTo>
                  <a:lnTo>
                    <a:pt x="603646" y="692944"/>
                  </a:lnTo>
                  <a:lnTo>
                    <a:pt x="622319" y="647514"/>
                  </a:lnTo>
                  <a:lnTo>
                    <a:pt x="642572" y="626074"/>
                  </a:lnTo>
                  <a:lnTo>
                    <a:pt x="647700" y="606029"/>
                  </a:lnTo>
                  <a:lnTo>
                    <a:pt x="648890" y="582216"/>
                  </a:lnTo>
                  <a:lnTo>
                    <a:pt x="656034" y="544116"/>
                  </a:lnTo>
                  <a:lnTo>
                    <a:pt x="654843" y="491729"/>
                  </a:lnTo>
                  <a:lnTo>
                    <a:pt x="650081" y="450057"/>
                  </a:lnTo>
                  <a:lnTo>
                    <a:pt x="626268" y="427435"/>
                  </a:lnTo>
                  <a:lnTo>
                    <a:pt x="593667" y="404061"/>
                  </a:lnTo>
                  <a:lnTo>
                    <a:pt x="569535" y="384831"/>
                  </a:lnTo>
                  <a:lnTo>
                    <a:pt x="576947" y="348171"/>
                  </a:lnTo>
                  <a:lnTo>
                    <a:pt x="564342" y="321240"/>
                  </a:lnTo>
                  <a:lnTo>
                    <a:pt x="546523" y="303769"/>
                  </a:lnTo>
                  <a:lnTo>
                    <a:pt x="544091" y="268692"/>
                  </a:lnTo>
                  <a:lnTo>
                    <a:pt x="534937" y="209386"/>
                  </a:lnTo>
                  <a:lnTo>
                    <a:pt x="511268" y="166267"/>
                  </a:lnTo>
                  <a:lnTo>
                    <a:pt x="529828" y="132160"/>
                  </a:lnTo>
                  <a:lnTo>
                    <a:pt x="553640" y="113110"/>
                  </a:lnTo>
                  <a:lnTo>
                    <a:pt x="621081" y="109485"/>
                  </a:lnTo>
                  <a:lnTo>
                    <a:pt x="663469" y="96072"/>
                  </a:lnTo>
                  <a:lnTo>
                    <a:pt x="695574" y="84719"/>
                  </a:lnTo>
                  <a:lnTo>
                    <a:pt x="733595" y="77942"/>
                  </a:lnTo>
                  <a:lnTo>
                    <a:pt x="761182" y="114435"/>
                  </a:lnTo>
                  <a:lnTo>
                    <a:pt x="827974" y="110413"/>
                  </a:lnTo>
                  <a:lnTo>
                    <a:pt x="880563" y="115078"/>
                  </a:lnTo>
                  <a:lnTo>
                    <a:pt x="915248" y="97590"/>
                  </a:lnTo>
                  <a:lnTo>
                    <a:pt x="924151" y="68864"/>
                  </a:lnTo>
                  <a:lnTo>
                    <a:pt x="956594" y="51417"/>
                  </a:lnTo>
                  <a:lnTo>
                    <a:pt x="991993" y="73253"/>
                  </a:lnTo>
                  <a:lnTo>
                    <a:pt x="1042176" y="44245"/>
                  </a:lnTo>
                  <a:lnTo>
                    <a:pt x="1103889" y="32354"/>
                  </a:lnTo>
                  <a:lnTo>
                    <a:pt x="1120378" y="0"/>
                  </a:lnTo>
                  <a:lnTo>
                    <a:pt x="1164431" y="714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0" name="Freeform 71">
              <a:extLst>
                <a:ext uri="{FF2B5EF4-FFF2-40B4-BE49-F238E27FC236}">
                  <a16:creationId xmlns:a16="http://schemas.microsoft.com/office/drawing/2014/main" id="{3B1D3F4D-0F58-84B1-F5D2-F65B56615DAE}"/>
                </a:ext>
              </a:extLst>
            </p:cNvPr>
            <p:cNvSpPr>
              <a:spLocks/>
            </p:cNvSpPr>
            <p:nvPr/>
          </p:nvSpPr>
          <p:spPr bwMode="auto">
            <a:xfrm>
              <a:off x="4988592" y="4594986"/>
              <a:ext cx="244269" cy="260438"/>
            </a:xfrm>
            <a:custGeom>
              <a:avLst/>
              <a:gdLst>
                <a:gd name="T0" fmla="*/ 16 w 1004887"/>
                <a:gd name="T1" fmla="*/ 0 h 1047750"/>
                <a:gd name="T2" fmla="*/ 49 w 1004887"/>
                <a:gd name="T3" fmla="*/ 1 h 1047750"/>
                <a:gd name="T4" fmla="*/ 58 w 1004887"/>
                <a:gd name="T5" fmla="*/ 3 h 1047750"/>
                <a:gd name="T6" fmla="*/ 69 w 1004887"/>
                <a:gd name="T7" fmla="*/ 2 h 1047750"/>
                <a:gd name="T8" fmla="*/ 75 w 1004887"/>
                <a:gd name="T9" fmla="*/ 2 h 1047750"/>
                <a:gd name="T10" fmla="*/ 83 w 1004887"/>
                <a:gd name="T11" fmla="*/ 1 h 1047750"/>
                <a:gd name="T12" fmla="*/ 88 w 1004887"/>
                <a:gd name="T13" fmla="*/ 7 h 1047750"/>
                <a:gd name="T14" fmla="*/ 94 w 1004887"/>
                <a:gd name="T15" fmla="*/ 13 h 1047750"/>
                <a:gd name="T16" fmla="*/ 97 w 1004887"/>
                <a:gd name="T17" fmla="*/ 20 h 1047750"/>
                <a:gd name="T18" fmla="*/ 101 w 1004887"/>
                <a:gd name="T19" fmla="*/ 27 h 1047750"/>
                <a:gd name="T20" fmla="*/ 108 w 1004887"/>
                <a:gd name="T21" fmla="*/ 31 h 1047750"/>
                <a:gd name="T22" fmla="*/ 115 w 1004887"/>
                <a:gd name="T23" fmla="*/ 34 h 1047750"/>
                <a:gd name="T24" fmla="*/ 123 w 1004887"/>
                <a:gd name="T25" fmla="*/ 39 h 1047750"/>
                <a:gd name="T26" fmla="*/ 130 w 1004887"/>
                <a:gd name="T27" fmla="*/ 47 h 1047750"/>
                <a:gd name="T28" fmla="*/ 132 w 1004887"/>
                <a:gd name="T29" fmla="*/ 58 h 1047750"/>
                <a:gd name="T30" fmla="*/ 137 w 1004887"/>
                <a:gd name="T31" fmla="*/ 67 h 1047750"/>
                <a:gd name="T32" fmla="*/ 143 w 1004887"/>
                <a:gd name="T33" fmla="*/ 73 h 1047750"/>
                <a:gd name="T34" fmla="*/ 145 w 1004887"/>
                <a:gd name="T35" fmla="*/ 83 h 1047750"/>
                <a:gd name="T36" fmla="*/ 152 w 1004887"/>
                <a:gd name="T37" fmla="*/ 88 h 1047750"/>
                <a:gd name="T38" fmla="*/ 149 w 1004887"/>
                <a:gd name="T39" fmla="*/ 94 h 1047750"/>
                <a:gd name="T40" fmla="*/ 141 w 1004887"/>
                <a:gd name="T41" fmla="*/ 95 h 1047750"/>
                <a:gd name="T42" fmla="*/ 133 w 1004887"/>
                <a:gd name="T43" fmla="*/ 99 h 1047750"/>
                <a:gd name="T44" fmla="*/ 129 w 1004887"/>
                <a:gd name="T45" fmla="*/ 106 h 1047750"/>
                <a:gd name="T46" fmla="*/ 106 w 1004887"/>
                <a:gd name="T47" fmla="*/ 119 h 1047750"/>
                <a:gd name="T48" fmla="*/ 100 w 1004887"/>
                <a:gd name="T49" fmla="*/ 129 h 1047750"/>
                <a:gd name="T50" fmla="*/ 89 w 1004887"/>
                <a:gd name="T51" fmla="*/ 134 h 1047750"/>
                <a:gd name="T52" fmla="*/ 73 w 1004887"/>
                <a:gd name="T53" fmla="*/ 128 h 1047750"/>
                <a:gd name="T54" fmla="*/ 63 w 1004887"/>
                <a:gd name="T55" fmla="*/ 125 h 1047750"/>
                <a:gd name="T56" fmla="*/ 53 w 1004887"/>
                <a:gd name="T57" fmla="*/ 126 h 1047750"/>
                <a:gd name="T58" fmla="*/ 31 w 1004887"/>
                <a:gd name="T59" fmla="*/ 153 h 1047750"/>
                <a:gd name="T60" fmla="*/ 23 w 1004887"/>
                <a:gd name="T61" fmla="*/ 154 h 1047750"/>
                <a:gd name="T62" fmla="*/ 17 w 1004887"/>
                <a:gd name="T63" fmla="*/ 149 h 1047750"/>
                <a:gd name="T64" fmla="*/ 20 w 1004887"/>
                <a:gd name="T65" fmla="*/ 142 h 1047750"/>
                <a:gd name="T66" fmla="*/ 14 w 1004887"/>
                <a:gd name="T67" fmla="*/ 137 h 1047750"/>
                <a:gd name="T68" fmla="*/ 7 w 1004887"/>
                <a:gd name="T69" fmla="*/ 129 h 1047750"/>
                <a:gd name="T70" fmla="*/ 2 w 1004887"/>
                <a:gd name="T71" fmla="*/ 108 h 1047750"/>
                <a:gd name="T72" fmla="*/ 0 w 1004887"/>
                <a:gd name="T73" fmla="*/ 65 h 1047750"/>
                <a:gd name="T74" fmla="*/ 16 w 1004887"/>
                <a:gd name="T75" fmla="*/ 63 h 1047750"/>
                <a:gd name="T76" fmla="*/ 16 w 1004887"/>
                <a:gd name="T77" fmla="*/ 0 h 10477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04887"/>
                <a:gd name="T118" fmla="*/ 0 h 1047750"/>
                <a:gd name="T119" fmla="*/ 1004887 w 1004887"/>
                <a:gd name="T120" fmla="*/ 1047750 h 10477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04887" h="1047750">
                  <a:moveTo>
                    <a:pt x="104775" y="0"/>
                  </a:moveTo>
                  <a:lnTo>
                    <a:pt x="321468" y="4763"/>
                  </a:lnTo>
                  <a:lnTo>
                    <a:pt x="383381" y="21431"/>
                  </a:lnTo>
                  <a:lnTo>
                    <a:pt x="457200" y="16669"/>
                  </a:lnTo>
                  <a:lnTo>
                    <a:pt x="497681" y="14288"/>
                  </a:lnTo>
                  <a:lnTo>
                    <a:pt x="549270" y="5605"/>
                  </a:lnTo>
                  <a:lnTo>
                    <a:pt x="579421" y="49371"/>
                  </a:lnTo>
                  <a:lnTo>
                    <a:pt x="622146" y="89176"/>
                  </a:lnTo>
                  <a:lnTo>
                    <a:pt x="640992" y="132214"/>
                  </a:lnTo>
                  <a:lnTo>
                    <a:pt x="666287" y="182131"/>
                  </a:lnTo>
                  <a:lnTo>
                    <a:pt x="712370" y="207883"/>
                  </a:lnTo>
                  <a:lnTo>
                    <a:pt x="761613" y="233577"/>
                  </a:lnTo>
                  <a:lnTo>
                    <a:pt x="812006" y="266700"/>
                  </a:lnTo>
                  <a:lnTo>
                    <a:pt x="857250" y="319088"/>
                  </a:lnTo>
                  <a:lnTo>
                    <a:pt x="869156" y="395288"/>
                  </a:lnTo>
                  <a:lnTo>
                    <a:pt x="902493" y="457200"/>
                  </a:lnTo>
                  <a:lnTo>
                    <a:pt x="943029" y="499426"/>
                  </a:lnTo>
                  <a:lnTo>
                    <a:pt x="959643" y="566738"/>
                  </a:lnTo>
                  <a:lnTo>
                    <a:pt x="1004887" y="600075"/>
                  </a:lnTo>
                  <a:lnTo>
                    <a:pt x="985837" y="640556"/>
                  </a:lnTo>
                  <a:lnTo>
                    <a:pt x="928687" y="642938"/>
                  </a:lnTo>
                  <a:lnTo>
                    <a:pt x="881062" y="676275"/>
                  </a:lnTo>
                  <a:lnTo>
                    <a:pt x="852487" y="723900"/>
                  </a:lnTo>
                  <a:lnTo>
                    <a:pt x="702468" y="807244"/>
                  </a:lnTo>
                  <a:lnTo>
                    <a:pt x="659606" y="876300"/>
                  </a:lnTo>
                  <a:lnTo>
                    <a:pt x="585787" y="912019"/>
                  </a:lnTo>
                  <a:lnTo>
                    <a:pt x="480931" y="868844"/>
                  </a:lnTo>
                  <a:lnTo>
                    <a:pt x="415611" y="853237"/>
                  </a:lnTo>
                  <a:lnTo>
                    <a:pt x="350043" y="857250"/>
                  </a:lnTo>
                  <a:lnTo>
                    <a:pt x="204787" y="1040606"/>
                  </a:lnTo>
                  <a:lnTo>
                    <a:pt x="150018" y="1047750"/>
                  </a:lnTo>
                  <a:lnTo>
                    <a:pt x="114300" y="1012031"/>
                  </a:lnTo>
                  <a:lnTo>
                    <a:pt x="135731" y="962025"/>
                  </a:lnTo>
                  <a:lnTo>
                    <a:pt x="91807" y="929080"/>
                  </a:lnTo>
                  <a:lnTo>
                    <a:pt x="42862" y="878681"/>
                  </a:lnTo>
                  <a:lnTo>
                    <a:pt x="15061" y="731766"/>
                  </a:lnTo>
                  <a:lnTo>
                    <a:pt x="0" y="440531"/>
                  </a:lnTo>
                  <a:lnTo>
                    <a:pt x="107156" y="431006"/>
                  </a:lnTo>
                  <a:lnTo>
                    <a:pt x="104775"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1" name="Freeform 72">
              <a:extLst>
                <a:ext uri="{FF2B5EF4-FFF2-40B4-BE49-F238E27FC236}">
                  <a16:creationId xmlns:a16="http://schemas.microsoft.com/office/drawing/2014/main" id="{95141E69-6996-1932-D954-5614C552E1E8}"/>
                </a:ext>
              </a:extLst>
            </p:cNvPr>
            <p:cNvSpPr>
              <a:spLocks/>
            </p:cNvSpPr>
            <p:nvPr/>
          </p:nvSpPr>
          <p:spPr bwMode="auto">
            <a:xfrm>
              <a:off x="4907914" y="4724054"/>
              <a:ext cx="419069" cy="368763"/>
            </a:xfrm>
            <a:custGeom>
              <a:avLst/>
              <a:gdLst>
                <a:gd name="T0" fmla="*/ 0 w 1747837"/>
                <a:gd name="T1" fmla="*/ 102 h 1494500"/>
                <a:gd name="T2" fmla="*/ 21 w 1747837"/>
                <a:gd name="T3" fmla="*/ 101 h 1494500"/>
                <a:gd name="T4" fmla="*/ 38 w 1747837"/>
                <a:gd name="T5" fmla="*/ 105 h 1494500"/>
                <a:gd name="T6" fmla="*/ 55 w 1747837"/>
                <a:gd name="T7" fmla="*/ 75 h 1494500"/>
                <a:gd name="T8" fmla="*/ 62 w 1747837"/>
                <a:gd name="T9" fmla="*/ 58 h 1494500"/>
                <a:gd name="T10" fmla="*/ 65 w 1747837"/>
                <a:gd name="T11" fmla="*/ 70 h 1494500"/>
                <a:gd name="T12" fmla="*/ 77 w 1747837"/>
                <a:gd name="T13" fmla="*/ 74 h 1494500"/>
                <a:gd name="T14" fmla="*/ 98 w 1747837"/>
                <a:gd name="T15" fmla="*/ 48 h 1494500"/>
                <a:gd name="T16" fmla="*/ 117 w 1747837"/>
                <a:gd name="T17" fmla="*/ 50 h 1494500"/>
                <a:gd name="T18" fmla="*/ 142 w 1747837"/>
                <a:gd name="T19" fmla="*/ 51 h 1494500"/>
                <a:gd name="T20" fmla="*/ 159 w 1747837"/>
                <a:gd name="T21" fmla="*/ 35 h 1494500"/>
                <a:gd name="T22" fmla="*/ 170 w 1747837"/>
                <a:gd name="T23" fmla="*/ 29 h 1494500"/>
                <a:gd name="T24" fmla="*/ 180 w 1747837"/>
                <a:gd name="T25" fmla="*/ 18 h 1494500"/>
                <a:gd name="T26" fmla="*/ 191 w 1747837"/>
                <a:gd name="T27" fmla="*/ 12 h 1494500"/>
                <a:gd name="T28" fmla="*/ 207 w 1747837"/>
                <a:gd name="T29" fmla="*/ 3 h 1494500"/>
                <a:gd name="T30" fmla="*/ 223 w 1747837"/>
                <a:gd name="T31" fmla="*/ 15 h 1494500"/>
                <a:gd name="T32" fmla="*/ 226 w 1747837"/>
                <a:gd name="T33" fmla="*/ 33 h 1494500"/>
                <a:gd name="T34" fmla="*/ 229 w 1747837"/>
                <a:gd name="T35" fmla="*/ 51 h 1494500"/>
                <a:gd name="T36" fmla="*/ 219 w 1747837"/>
                <a:gd name="T37" fmla="*/ 63 h 1494500"/>
                <a:gd name="T38" fmla="*/ 221 w 1747837"/>
                <a:gd name="T39" fmla="*/ 79 h 1494500"/>
                <a:gd name="T40" fmla="*/ 239 w 1747837"/>
                <a:gd name="T41" fmla="*/ 72 h 1494500"/>
                <a:gd name="T42" fmla="*/ 240 w 1747837"/>
                <a:gd name="T43" fmla="*/ 87 h 1494500"/>
                <a:gd name="T44" fmla="*/ 236 w 1747837"/>
                <a:gd name="T45" fmla="*/ 101 h 1494500"/>
                <a:gd name="T46" fmla="*/ 224 w 1747837"/>
                <a:gd name="T47" fmla="*/ 118 h 1494500"/>
                <a:gd name="T48" fmla="*/ 201 w 1747837"/>
                <a:gd name="T49" fmla="*/ 151 h 1494500"/>
                <a:gd name="T50" fmla="*/ 185 w 1747837"/>
                <a:gd name="T51" fmla="*/ 166 h 1494500"/>
                <a:gd name="T52" fmla="*/ 169 w 1747837"/>
                <a:gd name="T53" fmla="*/ 183 h 1494500"/>
                <a:gd name="T54" fmla="*/ 154 w 1747837"/>
                <a:gd name="T55" fmla="*/ 192 h 1494500"/>
                <a:gd name="T56" fmla="*/ 143 w 1747837"/>
                <a:gd name="T57" fmla="*/ 193 h 1494500"/>
                <a:gd name="T58" fmla="*/ 128 w 1747837"/>
                <a:gd name="T59" fmla="*/ 198 h 1494500"/>
                <a:gd name="T60" fmla="*/ 116 w 1747837"/>
                <a:gd name="T61" fmla="*/ 201 h 1494500"/>
                <a:gd name="T62" fmla="*/ 103 w 1747837"/>
                <a:gd name="T63" fmla="*/ 201 h 1494500"/>
                <a:gd name="T64" fmla="*/ 92 w 1747837"/>
                <a:gd name="T65" fmla="*/ 200 h 1494500"/>
                <a:gd name="T66" fmla="*/ 79 w 1747837"/>
                <a:gd name="T67" fmla="*/ 205 h 1494500"/>
                <a:gd name="T68" fmla="*/ 60 w 1747837"/>
                <a:gd name="T69" fmla="*/ 212 h 1494500"/>
                <a:gd name="T70" fmla="*/ 51 w 1747837"/>
                <a:gd name="T71" fmla="*/ 205 h 1494500"/>
                <a:gd name="T72" fmla="*/ 41 w 1747837"/>
                <a:gd name="T73" fmla="*/ 203 h 1494500"/>
                <a:gd name="T74" fmla="*/ 38 w 1747837"/>
                <a:gd name="T75" fmla="*/ 195 h 1494500"/>
                <a:gd name="T76" fmla="*/ 32 w 1747837"/>
                <a:gd name="T77" fmla="*/ 185 h 1494500"/>
                <a:gd name="T78" fmla="*/ 38 w 1747837"/>
                <a:gd name="T79" fmla="*/ 179 h 1494500"/>
                <a:gd name="T80" fmla="*/ 36 w 1747837"/>
                <a:gd name="T81" fmla="*/ 165 h 1494500"/>
                <a:gd name="T82" fmla="*/ 25 w 1747837"/>
                <a:gd name="T83" fmla="*/ 149 h 1494500"/>
                <a:gd name="T84" fmla="*/ 19 w 1747837"/>
                <a:gd name="T85" fmla="*/ 135 h 1494500"/>
                <a:gd name="T86" fmla="*/ 10 w 1747837"/>
                <a:gd name="T87" fmla="*/ 117 h 14945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7837"/>
                <a:gd name="T133" fmla="*/ 0 h 1494500"/>
                <a:gd name="T134" fmla="*/ 1747837 w 1747837"/>
                <a:gd name="T135" fmla="*/ 1494500 h 14945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7837" h="1494500">
                  <a:moveTo>
                    <a:pt x="69105" y="826041"/>
                  </a:moveTo>
                  <a:lnTo>
                    <a:pt x="0" y="719138"/>
                  </a:lnTo>
                  <a:lnTo>
                    <a:pt x="40481" y="669132"/>
                  </a:lnTo>
                  <a:lnTo>
                    <a:pt x="144864" y="714058"/>
                  </a:lnTo>
                  <a:lnTo>
                    <a:pt x="199787" y="784301"/>
                  </a:lnTo>
                  <a:lnTo>
                    <a:pt x="271462" y="740569"/>
                  </a:lnTo>
                  <a:lnTo>
                    <a:pt x="397668" y="697707"/>
                  </a:lnTo>
                  <a:lnTo>
                    <a:pt x="390525" y="528638"/>
                  </a:lnTo>
                  <a:lnTo>
                    <a:pt x="388143" y="369094"/>
                  </a:lnTo>
                  <a:lnTo>
                    <a:pt x="436249" y="412567"/>
                  </a:lnTo>
                  <a:lnTo>
                    <a:pt x="478631" y="446485"/>
                  </a:lnTo>
                  <a:lnTo>
                    <a:pt x="457200" y="495300"/>
                  </a:lnTo>
                  <a:lnTo>
                    <a:pt x="495300" y="533400"/>
                  </a:lnTo>
                  <a:lnTo>
                    <a:pt x="547687" y="523875"/>
                  </a:lnTo>
                  <a:lnTo>
                    <a:pt x="611981" y="442913"/>
                  </a:lnTo>
                  <a:lnTo>
                    <a:pt x="690562" y="341710"/>
                  </a:lnTo>
                  <a:lnTo>
                    <a:pt x="757237" y="335757"/>
                  </a:lnTo>
                  <a:lnTo>
                    <a:pt x="823912" y="354807"/>
                  </a:lnTo>
                  <a:lnTo>
                    <a:pt x="926306" y="392907"/>
                  </a:lnTo>
                  <a:lnTo>
                    <a:pt x="1003974" y="360083"/>
                  </a:lnTo>
                  <a:lnTo>
                    <a:pt x="1047750" y="288132"/>
                  </a:lnTo>
                  <a:lnTo>
                    <a:pt x="1126162" y="244446"/>
                  </a:lnTo>
                  <a:lnTo>
                    <a:pt x="1163811" y="225016"/>
                  </a:lnTo>
                  <a:lnTo>
                    <a:pt x="1200523" y="203259"/>
                  </a:lnTo>
                  <a:lnTo>
                    <a:pt x="1220390" y="160735"/>
                  </a:lnTo>
                  <a:lnTo>
                    <a:pt x="1270396" y="126207"/>
                  </a:lnTo>
                  <a:lnTo>
                    <a:pt x="1329150" y="122187"/>
                  </a:lnTo>
                  <a:lnTo>
                    <a:pt x="1350168" y="84535"/>
                  </a:lnTo>
                  <a:lnTo>
                    <a:pt x="1415940" y="76087"/>
                  </a:lnTo>
                  <a:lnTo>
                    <a:pt x="1464468" y="23813"/>
                  </a:lnTo>
                  <a:lnTo>
                    <a:pt x="1559718" y="0"/>
                  </a:lnTo>
                  <a:lnTo>
                    <a:pt x="1580068" y="103573"/>
                  </a:lnTo>
                  <a:lnTo>
                    <a:pt x="1585912" y="169069"/>
                  </a:lnTo>
                  <a:lnTo>
                    <a:pt x="1597818" y="235744"/>
                  </a:lnTo>
                  <a:lnTo>
                    <a:pt x="1617116" y="297401"/>
                  </a:lnTo>
                  <a:lnTo>
                    <a:pt x="1618059" y="361950"/>
                  </a:lnTo>
                  <a:lnTo>
                    <a:pt x="1583531" y="395288"/>
                  </a:lnTo>
                  <a:lnTo>
                    <a:pt x="1552575" y="440532"/>
                  </a:lnTo>
                  <a:lnTo>
                    <a:pt x="1538287" y="519113"/>
                  </a:lnTo>
                  <a:lnTo>
                    <a:pt x="1566862" y="557213"/>
                  </a:lnTo>
                  <a:lnTo>
                    <a:pt x="1611899" y="601198"/>
                  </a:lnTo>
                  <a:lnTo>
                    <a:pt x="1693068" y="504825"/>
                  </a:lnTo>
                  <a:lnTo>
                    <a:pt x="1747837" y="531019"/>
                  </a:lnTo>
                  <a:lnTo>
                    <a:pt x="1700697" y="616459"/>
                  </a:lnTo>
                  <a:lnTo>
                    <a:pt x="1721643" y="692944"/>
                  </a:lnTo>
                  <a:lnTo>
                    <a:pt x="1670304" y="715433"/>
                  </a:lnTo>
                  <a:lnTo>
                    <a:pt x="1647547" y="791772"/>
                  </a:lnTo>
                  <a:lnTo>
                    <a:pt x="1586586" y="832246"/>
                  </a:lnTo>
                  <a:lnTo>
                    <a:pt x="1497453" y="946346"/>
                  </a:lnTo>
                  <a:lnTo>
                    <a:pt x="1424512" y="1065777"/>
                  </a:lnTo>
                  <a:lnTo>
                    <a:pt x="1356067" y="1137320"/>
                  </a:lnTo>
                  <a:lnTo>
                    <a:pt x="1308360" y="1169118"/>
                  </a:lnTo>
                  <a:lnTo>
                    <a:pt x="1266323" y="1217687"/>
                  </a:lnTo>
                  <a:lnTo>
                    <a:pt x="1195247" y="1292090"/>
                  </a:lnTo>
                  <a:lnTo>
                    <a:pt x="1150120" y="1318217"/>
                  </a:lnTo>
                  <a:lnTo>
                    <a:pt x="1089107" y="1355881"/>
                  </a:lnTo>
                  <a:lnTo>
                    <a:pt x="1051667" y="1362185"/>
                  </a:lnTo>
                  <a:lnTo>
                    <a:pt x="1011393" y="1360104"/>
                  </a:lnTo>
                  <a:lnTo>
                    <a:pt x="955743" y="1397671"/>
                  </a:lnTo>
                  <a:lnTo>
                    <a:pt x="904743" y="1395784"/>
                  </a:lnTo>
                  <a:lnTo>
                    <a:pt x="878488" y="1427193"/>
                  </a:lnTo>
                  <a:lnTo>
                    <a:pt x="821921" y="1414159"/>
                  </a:lnTo>
                  <a:lnTo>
                    <a:pt x="767830" y="1389832"/>
                  </a:lnTo>
                  <a:lnTo>
                    <a:pt x="728066" y="1415862"/>
                  </a:lnTo>
                  <a:lnTo>
                    <a:pt x="690320" y="1405299"/>
                  </a:lnTo>
                  <a:lnTo>
                    <a:pt x="652829" y="1408792"/>
                  </a:lnTo>
                  <a:lnTo>
                    <a:pt x="599861" y="1446310"/>
                  </a:lnTo>
                  <a:lnTo>
                    <a:pt x="556956" y="1447088"/>
                  </a:lnTo>
                  <a:lnTo>
                    <a:pt x="487287" y="1451165"/>
                  </a:lnTo>
                  <a:lnTo>
                    <a:pt x="423695" y="1494500"/>
                  </a:lnTo>
                  <a:lnTo>
                    <a:pt x="396777" y="1489365"/>
                  </a:lnTo>
                  <a:lnTo>
                    <a:pt x="358470" y="1447879"/>
                  </a:lnTo>
                  <a:lnTo>
                    <a:pt x="334183" y="1439883"/>
                  </a:lnTo>
                  <a:lnTo>
                    <a:pt x="291074" y="1429418"/>
                  </a:lnTo>
                  <a:lnTo>
                    <a:pt x="266583" y="1410178"/>
                  </a:lnTo>
                  <a:lnTo>
                    <a:pt x="271283" y="1373536"/>
                  </a:lnTo>
                  <a:lnTo>
                    <a:pt x="259893" y="1337185"/>
                  </a:lnTo>
                  <a:lnTo>
                    <a:pt x="227153" y="1306846"/>
                  </a:lnTo>
                  <a:lnTo>
                    <a:pt x="226490" y="1270302"/>
                  </a:lnTo>
                  <a:lnTo>
                    <a:pt x="266561" y="1261139"/>
                  </a:lnTo>
                  <a:lnTo>
                    <a:pt x="271056" y="1213252"/>
                  </a:lnTo>
                  <a:lnTo>
                    <a:pt x="254100" y="1165755"/>
                  </a:lnTo>
                  <a:lnTo>
                    <a:pt x="204658" y="1101975"/>
                  </a:lnTo>
                  <a:lnTo>
                    <a:pt x="179555" y="1049002"/>
                  </a:lnTo>
                  <a:lnTo>
                    <a:pt x="143879" y="1004656"/>
                  </a:lnTo>
                  <a:lnTo>
                    <a:pt x="137597" y="954152"/>
                  </a:lnTo>
                  <a:lnTo>
                    <a:pt x="109404" y="878738"/>
                  </a:lnTo>
                  <a:lnTo>
                    <a:pt x="69105" y="826041"/>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2" name="Freeform 73">
              <a:extLst>
                <a:ext uri="{FF2B5EF4-FFF2-40B4-BE49-F238E27FC236}">
                  <a16:creationId xmlns:a16="http://schemas.microsoft.com/office/drawing/2014/main" id="{AB1E7CCC-CE95-C600-AA71-6E61D367F582}"/>
                </a:ext>
              </a:extLst>
            </p:cNvPr>
            <p:cNvSpPr>
              <a:spLocks/>
            </p:cNvSpPr>
            <p:nvPr/>
          </p:nvSpPr>
          <p:spPr bwMode="auto">
            <a:xfrm rot="21537619">
              <a:off x="5179076" y="4910741"/>
              <a:ext cx="60508" cy="59923"/>
            </a:xfrm>
            <a:custGeom>
              <a:avLst/>
              <a:gdLst>
                <a:gd name="T0" fmla="*/ 2147483647 w 560"/>
                <a:gd name="T1" fmla="*/ 2147483647 h 504"/>
                <a:gd name="T2" fmla="*/ 2147483647 w 560"/>
                <a:gd name="T3" fmla="*/ 2147483647 h 504"/>
                <a:gd name="T4" fmla="*/ 2147483647 w 560"/>
                <a:gd name="T5" fmla="*/ 2147483647 h 504"/>
                <a:gd name="T6" fmla="*/ 2147483647 w 560"/>
                <a:gd name="T7" fmla="*/ 2147483647 h 504"/>
                <a:gd name="T8" fmla="*/ 2147483647 w 560"/>
                <a:gd name="T9" fmla="*/ 2147483647 h 504"/>
                <a:gd name="T10" fmla="*/ 0 w 560"/>
                <a:gd name="T11" fmla="*/ 2147483647 h 504"/>
                <a:gd name="T12" fmla="*/ 2147483647 w 560"/>
                <a:gd name="T13" fmla="*/ 2147483647 h 504"/>
                <a:gd name="T14" fmla="*/ 2147483647 w 560"/>
                <a:gd name="T15" fmla="*/ 2147483647 h 504"/>
                <a:gd name="T16" fmla="*/ 2147483647 w 560"/>
                <a:gd name="T17" fmla="*/ 0 h 504"/>
                <a:gd name="T18" fmla="*/ 2147483647 w 560"/>
                <a:gd name="T19" fmla="*/ 2147483647 h 504"/>
                <a:gd name="T20" fmla="*/ 2147483647 w 560"/>
                <a:gd name="T21" fmla="*/ 2147483647 h 504"/>
                <a:gd name="T22" fmla="*/ 2147483647 w 560"/>
                <a:gd name="T23" fmla="*/ 2147483647 h 504"/>
                <a:gd name="T24" fmla="*/ 2147483647 w 560"/>
                <a:gd name="T25" fmla="*/ 2147483647 h 5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0"/>
                <a:gd name="T40" fmla="*/ 0 h 504"/>
                <a:gd name="T41" fmla="*/ 560 w 560"/>
                <a:gd name="T42" fmla="*/ 504 h 5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0" h="504">
                  <a:moveTo>
                    <a:pt x="432" y="344"/>
                  </a:moveTo>
                  <a:lnTo>
                    <a:pt x="288" y="408"/>
                  </a:lnTo>
                  <a:lnTo>
                    <a:pt x="168" y="504"/>
                  </a:lnTo>
                  <a:lnTo>
                    <a:pt x="96" y="456"/>
                  </a:lnTo>
                  <a:lnTo>
                    <a:pt x="56" y="360"/>
                  </a:lnTo>
                  <a:lnTo>
                    <a:pt x="0" y="304"/>
                  </a:lnTo>
                  <a:lnTo>
                    <a:pt x="96" y="160"/>
                  </a:lnTo>
                  <a:lnTo>
                    <a:pt x="216" y="40"/>
                  </a:lnTo>
                  <a:lnTo>
                    <a:pt x="392" y="0"/>
                  </a:lnTo>
                  <a:lnTo>
                    <a:pt x="496" y="96"/>
                  </a:lnTo>
                  <a:lnTo>
                    <a:pt x="560" y="192"/>
                  </a:lnTo>
                  <a:lnTo>
                    <a:pt x="488" y="272"/>
                  </a:lnTo>
                  <a:lnTo>
                    <a:pt x="432" y="34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3" name="Freeform 74">
              <a:extLst>
                <a:ext uri="{FF2B5EF4-FFF2-40B4-BE49-F238E27FC236}">
                  <a16:creationId xmlns:a16="http://schemas.microsoft.com/office/drawing/2014/main" id="{11EBA151-E11B-923B-B3C2-9306C87CF307}"/>
                </a:ext>
              </a:extLst>
            </p:cNvPr>
            <p:cNvSpPr>
              <a:spLocks/>
            </p:cNvSpPr>
            <p:nvPr/>
          </p:nvSpPr>
          <p:spPr bwMode="auto">
            <a:xfrm>
              <a:off x="4558317" y="3765271"/>
              <a:ext cx="302536" cy="248915"/>
            </a:xfrm>
            <a:custGeom>
              <a:avLst/>
              <a:gdLst>
                <a:gd name="T0" fmla="*/ 88 w 1257300"/>
                <a:gd name="T1" fmla="*/ 135 h 1004887"/>
                <a:gd name="T2" fmla="*/ 89 w 1257300"/>
                <a:gd name="T3" fmla="*/ 141 h 1004887"/>
                <a:gd name="T4" fmla="*/ 66 w 1257300"/>
                <a:gd name="T5" fmla="*/ 145 h 1004887"/>
                <a:gd name="T6" fmla="*/ 55 w 1257300"/>
                <a:gd name="T7" fmla="*/ 144 h 1004887"/>
                <a:gd name="T8" fmla="*/ 46 w 1257300"/>
                <a:gd name="T9" fmla="*/ 143 h 1004887"/>
                <a:gd name="T10" fmla="*/ 41 w 1257300"/>
                <a:gd name="T11" fmla="*/ 139 h 1004887"/>
                <a:gd name="T12" fmla="*/ 34 w 1257300"/>
                <a:gd name="T13" fmla="*/ 130 h 1004887"/>
                <a:gd name="T14" fmla="*/ 30 w 1257300"/>
                <a:gd name="T15" fmla="*/ 119 h 1004887"/>
                <a:gd name="T16" fmla="*/ 22 w 1257300"/>
                <a:gd name="T17" fmla="*/ 114 h 1004887"/>
                <a:gd name="T18" fmla="*/ 12 w 1257300"/>
                <a:gd name="T19" fmla="*/ 114 h 1004887"/>
                <a:gd name="T20" fmla="*/ 1 w 1257300"/>
                <a:gd name="T21" fmla="*/ 113 h 1004887"/>
                <a:gd name="T22" fmla="*/ 0 w 1257300"/>
                <a:gd name="T23" fmla="*/ 86 h 1004887"/>
                <a:gd name="T24" fmla="*/ 3 w 1257300"/>
                <a:gd name="T25" fmla="*/ 74 h 1004887"/>
                <a:gd name="T26" fmla="*/ 12 w 1257300"/>
                <a:gd name="T27" fmla="*/ 65 h 1004887"/>
                <a:gd name="T28" fmla="*/ 17 w 1257300"/>
                <a:gd name="T29" fmla="*/ 56 h 1004887"/>
                <a:gd name="T30" fmla="*/ 18 w 1257300"/>
                <a:gd name="T31" fmla="*/ 46 h 1004887"/>
                <a:gd name="T32" fmla="*/ 13 w 1257300"/>
                <a:gd name="T33" fmla="*/ 33 h 1004887"/>
                <a:gd name="T34" fmla="*/ 16 w 1257300"/>
                <a:gd name="T35" fmla="*/ 30 h 1004887"/>
                <a:gd name="T36" fmla="*/ 17 w 1257300"/>
                <a:gd name="T37" fmla="*/ 21 h 1004887"/>
                <a:gd name="T38" fmla="*/ 24 w 1257300"/>
                <a:gd name="T39" fmla="*/ 13 h 1004887"/>
                <a:gd name="T40" fmla="*/ 25 w 1257300"/>
                <a:gd name="T41" fmla="*/ 3 h 1004887"/>
                <a:gd name="T42" fmla="*/ 33 w 1257300"/>
                <a:gd name="T43" fmla="*/ 1 h 1004887"/>
                <a:gd name="T44" fmla="*/ 43 w 1257300"/>
                <a:gd name="T45" fmla="*/ 0 h 1004887"/>
                <a:gd name="T46" fmla="*/ 53 w 1257300"/>
                <a:gd name="T47" fmla="*/ 5 h 1004887"/>
                <a:gd name="T48" fmla="*/ 62 w 1257300"/>
                <a:gd name="T49" fmla="*/ 10 h 1004887"/>
                <a:gd name="T50" fmla="*/ 71 w 1257300"/>
                <a:gd name="T51" fmla="*/ 8 h 1004887"/>
                <a:gd name="T52" fmla="*/ 84 w 1257300"/>
                <a:gd name="T53" fmla="*/ 8 h 1004887"/>
                <a:gd name="T54" fmla="*/ 91 w 1257300"/>
                <a:gd name="T55" fmla="*/ 11 h 1004887"/>
                <a:gd name="T56" fmla="*/ 102 w 1257300"/>
                <a:gd name="T57" fmla="*/ 12 h 1004887"/>
                <a:gd name="T58" fmla="*/ 120 w 1257300"/>
                <a:gd name="T59" fmla="*/ 6 h 1004887"/>
                <a:gd name="T60" fmla="*/ 131 w 1257300"/>
                <a:gd name="T61" fmla="*/ 5 h 1004887"/>
                <a:gd name="T62" fmla="*/ 140 w 1257300"/>
                <a:gd name="T63" fmla="*/ 9 h 1004887"/>
                <a:gd name="T64" fmla="*/ 149 w 1257300"/>
                <a:gd name="T65" fmla="*/ 8 h 1004887"/>
                <a:gd name="T66" fmla="*/ 157 w 1257300"/>
                <a:gd name="T67" fmla="*/ 6 h 1004887"/>
                <a:gd name="T68" fmla="*/ 164 w 1257300"/>
                <a:gd name="T69" fmla="*/ 4 h 1004887"/>
                <a:gd name="T70" fmla="*/ 168 w 1257300"/>
                <a:gd name="T71" fmla="*/ 14 h 1004887"/>
                <a:gd name="T72" fmla="*/ 175 w 1257300"/>
                <a:gd name="T73" fmla="*/ 18 h 1004887"/>
                <a:gd name="T74" fmla="*/ 176 w 1257300"/>
                <a:gd name="T75" fmla="*/ 26 h 1004887"/>
                <a:gd name="T76" fmla="*/ 181 w 1257300"/>
                <a:gd name="T77" fmla="*/ 28 h 1004887"/>
                <a:gd name="T78" fmla="*/ 176 w 1257300"/>
                <a:gd name="T79" fmla="*/ 36 h 1004887"/>
                <a:gd name="T80" fmla="*/ 180 w 1257300"/>
                <a:gd name="T81" fmla="*/ 41 h 1004887"/>
                <a:gd name="T82" fmla="*/ 175 w 1257300"/>
                <a:gd name="T83" fmla="*/ 46 h 1004887"/>
                <a:gd name="T84" fmla="*/ 169 w 1257300"/>
                <a:gd name="T85" fmla="*/ 55 h 1004887"/>
                <a:gd name="T86" fmla="*/ 164 w 1257300"/>
                <a:gd name="T87" fmla="*/ 72 h 1004887"/>
                <a:gd name="T88" fmla="*/ 158 w 1257300"/>
                <a:gd name="T89" fmla="*/ 79 h 1004887"/>
                <a:gd name="T90" fmla="*/ 152 w 1257300"/>
                <a:gd name="T91" fmla="*/ 87 h 1004887"/>
                <a:gd name="T92" fmla="*/ 145 w 1257300"/>
                <a:gd name="T93" fmla="*/ 90 h 1004887"/>
                <a:gd name="T94" fmla="*/ 139 w 1257300"/>
                <a:gd name="T95" fmla="*/ 101 h 1004887"/>
                <a:gd name="T96" fmla="*/ 133 w 1257300"/>
                <a:gd name="T97" fmla="*/ 111 h 1004887"/>
                <a:gd name="T98" fmla="*/ 126 w 1257300"/>
                <a:gd name="T99" fmla="*/ 111 h 1004887"/>
                <a:gd name="T100" fmla="*/ 117 w 1257300"/>
                <a:gd name="T101" fmla="*/ 109 h 1004887"/>
                <a:gd name="T102" fmla="*/ 108 w 1257300"/>
                <a:gd name="T103" fmla="*/ 107 h 1004887"/>
                <a:gd name="T104" fmla="*/ 101 w 1257300"/>
                <a:gd name="T105" fmla="*/ 115 h 1004887"/>
                <a:gd name="T106" fmla="*/ 93 w 1257300"/>
                <a:gd name="T107" fmla="*/ 124 h 1004887"/>
                <a:gd name="T108" fmla="*/ 88 w 1257300"/>
                <a:gd name="T109" fmla="*/ 135 h 100488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57300"/>
                <a:gd name="T166" fmla="*/ 0 h 1004887"/>
                <a:gd name="T167" fmla="*/ 1257300 w 1257300"/>
                <a:gd name="T168" fmla="*/ 1004887 h 100488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57300" h="1004887">
                  <a:moveTo>
                    <a:pt x="614363" y="933450"/>
                  </a:moveTo>
                  <a:lnTo>
                    <a:pt x="615553" y="977503"/>
                  </a:lnTo>
                  <a:lnTo>
                    <a:pt x="456010" y="1004887"/>
                  </a:lnTo>
                  <a:lnTo>
                    <a:pt x="381000" y="996553"/>
                  </a:lnTo>
                  <a:lnTo>
                    <a:pt x="317897" y="989409"/>
                  </a:lnTo>
                  <a:lnTo>
                    <a:pt x="287927" y="959735"/>
                  </a:lnTo>
                  <a:lnTo>
                    <a:pt x="233027" y="901125"/>
                  </a:lnTo>
                  <a:lnTo>
                    <a:pt x="209550" y="821531"/>
                  </a:lnTo>
                  <a:lnTo>
                    <a:pt x="154781" y="785812"/>
                  </a:lnTo>
                  <a:lnTo>
                    <a:pt x="86916" y="787003"/>
                  </a:lnTo>
                  <a:lnTo>
                    <a:pt x="8335" y="782240"/>
                  </a:lnTo>
                  <a:lnTo>
                    <a:pt x="0" y="594121"/>
                  </a:lnTo>
                  <a:lnTo>
                    <a:pt x="23813" y="510778"/>
                  </a:lnTo>
                  <a:lnTo>
                    <a:pt x="82153" y="448865"/>
                  </a:lnTo>
                  <a:lnTo>
                    <a:pt x="120253" y="385762"/>
                  </a:lnTo>
                  <a:lnTo>
                    <a:pt x="125016" y="320278"/>
                  </a:lnTo>
                  <a:lnTo>
                    <a:pt x="94060" y="227409"/>
                  </a:lnTo>
                  <a:lnTo>
                    <a:pt x="109538" y="204787"/>
                  </a:lnTo>
                  <a:lnTo>
                    <a:pt x="119063" y="144065"/>
                  </a:lnTo>
                  <a:lnTo>
                    <a:pt x="166688" y="88106"/>
                  </a:lnTo>
                  <a:lnTo>
                    <a:pt x="172641" y="23812"/>
                  </a:lnTo>
                  <a:lnTo>
                    <a:pt x="232172" y="9525"/>
                  </a:lnTo>
                  <a:lnTo>
                    <a:pt x="296466" y="0"/>
                  </a:lnTo>
                  <a:lnTo>
                    <a:pt x="366713" y="38100"/>
                  </a:lnTo>
                  <a:lnTo>
                    <a:pt x="431006" y="66675"/>
                  </a:lnTo>
                  <a:lnTo>
                    <a:pt x="491728" y="55959"/>
                  </a:lnTo>
                  <a:lnTo>
                    <a:pt x="582216" y="53578"/>
                  </a:lnTo>
                  <a:lnTo>
                    <a:pt x="634603" y="77390"/>
                  </a:lnTo>
                  <a:lnTo>
                    <a:pt x="706041" y="85725"/>
                  </a:lnTo>
                  <a:lnTo>
                    <a:pt x="833438" y="40481"/>
                  </a:lnTo>
                  <a:lnTo>
                    <a:pt x="908447" y="34528"/>
                  </a:lnTo>
                  <a:lnTo>
                    <a:pt x="973931" y="60721"/>
                  </a:lnTo>
                  <a:lnTo>
                    <a:pt x="1035844" y="55959"/>
                  </a:lnTo>
                  <a:lnTo>
                    <a:pt x="1094185" y="44053"/>
                  </a:lnTo>
                  <a:lnTo>
                    <a:pt x="1141810" y="25003"/>
                  </a:lnTo>
                  <a:lnTo>
                    <a:pt x="1168003" y="97631"/>
                  </a:lnTo>
                  <a:lnTo>
                    <a:pt x="1215628" y="127396"/>
                  </a:lnTo>
                  <a:lnTo>
                    <a:pt x="1225153" y="177403"/>
                  </a:lnTo>
                  <a:lnTo>
                    <a:pt x="1257300" y="191690"/>
                  </a:lnTo>
                  <a:lnTo>
                    <a:pt x="1220391" y="247650"/>
                  </a:lnTo>
                  <a:lnTo>
                    <a:pt x="1253728" y="283368"/>
                  </a:lnTo>
                  <a:lnTo>
                    <a:pt x="1218358" y="315228"/>
                  </a:lnTo>
                  <a:lnTo>
                    <a:pt x="1175775" y="379113"/>
                  </a:lnTo>
                  <a:lnTo>
                    <a:pt x="1140874" y="495453"/>
                  </a:lnTo>
                  <a:lnTo>
                    <a:pt x="1098101" y="548824"/>
                  </a:lnTo>
                  <a:lnTo>
                    <a:pt x="1054894" y="598884"/>
                  </a:lnTo>
                  <a:lnTo>
                    <a:pt x="1009650" y="621506"/>
                  </a:lnTo>
                  <a:lnTo>
                    <a:pt x="969169" y="701278"/>
                  </a:lnTo>
                  <a:lnTo>
                    <a:pt x="921544" y="764381"/>
                  </a:lnTo>
                  <a:lnTo>
                    <a:pt x="873919" y="767953"/>
                  </a:lnTo>
                  <a:lnTo>
                    <a:pt x="812006" y="752475"/>
                  </a:lnTo>
                  <a:lnTo>
                    <a:pt x="753666" y="740568"/>
                  </a:lnTo>
                  <a:lnTo>
                    <a:pt x="700088" y="796528"/>
                  </a:lnTo>
                  <a:lnTo>
                    <a:pt x="642938" y="856059"/>
                  </a:lnTo>
                  <a:lnTo>
                    <a:pt x="614363" y="93345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4" name="Freeform 75">
              <a:extLst>
                <a:ext uri="{FF2B5EF4-FFF2-40B4-BE49-F238E27FC236}">
                  <a16:creationId xmlns:a16="http://schemas.microsoft.com/office/drawing/2014/main" id="{D496B11B-7342-7E49-9871-705847102A98}"/>
                </a:ext>
              </a:extLst>
            </p:cNvPr>
            <p:cNvSpPr>
              <a:spLocks/>
            </p:cNvSpPr>
            <p:nvPr/>
          </p:nvSpPr>
          <p:spPr bwMode="auto">
            <a:xfrm>
              <a:off x="4706224" y="3769881"/>
              <a:ext cx="192727" cy="311143"/>
            </a:xfrm>
            <a:custGeom>
              <a:avLst/>
              <a:gdLst>
                <a:gd name="T0" fmla="*/ 2147483647 w 430"/>
                <a:gd name="T1" fmla="*/ 2147483647 h 675"/>
                <a:gd name="T2" fmla="*/ 2147483647 w 430"/>
                <a:gd name="T3" fmla="*/ 2147483647 h 675"/>
                <a:gd name="T4" fmla="*/ 2147483647 w 430"/>
                <a:gd name="T5" fmla="*/ 2147483647 h 675"/>
                <a:gd name="T6" fmla="*/ 2147483647 w 430"/>
                <a:gd name="T7" fmla="*/ 2147483647 h 675"/>
                <a:gd name="T8" fmla="*/ 2147483647 w 430"/>
                <a:gd name="T9" fmla="*/ 2147483647 h 675"/>
                <a:gd name="T10" fmla="*/ 2147483647 w 430"/>
                <a:gd name="T11" fmla="*/ 2147483647 h 675"/>
                <a:gd name="T12" fmla="*/ 2147483647 w 430"/>
                <a:gd name="T13" fmla="*/ 2147483647 h 675"/>
                <a:gd name="T14" fmla="*/ 2147483647 w 430"/>
                <a:gd name="T15" fmla="*/ 2147483647 h 675"/>
                <a:gd name="T16" fmla="*/ 2147483647 w 430"/>
                <a:gd name="T17" fmla="*/ 2147483647 h 675"/>
                <a:gd name="T18" fmla="*/ 2147483647 w 430"/>
                <a:gd name="T19" fmla="*/ 2147483647 h 675"/>
                <a:gd name="T20" fmla="*/ 2147483647 w 430"/>
                <a:gd name="T21" fmla="*/ 2147483647 h 675"/>
                <a:gd name="T22" fmla="*/ 2147483647 w 430"/>
                <a:gd name="T23" fmla="*/ 2147483647 h 675"/>
                <a:gd name="T24" fmla="*/ 2147483647 w 430"/>
                <a:gd name="T25" fmla="*/ 2147483647 h 675"/>
                <a:gd name="T26" fmla="*/ 2147483647 w 430"/>
                <a:gd name="T27" fmla="*/ 2147483647 h 675"/>
                <a:gd name="T28" fmla="*/ 0 w 430"/>
                <a:gd name="T29" fmla="*/ 2147483647 h 675"/>
                <a:gd name="T30" fmla="*/ 2147483647 w 430"/>
                <a:gd name="T31" fmla="*/ 2147483647 h 675"/>
                <a:gd name="T32" fmla="*/ 2147483647 w 430"/>
                <a:gd name="T33" fmla="*/ 2147483647 h 675"/>
                <a:gd name="T34" fmla="*/ 2147483647 w 430"/>
                <a:gd name="T35" fmla="*/ 2147483647 h 675"/>
                <a:gd name="T36" fmla="*/ 2147483647 w 430"/>
                <a:gd name="T37" fmla="*/ 2147483647 h 675"/>
                <a:gd name="T38" fmla="*/ 2147483647 w 430"/>
                <a:gd name="T39" fmla="*/ 2147483647 h 675"/>
                <a:gd name="T40" fmla="*/ 2147483647 w 430"/>
                <a:gd name="T41" fmla="*/ 2147483647 h 675"/>
                <a:gd name="T42" fmla="*/ 2147483647 w 430"/>
                <a:gd name="T43" fmla="*/ 2147483647 h 675"/>
                <a:gd name="T44" fmla="*/ 2147483647 w 430"/>
                <a:gd name="T45" fmla="*/ 2147483647 h 675"/>
                <a:gd name="T46" fmla="*/ 2147483647 w 430"/>
                <a:gd name="T47" fmla="*/ 2147483647 h 675"/>
                <a:gd name="T48" fmla="*/ 2147483647 w 430"/>
                <a:gd name="T49" fmla="*/ 2147483647 h 675"/>
                <a:gd name="T50" fmla="*/ 2147483647 w 430"/>
                <a:gd name="T51" fmla="*/ 2147483647 h 675"/>
                <a:gd name="T52" fmla="*/ 2147483647 w 430"/>
                <a:gd name="T53" fmla="*/ 2147483647 h 675"/>
                <a:gd name="T54" fmla="*/ 2147483647 w 430"/>
                <a:gd name="T55" fmla="*/ 2147483647 h 675"/>
                <a:gd name="T56" fmla="*/ 2147483647 w 430"/>
                <a:gd name="T57" fmla="*/ 2147483647 h 675"/>
                <a:gd name="T58" fmla="*/ 2147483647 w 430"/>
                <a:gd name="T59" fmla="*/ 2147483647 h 675"/>
                <a:gd name="T60" fmla="*/ 2147483647 w 430"/>
                <a:gd name="T61" fmla="*/ 2147483647 h 675"/>
                <a:gd name="T62" fmla="*/ 2147483647 w 430"/>
                <a:gd name="T63" fmla="*/ 2147483647 h 675"/>
                <a:gd name="T64" fmla="*/ 2147483647 w 430"/>
                <a:gd name="T65" fmla="*/ 0 h 675"/>
                <a:gd name="T66" fmla="*/ 2147483647 w 430"/>
                <a:gd name="T67" fmla="*/ 2147483647 h 675"/>
                <a:gd name="T68" fmla="*/ 2147483647 w 430"/>
                <a:gd name="T69" fmla="*/ 2147483647 h 675"/>
                <a:gd name="T70" fmla="*/ 2147483647 w 430"/>
                <a:gd name="T71" fmla="*/ 2147483647 h 675"/>
                <a:gd name="T72" fmla="*/ 2147483647 w 430"/>
                <a:gd name="T73" fmla="*/ 2147483647 h 675"/>
                <a:gd name="T74" fmla="*/ 2147483647 w 430"/>
                <a:gd name="T75" fmla="*/ 2147483647 h 675"/>
                <a:gd name="T76" fmla="*/ 2147483647 w 430"/>
                <a:gd name="T77" fmla="*/ 2147483647 h 675"/>
                <a:gd name="T78" fmla="*/ 2147483647 w 430"/>
                <a:gd name="T79" fmla="*/ 2147483647 h 675"/>
                <a:gd name="T80" fmla="*/ 2147483647 w 430"/>
                <a:gd name="T81" fmla="*/ 2147483647 h 675"/>
                <a:gd name="T82" fmla="*/ 2147483647 w 430"/>
                <a:gd name="T83" fmla="*/ 2147483647 h 675"/>
                <a:gd name="T84" fmla="*/ 2147483647 w 430"/>
                <a:gd name="T85" fmla="*/ 2147483647 h 675"/>
                <a:gd name="T86" fmla="*/ 2147483647 w 430"/>
                <a:gd name="T87" fmla="*/ 2147483647 h 675"/>
                <a:gd name="T88" fmla="*/ 2147483647 w 430"/>
                <a:gd name="T89" fmla="*/ 2147483647 h 675"/>
                <a:gd name="T90" fmla="*/ 2147483647 w 430"/>
                <a:gd name="T91" fmla="*/ 2147483647 h 675"/>
                <a:gd name="T92" fmla="*/ 2147483647 w 430"/>
                <a:gd name="T93" fmla="*/ 2147483647 h 675"/>
                <a:gd name="T94" fmla="*/ 2147483647 w 430"/>
                <a:gd name="T95" fmla="*/ 2147483647 h 675"/>
                <a:gd name="T96" fmla="*/ 2147483647 w 430"/>
                <a:gd name="T97" fmla="*/ 2147483647 h 675"/>
                <a:gd name="T98" fmla="*/ 2147483647 w 430"/>
                <a:gd name="T99" fmla="*/ 2147483647 h 675"/>
                <a:gd name="T100" fmla="*/ 2147483647 w 430"/>
                <a:gd name="T101" fmla="*/ 2147483647 h 675"/>
                <a:gd name="T102" fmla="*/ 2147483647 w 430"/>
                <a:gd name="T103" fmla="*/ 2147483647 h 675"/>
                <a:gd name="T104" fmla="*/ 2147483647 w 430"/>
                <a:gd name="T105" fmla="*/ 2147483647 h 675"/>
                <a:gd name="T106" fmla="*/ 2147483647 w 430"/>
                <a:gd name="T107" fmla="*/ 2147483647 h 675"/>
                <a:gd name="T108" fmla="*/ 2147483647 w 430"/>
                <a:gd name="T109" fmla="*/ 2147483647 h 67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0"/>
                <a:gd name="T166" fmla="*/ 0 h 675"/>
                <a:gd name="T167" fmla="*/ 800100 w 430"/>
                <a:gd name="T168" fmla="*/ 1254919 h 67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0" h="675">
                  <a:moveTo>
                    <a:pt x="372" y="673"/>
                  </a:moveTo>
                  <a:lnTo>
                    <a:pt x="319" y="664"/>
                  </a:lnTo>
                  <a:lnTo>
                    <a:pt x="271" y="653"/>
                  </a:lnTo>
                  <a:lnTo>
                    <a:pt x="232" y="647"/>
                  </a:lnTo>
                  <a:lnTo>
                    <a:pt x="203" y="647"/>
                  </a:lnTo>
                  <a:lnTo>
                    <a:pt x="163" y="653"/>
                  </a:lnTo>
                  <a:lnTo>
                    <a:pt x="135" y="649"/>
                  </a:lnTo>
                  <a:lnTo>
                    <a:pt x="93" y="653"/>
                  </a:lnTo>
                  <a:lnTo>
                    <a:pt x="77" y="644"/>
                  </a:lnTo>
                  <a:lnTo>
                    <a:pt x="67" y="619"/>
                  </a:lnTo>
                  <a:lnTo>
                    <a:pt x="53" y="613"/>
                  </a:lnTo>
                  <a:lnTo>
                    <a:pt x="44" y="575"/>
                  </a:lnTo>
                  <a:lnTo>
                    <a:pt x="24" y="556"/>
                  </a:lnTo>
                  <a:lnTo>
                    <a:pt x="3" y="517"/>
                  </a:lnTo>
                  <a:lnTo>
                    <a:pt x="0" y="493"/>
                  </a:lnTo>
                  <a:lnTo>
                    <a:pt x="15" y="451"/>
                  </a:lnTo>
                  <a:lnTo>
                    <a:pt x="75" y="389"/>
                  </a:lnTo>
                  <a:lnTo>
                    <a:pt x="138" y="403"/>
                  </a:lnTo>
                  <a:lnTo>
                    <a:pt x="166" y="402"/>
                  </a:lnTo>
                  <a:lnTo>
                    <a:pt x="190" y="370"/>
                  </a:lnTo>
                  <a:lnTo>
                    <a:pt x="212" y="326"/>
                  </a:lnTo>
                  <a:lnTo>
                    <a:pt x="236" y="314"/>
                  </a:lnTo>
                  <a:lnTo>
                    <a:pt x="284" y="257"/>
                  </a:lnTo>
                  <a:lnTo>
                    <a:pt x="303" y="195"/>
                  </a:lnTo>
                  <a:lnTo>
                    <a:pt x="324" y="161"/>
                  </a:lnTo>
                  <a:lnTo>
                    <a:pt x="346" y="143"/>
                  </a:lnTo>
                  <a:lnTo>
                    <a:pt x="325" y="125"/>
                  </a:lnTo>
                  <a:lnTo>
                    <a:pt x="347" y="94"/>
                  </a:lnTo>
                  <a:lnTo>
                    <a:pt x="330" y="87"/>
                  </a:lnTo>
                  <a:lnTo>
                    <a:pt x="323" y="60"/>
                  </a:lnTo>
                  <a:lnTo>
                    <a:pt x="300" y="44"/>
                  </a:lnTo>
                  <a:lnTo>
                    <a:pt x="285" y="4"/>
                  </a:lnTo>
                  <a:lnTo>
                    <a:pt x="296" y="0"/>
                  </a:lnTo>
                  <a:lnTo>
                    <a:pt x="331" y="24"/>
                  </a:lnTo>
                  <a:lnTo>
                    <a:pt x="351" y="42"/>
                  </a:lnTo>
                  <a:lnTo>
                    <a:pt x="370" y="66"/>
                  </a:lnTo>
                  <a:lnTo>
                    <a:pt x="376" y="88"/>
                  </a:lnTo>
                  <a:lnTo>
                    <a:pt x="397" y="106"/>
                  </a:lnTo>
                  <a:lnTo>
                    <a:pt x="392" y="151"/>
                  </a:lnTo>
                  <a:lnTo>
                    <a:pt x="397" y="183"/>
                  </a:lnTo>
                  <a:lnTo>
                    <a:pt x="392" y="200"/>
                  </a:lnTo>
                  <a:lnTo>
                    <a:pt x="369" y="213"/>
                  </a:lnTo>
                  <a:lnTo>
                    <a:pt x="354" y="244"/>
                  </a:lnTo>
                  <a:lnTo>
                    <a:pt x="362" y="276"/>
                  </a:lnTo>
                  <a:lnTo>
                    <a:pt x="372" y="313"/>
                  </a:lnTo>
                  <a:lnTo>
                    <a:pt x="391" y="352"/>
                  </a:lnTo>
                  <a:lnTo>
                    <a:pt x="378" y="387"/>
                  </a:lnTo>
                  <a:lnTo>
                    <a:pt x="338" y="438"/>
                  </a:lnTo>
                  <a:lnTo>
                    <a:pt x="357" y="500"/>
                  </a:lnTo>
                  <a:lnTo>
                    <a:pt x="376" y="561"/>
                  </a:lnTo>
                  <a:lnTo>
                    <a:pt x="394" y="578"/>
                  </a:lnTo>
                  <a:lnTo>
                    <a:pt x="425" y="602"/>
                  </a:lnTo>
                  <a:lnTo>
                    <a:pt x="430" y="627"/>
                  </a:lnTo>
                  <a:lnTo>
                    <a:pt x="422" y="675"/>
                  </a:lnTo>
                  <a:lnTo>
                    <a:pt x="372" y="673"/>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5" name="Freeform 76">
              <a:extLst>
                <a:ext uri="{FF2B5EF4-FFF2-40B4-BE49-F238E27FC236}">
                  <a16:creationId xmlns:a16="http://schemas.microsoft.com/office/drawing/2014/main" id="{97D463EA-BA1F-6D70-98F7-618369CE792F}"/>
                </a:ext>
              </a:extLst>
            </p:cNvPr>
            <p:cNvSpPr>
              <a:spLocks/>
            </p:cNvSpPr>
            <p:nvPr/>
          </p:nvSpPr>
          <p:spPr bwMode="auto">
            <a:xfrm>
              <a:off x="4269226" y="3845939"/>
              <a:ext cx="147907" cy="165943"/>
            </a:xfrm>
            <a:custGeom>
              <a:avLst/>
              <a:gdLst>
                <a:gd name="T0" fmla="*/ 24 w 619222"/>
                <a:gd name="T1" fmla="*/ 99 h 666750"/>
                <a:gd name="T2" fmla="*/ 13 w 619222"/>
                <a:gd name="T3" fmla="*/ 99 h 666750"/>
                <a:gd name="T4" fmla="*/ 13 w 619222"/>
                <a:gd name="T5" fmla="*/ 89 h 666750"/>
                <a:gd name="T6" fmla="*/ 13 w 619222"/>
                <a:gd name="T7" fmla="*/ 77 h 666750"/>
                <a:gd name="T8" fmla="*/ 0 w 619222"/>
                <a:gd name="T9" fmla="*/ 67 h 666750"/>
                <a:gd name="T10" fmla="*/ 1 w 619222"/>
                <a:gd name="T11" fmla="*/ 60 h 666750"/>
                <a:gd name="T12" fmla="*/ 0 w 619222"/>
                <a:gd name="T13" fmla="*/ 50 h 666750"/>
                <a:gd name="T14" fmla="*/ 5 w 619222"/>
                <a:gd name="T15" fmla="*/ 42 h 666750"/>
                <a:gd name="T16" fmla="*/ 7 w 619222"/>
                <a:gd name="T17" fmla="*/ 34 h 666750"/>
                <a:gd name="T18" fmla="*/ 8 w 619222"/>
                <a:gd name="T19" fmla="*/ 6 h 666750"/>
                <a:gd name="T20" fmla="*/ 14 w 619222"/>
                <a:gd name="T21" fmla="*/ 7 h 666750"/>
                <a:gd name="T22" fmla="*/ 19 w 619222"/>
                <a:gd name="T23" fmla="*/ 7 h 666750"/>
                <a:gd name="T24" fmla="*/ 25 w 619222"/>
                <a:gd name="T25" fmla="*/ 2 h 666750"/>
                <a:gd name="T26" fmla="*/ 32 w 619222"/>
                <a:gd name="T27" fmla="*/ 0 h 666750"/>
                <a:gd name="T28" fmla="*/ 36 w 619222"/>
                <a:gd name="T29" fmla="*/ 8 h 666750"/>
                <a:gd name="T30" fmla="*/ 45 w 619222"/>
                <a:gd name="T31" fmla="*/ 6 h 666750"/>
                <a:gd name="T32" fmla="*/ 51 w 619222"/>
                <a:gd name="T33" fmla="*/ 12 h 666750"/>
                <a:gd name="T34" fmla="*/ 59 w 619222"/>
                <a:gd name="T35" fmla="*/ 17 h 666750"/>
                <a:gd name="T36" fmla="*/ 73 w 619222"/>
                <a:gd name="T37" fmla="*/ 13 h 666750"/>
                <a:gd name="T38" fmla="*/ 81 w 619222"/>
                <a:gd name="T39" fmla="*/ 16 h 666750"/>
                <a:gd name="T40" fmla="*/ 86 w 619222"/>
                <a:gd name="T41" fmla="*/ 35 h 666750"/>
                <a:gd name="T42" fmla="*/ 83 w 619222"/>
                <a:gd name="T43" fmla="*/ 50 h 666750"/>
                <a:gd name="T44" fmla="*/ 77 w 619222"/>
                <a:gd name="T45" fmla="*/ 68 h 666750"/>
                <a:gd name="T46" fmla="*/ 79 w 619222"/>
                <a:gd name="T47" fmla="*/ 84 h 666750"/>
                <a:gd name="T48" fmla="*/ 84 w 619222"/>
                <a:gd name="T49" fmla="*/ 92 h 666750"/>
                <a:gd name="T50" fmla="*/ 71 w 619222"/>
                <a:gd name="T51" fmla="*/ 89 h 666750"/>
                <a:gd name="T52" fmla="*/ 60 w 619222"/>
                <a:gd name="T53" fmla="*/ 87 h 666750"/>
                <a:gd name="T54" fmla="*/ 48 w 619222"/>
                <a:gd name="T55" fmla="*/ 88 h 666750"/>
                <a:gd name="T56" fmla="*/ 33 w 619222"/>
                <a:gd name="T57" fmla="*/ 89 h 666750"/>
                <a:gd name="T58" fmla="*/ 24 w 619222"/>
                <a:gd name="T59" fmla="*/ 99 h 6667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19222"/>
                <a:gd name="T91" fmla="*/ 0 h 666750"/>
                <a:gd name="T92" fmla="*/ 619222 w 619222"/>
                <a:gd name="T93" fmla="*/ 666750 h 6667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19222" h="666750">
                  <a:moveTo>
                    <a:pt x="172641" y="666750"/>
                  </a:moveTo>
                  <a:lnTo>
                    <a:pt x="90487" y="665560"/>
                  </a:lnTo>
                  <a:lnTo>
                    <a:pt x="96441" y="598885"/>
                  </a:lnTo>
                  <a:lnTo>
                    <a:pt x="94059" y="522685"/>
                  </a:lnTo>
                  <a:lnTo>
                    <a:pt x="0" y="453628"/>
                  </a:lnTo>
                  <a:lnTo>
                    <a:pt x="8334" y="404813"/>
                  </a:lnTo>
                  <a:lnTo>
                    <a:pt x="1191" y="334566"/>
                  </a:lnTo>
                  <a:lnTo>
                    <a:pt x="35719" y="280988"/>
                  </a:lnTo>
                  <a:lnTo>
                    <a:pt x="51197" y="227410"/>
                  </a:lnTo>
                  <a:lnTo>
                    <a:pt x="57150" y="40481"/>
                  </a:lnTo>
                  <a:lnTo>
                    <a:pt x="97631" y="44053"/>
                  </a:lnTo>
                  <a:lnTo>
                    <a:pt x="136922" y="46435"/>
                  </a:lnTo>
                  <a:lnTo>
                    <a:pt x="180975" y="14288"/>
                  </a:lnTo>
                  <a:lnTo>
                    <a:pt x="229791" y="0"/>
                  </a:lnTo>
                  <a:lnTo>
                    <a:pt x="257175" y="57150"/>
                  </a:lnTo>
                  <a:lnTo>
                    <a:pt x="321469" y="38100"/>
                  </a:lnTo>
                  <a:lnTo>
                    <a:pt x="366712" y="83344"/>
                  </a:lnTo>
                  <a:lnTo>
                    <a:pt x="427434" y="115491"/>
                  </a:lnTo>
                  <a:lnTo>
                    <a:pt x="527447" y="85725"/>
                  </a:lnTo>
                  <a:lnTo>
                    <a:pt x="583406" y="109538"/>
                  </a:lnTo>
                  <a:lnTo>
                    <a:pt x="619222" y="237593"/>
                  </a:lnTo>
                  <a:lnTo>
                    <a:pt x="598570" y="340042"/>
                  </a:lnTo>
                  <a:lnTo>
                    <a:pt x="555685" y="457811"/>
                  </a:lnTo>
                  <a:lnTo>
                    <a:pt x="571216" y="569391"/>
                  </a:lnTo>
                  <a:lnTo>
                    <a:pt x="603647" y="619125"/>
                  </a:lnTo>
                  <a:lnTo>
                    <a:pt x="510778" y="602456"/>
                  </a:lnTo>
                  <a:lnTo>
                    <a:pt x="435769" y="588169"/>
                  </a:lnTo>
                  <a:lnTo>
                    <a:pt x="347662" y="591741"/>
                  </a:lnTo>
                  <a:lnTo>
                    <a:pt x="240506" y="604838"/>
                  </a:lnTo>
                  <a:lnTo>
                    <a:pt x="172641" y="666750"/>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6" name="Freeform 77">
              <a:extLst>
                <a:ext uri="{FF2B5EF4-FFF2-40B4-BE49-F238E27FC236}">
                  <a16:creationId xmlns:a16="http://schemas.microsoft.com/office/drawing/2014/main" id="{0E6261C3-CE0E-28A0-6F55-E99935239C95}"/>
                </a:ext>
              </a:extLst>
            </p:cNvPr>
            <p:cNvSpPr>
              <a:spLocks/>
            </p:cNvSpPr>
            <p:nvPr/>
          </p:nvSpPr>
          <p:spPr bwMode="auto">
            <a:xfrm>
              <a:off x="4509015" y="3799843"/>
              <a:ext cx="78434" cy="163638"/>
            </a:xfrm>
            <a:custGeom>
              <a:avLst/>
              <a:gdLst>
                <a:gd name="T0" fmla="*/ 20 w 327422"/>
                <a:gd name="T1" fmla="*/ 9 h 656034"/>
                <a:gd name="T2" fmla="*/ 16 w 327422"/>
                <a:gd name="T3" fmla="*/ 18 h 656034"/>
                <a:gd name="T4" fmla="*/ 6 w 327422"/>
                <a:gd name="T5" fmla="*/ 18 h 656034"/>
                <a:gd name="T6" fmla="*/ 0 w 327422"/>
                <a:gd name="T7" fmla="*/ 22 h 656034"/>
                <a:gd name="T8" fmla="*/ 3 w 327422"/>
                <a:gd name="T9" fmla="*/ 27 h 656034"/>
                <a:gd name="T10" fmla="*/ 9 w 327422"/>
                <a:gd name="T11" fmla="*/ 42 h 656034"/>
                <a:gd name="T12" fmla="*/ 9 w 327422"/>
                <a:gd name="T13" fmla="*/ 49 h 656034"/>
                <a:gd name="T14" fmla="*/ 13 w 327422"/>
                <a:gd name="T15" fmla="*/ 57 h 656034"/>
                <a:gd name="T16" fmla="*/ 12 w 327422"/>
                <a:gd name="T17" fmla="*/ 97 h 656034"/>
                <a:gd name="T18" fmla="*/ 19 w 327422"/>
                <a:gd name="T19" fmla="*/ 98 h 656034"/>
                <a:gd name="T20" fmla="*/ 24 w 327422"/>
                <a:gd name="T21" fmla="*/ 97 h 656034"/>
                <a:gd name="T22" fmla="*/ 30 w 327422"/>
                <a:gd name="T23" fmla="*/ 96 h 656034"/>
                <a:gd name="T24" fmla="*/ 29 w 327422"/>
                <a:gd name="T25" fmla="*/ 67 h 656034"/>
                <a:gd name="T26" fmla="*/ 32 w 327422"/>
                <a:gd name="T27" fmla="*/ 55 h 656034"/>
                <a:gd name="T28" fmla="*/ 40 w 327422"/>
                <a:gd name="T29" fmla="*/ 46 h 656034"/>
                <a:gd name="T30" fmla="*/ 46 w 327422"/>
                <a:gd name="T31" fmla="*/ 36 h 656034"/>
                <a:gd name="T32" fmla="*/ 46 w 327422"/>
                <a:gd name="T33" fmla="*/ 26 h 656034"/>
                <a:gd name="T34" fmla="*/ 42 w 327422"/>
                <a:gd name="T35" fmla="*/ 13 h 656034"/>
                <a:gd name="T36" fmla="*/ 44 w 327422"/>
                <a:gd name="T37" fmla="*/ 9 h 656034"/>
                <a:gd name="T38" fmla="*/ 31 w 327422"/>
                <a:gd name="T39" fmla="*/ 10 h 656034"/>
                <a:gd name="T40" fmla="*/ 28 w 327422"/>
                <a:gd name="T41" fmla="*/ 0 h 656034"/>
                <a:gd name="T42" fmla="*/ 20 w 327422"/>
                <a:gd name="T43" fmla="*/ 9 h 6560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7422"/>
                <a:gd name="T67" fmla="*/ 0 h 656034"/>
                <a:gd name="T68" fmla="*/ 327422 w 327422"/>
                <a:gd name="T69" fmla="*/ 656034 h 6560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7422" h="656034">
                  <a:moveTo>
                    <a:pt x="145257" y="58340"/>
                  </a:moveTo>
                  <a:lnTo>
                    <a:pt x="115491" y="120253"/>
                  </a:lnTo>
                  <a:lnTo>
                    <a:pt x="41672" y="121444"/>
                  </a:lnTo>
                  <a:lnTo>
                    <a:pt x="0" y="148828"/>
                  </a:lnTo>
                  <a:lnTo>
                    <a:pt x="20862" y="182335"/>
                  </a:lnTo>
                  <a:lnTo>
                    <a:pt x="62603" y="281067"/>
                  </a:lnTo>
                  <a:lnTo>
                    <a:pt x="64294" y="327422"/>
                  </a:lnTo>
                  <a:lnTo>
                    <a:pt x="89297" y="377428"/>
                  </a:lnTo>
                  <a:lnTo>
                    <a:pt x="85725" y="646509"/>
                  </a:lnTo>
                  <a:lnTo>
                    <a:pt x="136922" y="656034"/>
                  </a:lnTo>
                  <a:lnTo>
                    <a:pt x="173832" y="646509"/>
                  </a:lnTo>
                  <a:lnTo>
                    <a:pt x="213122" y="639365"/>
                  </a:lnTo>
                  <a:lnTo>
                    <a:pt x="204606" y="447444"/>
                  </a:lnTo>
                  <a:lnTo>
                    <a:pt x="227902" y="366959"/>
                  </a:lnTo>
                  <a:lnTo>
                    <a:pt x="286406" y="304085"/>
                  </a:lnTo>
                  <a:lnTo>
                    <a:pt x="324043" y="238646"/>
                  </a:lnTo>
                  <a:lnTo>
                    <a:pt x="327422" y="176772"/>
                  </a:lnTo>
                  <a:lnTo>
                    <a:pt x="297588" y="83123"/>
                  </a:lnTo>
                  <a:lnTo>
                    <a:pt x="314325" y="59531"/>
                  </a:lnTo>
                  <a:lnTo>
                    <a:pt x="221457" y="66675"/>
                  </a:lnTo>
                  <a:lnTo>
                    <a:pt x="200025" y="0"/>
                  </a:lnTo>
                  <a:lnTo>
                    <a:pt x="145257" y="5834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7" name="Freeform 78">
              <a:extLst>
                <a:ext uri="{FF2B5EF4-FFF2-40B4-BE49-F238E27FC236}">
                  <a16:creationId xmlns:a16="http://schemas.microsoft.com/office/drawing/2014/main" id="{9DEA287C-955C-1170-6D42-80471AB15751}"/>
                </a:ext>
              </a:extLst>
            </p:cNvPr>
            <p:cNvSpPr>
              <a:spLocks/>
            </p:cNvSpPr>
            <p:nvPr/>
          </p:nvSpPr>
          <p:spPr bwMode="auto">
            <a:xfrm>
              <a:off x="4858612" y="3832111"/>
              <a:ext cx="324946" cy="235086"/>
            </a:xfrm>
            <a:custGeom>
              <a:avLst/>
              <a:gdLst>
                <a:gd name="T0" fmla="*/ 186 w 1348979"/>
                <a:gd name="T1" fmla="*/ 100 h 940594"/>
                <a:gd name="T2" fmla="*/ 178 w 1348979"/>
                <a:gd name="T3" fmla="*/ 97 h 940594"/>
                <a:gd name="T4" fmla="*/ 167 w 1348979"/>
                <a:gd name="T5" fmla="*/ 94 h 940594"/>
                <a:gd name="T6" fmla="*/ 161 w 1348979"/>
                <a:gd name="T7" fmla="*/ 102 h 940594"/>
                <a:gd name="T8" fmla="*/ 152 w 1348979"/>
                <a:gd name="T9" fmla="*/ 97 h 940594"/>
                <a:gd name="T10" fmla="*/ 143 w 1348979"/>
                <a:gd name="T11" fmla="*/ 102 h 940594"/>
                <a:gd name="T12" fmla="*/ 136 w 1348979"/>
                <a:gd name="T13" fmla="*/ 108 h 940594"/>
                <a:gd name="T14" fmla="*/ 128 w 1348979"/>
                <a:gd name="T15" fmla="*/ 105 h 940594"/>
                <a:gd name="T16" fmla="*/ 120 w 1348979"/>
                <a:gd name="T17" fmla="*/ 115 h 940594"/>
                <a:gd name="T18" fmla="*/ 114 w 1348979"/>
                <a:gd name="T19" fmla="*/ 114 h 940594"/>
                <a:gd name="T20" fmla="*/ 103 w 1348979"/>
                <a:gd name="T21" fmla="*/ 113 h 940594"/>
                <a:gd name="T22" fmla="*/ 97 w 1348979"/>
                <a:gd name="T23" fmla="*/ 111 h 940594"/>
                <a:gd name="T24" fmla="*/ 90 w 1348979"/>
                <a:gd name="T25" fmla="*/ 111 h 940594"/>
                <a:gd name="T26" fmla="*/ 87 w 1348979"/>
                <a:gd name="T27" fmla="*/ 105 h 940594"/>
                <a:gd name="T28" fmla="*/ 81 w 1348979"/>
                <a:gd name="T29" fmla="*/ 101 h 940594"/>
                <a:gd name="T30" fmla="*/ 72 w 1348979"/>
                <a:gd name="T31" fmla="*/ 100 h 940594"/>
                <a:gd name="T32" fmla="*/ 65 w 1348979"/>
                <a:gd name="T33" fmla="*/ 106 h 940594"/>
                <a:gd name="T34" fmla="*/ 62 w 1348979"/>
                <a:gd name="T35" fmla="*/ 116 h 940594"/>
                <a:gd name="T36" fmla="*/ 59 w 1348979"/>
                <a:gd name="T37" fmla="*/ 126 h 940594"/>
                <a:gd name="T38" fmla="*/ 52 w 1348979"/>
                <a:gd name="T39" fmla="*/ 126 h 940594"/>
                <a:gd name="T40" fmla="*/ 41 w 1348979"/>
                <a:gd name="T41" fmla="*/ 126 h 940594"/>
                <a:gd name="T42" fmla="*/ 30 w 1348979"/>
                <a:gd name="T43" fmla="*/ 128 h 940594"/>
                <a:gd name="T44" fmla="*/ 29 w 1348979"/>
                <a:gd name="T45" fmla="*/ 133 h 940594"/>
                <a:gd name="T46" fmla="*/ 29 w 1348979"/>
                <a:gd name="T47" fmla="*/ 139 h 940594"/>
                <a:gd name="T48" fmla="*/ 24 w 1348979"/>
                <a:gd name="T49" fmla="*/ 142 h 940594"/>
                <a:gd name="T50" fmla="*/ 25 w 1348979"/>
                <a:gd name="T51" fmla="*/ 137 h 940594"/>
                <a:gd name="T52" fmla="*/ 24 w 1348979"/>
                <a:gd name="T53" fmla="*/ 131 h 940594"/>
                <a:gd name="T54" fmla="*/ 16 w 1348979"/>
                <a:gd name="T55" fmla="*/ 124 h 940594"/>
                <a:gd name="T56" fmla="*/ 10 w 1348979"/>
                <a:gd name="T57" fmla="*/ 119 h 940594"/>
                <a:gd name="T58" fmla="*/ 0 w 1348979"/>
                <a:gd name="T59" fmla="*/ 84 h 940594"/>
                <a:gd name="T60" fmla="*/ 11 w 1348979"/>
                <a:gd name="T61" fmla="*/ 70 h 940594"/>
                <a:gd name="T62" fmla="*/ 15 w 1348979"/>
                <a:gd name="T63" fmla="*/ 61 h 940594"/>
                <a:gd name="T64" fmla="*/ 26 w 1348979"/>
                <a:gd name="T65" fmla="*/ 58 h 940594"/>
                <a:gd name="T66" fmla="*/ 40 w 1348979"/>
                <a:gd name="T67" fmla="*/ 55 h 940594"/>
                <a:gd name="T68" fmla="*/ 52 w 1348979"/>
                <a:gd name="T69" fmla="*/ 53 h 940594"/>
                <a:gd name="T70" fmla="*/ 64 w 1348979"/>
                <a:gd name="T71" fmla="*/ 49 h 940594"/>
                <a:gd name="T72" fmla="*/ 68 w 1348979"/>
                <a:gd name="T73" fmla="*/ 38 h 940594"/>
                <a:gd name="T74" fmla="*/ 75 w 1348979"/>
                <a:gd name="T75" fmla="*/ 40 h 940594"/>
                <a:gd name="T76" fmla="*/ 85 w 1348979"/>
                <a:gd name="T77" fmla="*/ 38 h 940594"/>
                <a:gd name="T78" fmla="*/ 93 w 1348979"/>
                <a:gd name="T79" fmla="*/ 31 h 940594"/>
                <a:gd name="T80" fmla="*/ 105 w 1348979"/>
                <a:gd name="T81" fmla="*/ 19 h 940594"/>
                <a:gd name="T82" fmla="*/ 115 w 1348979"/>
                <a:gd name="T83" fmla="*/ 7 h 940594"/>
                <a:gd name="T84" fmla="*/ 126 w 1348979"/>
                <a:gd name="T85" fmla="*/ 0 h 940594"/>
                <a:gd name="T86" fmla="*/ 136 w 1348979"/>
                <a:gd name="T87" fmla="*/ 13 h 940594"/>
                <a:gd name="T88" fmla="*/ 140 w 1348979"/>
                <a:gd name="T89" fmla="*/ 23 h 940594"/>
                <a:gd name="T90" fmla="*/ 138 w 1348979"/>
                <a:gd name="T91" fmla="*/ 38 h 940594"/>
                <a:gd name="T92" fmla="*/ 147 w 1348979"/>
                <a:gd name="T93" fmla="*/ 46 h 940594"/>
                <a:gd name="T94" fmla="*/ 163 w 1348979"/>
                <a:gd name="T95" fmla="*/ 54 h 940594"/>
                <a:gd name="T96" fmla="*/ 185 w 1348979"/>
                <a:gd name="T97" fmla="*/ 83 h 940594"/>
                <a:gd name="T98" fmla="*/ 191 w 1348979"/>
                <a:gd name="T99" fmla="*/ 90 h 940594"/>
                <a:gd name="T100" fmla="*/ 195 w 1348979"/>
                <a:gd name="T101" fmla="*/ 98 h 940594"/>
                <a:gd name="T102" fmla="*/ 186 w 1348979"/>
                <a:gd name="T103" fmla="*/ 100 h 9405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8979"/>
                <a:gd name="T157" fmla="*/ 0 h 940594"/>
                <a:gd name="T158" fmla="*/ 1348979 w 1348979"/>
                <a:gd name="T159" fmla="*/ 940594 h 9405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8979" h="940594">
                  <a:moveTo>
                    <a:pt x="1288506" y="658030"/>
                  </a:moveTo>
                  <a:lnTo>
                    <a:pt x="1231355" y="641614"/>
                  </a:lnTo>
                  <a:lnTo>
                    <a:pt x="1157424" y="622012"/>
                  </a:lnTo>
                  <a:lnTo>
                    <a:pt x="1114850" y="671653"/>
                  </a:lnTo>
                  <a:lnTo>
                    <a:pt x="1050822" y="644890"/>
                  </a:lnTo>
                  <a:lnTo>
                    <a:pt x="991214" y="677387"/>
                  </a:lnTo>
                  <a:lnTo>
                    <a:pt x="938419" y="716741"/>
                  </a:lnTo>
                  <a:lnTo>
                    <a:pt x="884484" y="693287"/>
                  </a:lnTo>
                  <a:lnTo>
                    <a:pt x="830567" y="762912"/>
                  </a:lnTo>
                  <a:lnTo>
                    <a:pt x="785202" y="750937"/>
                  </a:lnTo>
                  <a:lnTo>
                    <a:pt x="714931" y="748721"/>
                  </a:lnTo>
                  <a:lnTo>
                    <a:pt x="671153" y="732063"/>
                  </a:lnTo>
                  <a:lnTo>
                    <a:pt x="624411" y="736402"/>
                  </a:lnTo>
                  <a:lnTo>
                    <a:pt x="603592" y="694894"/>
                  </a:lnTo>
                  <a:lnTo>
                    <a:pt x="559624" y="667767"/>
                  </a:lnTo>
                  <a:lnTo>
                    <a:pt x="499908" y="663615"/>
                  </a:lnTo>
                  <a:lnTo>
                    <a:pt x="449868" y="701174"/>
                  </a:lnTo>
                  <a:lnTo>
                    <a:pt x="431011" y="767836"/>
                  </a:lnTo>
                  <a:lnTo>
                    <a:pt x="408749" y="831070"/>
                  </a:lnTo>
                  <a:lnTo>
                    <a:pt x="358665" y="835470"/>
                  </a:lnTo>
                  <a:lnTo>
                    <a:pt x="285050" y="833315"/>
                  </a:lnTo>
                  <a:lnTo>
                    <a:pt x="205004" y="845240"/>
                  </a:lnTo>
                  <a:lnTo>
                    <a:pt x="200025" y="879872"/>
                  </a:lnTo>
                  <a:lnTo>
                    <a:pt x="201216" y="922734"/>
                  </a:lnTo>
                  <a:lnTo>
                    <a:pt x="164307" y="940594"/>
                  </a:lnTo>
                  <a:lnTo>
                    <a:pt x="172641" y="907256"/>
                  </a:lnTo>
                  <a:lnTo>
                    <a:pt x="163116" y="866775"/>
                  </a:lnTo>
                  <a:lnTo>
                    <a:pt x="107157" y="820341"/>
                  </a:lnTo>
                  <a:lnTo>
                    <a:pt x="71438" y="790575"/>
                  </a:lnTo>
                  <a:lnTo>
                    <a:pt x="0" y="558403"/>
                  </a:lnTo>
                  <a:lnTo>
                    <a:pt x="76200" y="465534"/>
                  </a:lnTo>
                  <a:lnTo>
                    <a:pt x="100013" y="401241"/>
                  </a:lnTo>
                  <a:lnTo>
                    <a:pt x="183357" y="383381"/>
                  </a:lnTo>
                  <a:lnTo>
                    <a:pt x="275035" y="365522"/>
                  </a:lnTo>
                  <a:lnTo>
                    <a:pt x="361950" y="348853"/>
                  </a:lnTo>
                  <a:lnTo>
                    <a:pt x="444104" y="321469"/>
                  </a:lnTo>
                  <a:lnTo>
                    <a:pt x="469107" y="250031"/>
                  </a:lnTo>
                  <a:lnTo>
                    <a:pt x="521494" y="263128"/>
                  </a:lnTo>
                  <a:lnTo>
                    <a:pt x="589360" y="251222"/>
                  </a:lnTo>
                  <a:lnTo>
                    <a:pt x="645319" y="207169"/>
                  </a:lnTo>
                  <a:lnTo>
                    <a:pt x="722710" y="126206"/>
                  </a:lnTo>
                  <a:lnTo>
                    <a:pt x="792957" y="42863"/>
                  </a:lnTo>
                  <a:lnTo>
                    <a:pt x="867966" y="0"/>
                  </a:lnTo>
                  <a:lnTo>
                    <a:pt x="938213" y="86916"/>
                  </a:lnTo>
                  <a:lnTo>
                    <a:pt x="965597" y="148828"/>
                  </a:lnTo>
                  <a:lnTo>
                    <a:pt x="951310" y="251222"/>
                  </a:lnTo>
                  <a:lnTo>
                    <a:pt x="1017313" y="303423"/>
                  </a:lnTo>
                  <a:lnTo>
                    <a:pt x="1129904" y="359569"/>
                  </a:lnTo>
                  <a:lnTo>
                    <a:pt x="1279922" y="546497"/>
                  </a:lnTo>
                  <a:lnTo>
                    <a:pt x="1322785" y="597694"/>
                  </a:lnTo>
                  <a:lnTo>
                    <a:pt x="1348979" y="651272"/>
                  </a:lnTo>
                  <a:lnTo>
                    <a:pt x="1288506" y="65803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8" name="Freeform 79">
              <a:extLst>
                <a:ext uri="{FF2B5EF4-FFF2-40B4-BE49-F238E27FC236}">
                  <a16:creationId xmlns:a16="http://schemas.microsoft.com/office/drawing/2014/main" id="{FC77AF06-380B-8287-20E9-8A92EEE454E8}"/>
                </a:ext>
              </a:extLst>
            </p:cNvPr>
            <p:cNvSpPr>
              <a:spLocks/>
            </p:cNvSpPr>
            <p:nvPr/>
          </p:nvSpPr>
          <p:spPr bwMode="auto">
            <a:xfrm>
              <a:off x="4777937" y="4286148"/>
              <a:ext cx="322705" cy="315753"/>
            </a:xfrm>
            <a:custGeom>
              <a:avLst/>
              <a:gdLst>
                <a:gd name="T0" fmla="*/ 2147483647 w 720"/>
                <a:gd name="T1" fmla="*/ 2147483647 h 687"/>
                <a:gd name="T2" fmla="*/ 2147483647 w 720"/>
                <a:gd name="T3" fmla="*/ 2147483647 h 687"/>
                <a:gd name="T4" fmla="*/ 2147483647 w 720"/>
                <a:gd name="T5" fmla="*/ 2147483647 h 687"/>
                <a:gd name="T6" fmla="*/ 2147483647 w 720"/>
                <a:gd name="T7" fmla="*/ 2147483647 h 687"/>
                <a:gd name="T8" fmla="*/ 2147483647 w 720"/>
                <a:gd name="T9" fmla="*/ 2147483647 h 687"/>
                <a:gd name="T10" fmla="*/ 2147483647 w 720"/>
                <a:gd name="T11" fmla="*/ 2147483647 h 687"/>
                <a:gd name="T12" fmla="*/ 2147483647 w 720"/>
                <a:gd name="T13" fmla="*/ 2147483647 h 687"/>
                <a:gd name="T14" fmla="*/ 2147483647 w 720"/>
                <a:gd name="T15" fmla="*/ 2147483647 h 687"/>
                <a:gd name="T16" fmla="*/ 2147483647 w 720"/>
                <a:gd name="T17" fmla="*/ 2147483647 h 687"/>
                <a:gd name="T18" fmla="*/ 2147483647 w 720"/>
                <a:gd name="T19" fmla="*/ 2147483647 h 687"/>
                <a:gd name="T20" fmla="*/ 2147483647 w 720"/>
                <a:gd name="T21" fmla="*/ 2147483647 h 687"/>
                <a:gd name="T22" fmla="*/ 2147483647 w 720"/>
                <a:gd name="T23" fmla="*/ 2147483647 h 687"/>
                <a:gd name="T24" fmla="*/ 2147483647 w 720"/>
                <a:gd name="T25" fmla="*/ 2147483647 h 687"/>
                <a:gd name="T26" fmla="*/ 2147483647 w 720"/>
                <a:gd name="T27" fmla="*/ 2147483647 h 687"/>
                <a:gd name="T28" fmla="*/ 2147483647 w 720"/>
                <a:gd name="T29" fmla="*/ 2147483647 h 687"/>
                <a:gd name="T30" fmla="*/ 2147483647 w 720"/>
                <a:gd name="T31" fmla="*/ 2147483647 h 687"/>
                <a:gd name="T32" fmla="*/ 2147483647 w 720"/>
                <a:gd name="T33" fmla="*/ 2147483647 h 687"/>
                <a:gd name="T34" fmla="*/ 0 w 720"/>
                <a:gd name="T35" fmla="*/ 2147483647 h 687"/>
                <a:gd name="T36" fmla="*/ 2147483647 w 720"/>
                <a:gd name="T37" fmla="*/ 2147483647 h 687"/>
                <a:gd name="T38" fmla="*/ 2147483647 w 720"/>
                <a:gd name="T39" fmla="*/ 2147483647 h 687"/>
                <a:gd name="T40" fmla="*/ 2147483647 w 720"/>
                <a:gd name="T41" fmla="*/ 2147483647 h 687"/>
                <a:gd name="T42" fmla="*/ 2147483647 w 720"/>
                <a:gd name="T43" fmla="*/ 2147483647 h 687"/>
                <a:gd name="T44" fmla="*/ 2147483647 w 720"/>
                <a:gd name="T45" fmla="*/ 2147483647 h 687"/>
                <a:gd name="T46" fmla="*/ 2147483647 w 720"/>
                <a:gd name="T47" fmla="*/ 2147483647 h 687"/>
                <a:gd name="T48" fmla="*/ 2147483647 w 720"/>
                <a:gd name="T49" fmla="*/ 2147483647 h 687"/>
                <a:gd name="T50" fmla="*/ 2147483647 w 720"/>
                <a:gd name="T51" fmla="*/ 2147483647 h 687"/>
                <a:gd name="T52" fmla="*/ 2147483647 w 720"/>
                <a:gd name="T53" fmla="*/ 2147483647 h 687"/>
                <a:gd name="T54" fmla="*/ 2147483647 w 720"/>
                <a:gd name="T55" fmla="*/ 2147483647 h 687"/>
                <a:gd name="T56" fmla="*/ 2147483647 w 720"/>
                <a:gd name="T57" fmla="*/ 2147483647 h 687"/>
                <a:gd name="T58" fmla="*/ 2147483647 w 720"/>
                <a:gd name="T59" fmla="*/ 2147483647 h 687"/>
                <a:gd name="T60" fmla="*/ 2147483647 w 720"/>
                <a:gd name="T61" fmla="*/ 2147483647 h 687"/>
                <a:gd name="T62" fmla="*/ 2147483647 w 720"/>
                <a:gd name="T63" fmla="*/ 2147483647 h 687"/>
                <a:gd name="T64" fmla="*/ 2147483647 w 720"/>
                <a:gd name="T65" fmla="*/ 2147483647 h 687"/>
                <a:gd name="T66" fmla="*/ 2147483647 w 720"/>
                <a:gd name="T67" fmla="*/ 2147483647 h 687"/>
                <a:gd name="T68" fmla="*/ 2147483647 w 720"/>
                <a:gd name="T69" fmla="*/ 2147483647 h 687"/>
                <a:gd name="T70" fmla="*/ 2147483647 w 720"/>
                <a:gd name="T71" fmla="*/ 2147483647 h 687"/>
                <a:gd name="T72" fmla="*/ 2147483647 w 720"/>
                <a:gd name="T73" fmla="*/ 2147483647 h 687"/>
                <a:gd name="T74" fmla="*/ 2147483647 w 720"/>
                <a:gd name="T75" fmla="*/ 2147483647 h 687"/>
                <a:gd name="T76" fmla="*/ 2147483647 w 720"/>
                <a:gd name="T77" fmla="*/ 2147483647 h 687"/>
                <a:gd name="T78" fmla="*/ 2147483647 w 720"/>
                <a:gd name="T79" fmla="*/ 2147483647 h 687"/>
                <a:gd name="T80" fmla="*/ 2147483647 w 720"/>
                <a:gd name="T81" fmla="*/ 2147483647 h 687"/>
                <a:gd name="T82" fmla="*/ 2147483647 w 720"/>
                <a:gd name="T83" fmla="*/ 2147483647 h 687"/>
                <a:gd name="T84" fmla="*/ 2147483647 w 720"/>
                <a:gd name="T85" fmla="*/ 2147483647 h 687"/>
                <a:gd name="T86" fmla="*/ 2147483647 w 720"/>
                <a:gd name="T87" fmla="*/ 2147483647 h 687"/>
                <a:gd name="T88" fmla="*/ 2147483647 w 720"/>
                <a:gd name="T89" fmla="*/ 2147483647 h 687"/>
                <a:gd name="T90" fmla="*/ 2147483647 w 720"/>
                <a:gd name="T91" fmla="*/ 2147483647 h 687"/>
                <a:gd name="T92" fmla="*/ 2147483647 w 720"/>
                <a:gd name="T93" fmla="*/ 2147483647 h 687"/>
                <a:gd name="T94" fmla="*/ 2147483647 w 720"/>
                <a:gd name="T95" fmla="*/ 2147483647 h 687"/>
                <a:gd name="T96" fmla="*/ 2147483647 w 720"/>
                <a:gd name="T97" fmla="*/ 2147483647 h 687"/>
                <a:gd name="T98" fmla="*/ 2147483647 w 720"/>
                <a:gd name="T99" fmla="*/ 2147483647 h 687"/>
                <a:gd name="T100" fmla="*/ 2147483647 w 720"/>
                <a:gd name="T101" fmla="*/ 2147483647 h 687"/>
                <a:gd name="T102" fmla="*/ 2147483647 w 720"/>
                <a:gd name="T103" fmla="*/ 2147483647 h 687"/>
                <a:gd name="T104" fmla="*/ 2147483647 w 720"/>
                <a:gd name="T105" fmla="*/ 2147483647 h 687"/>
                <a:gd name="T106" fmla="*/ 2147483647 w 720"/>
                <a:gd name="T107" fmla="*/ 0 h 687"/>
                <a:gd name="T108" fmla="*/ 2147483647 w 720"/>
                <a:gd name="T109" fmla="*/ 2147483647 h 687"/>
                <a:gd name="T110" fmla="*/ 2147483647 w 720"/>
                <a:gd name="T111" fmla="*/ 2147483647 h 68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0"/>
                <a:gd name="T169" fmla="*/ 0 h 687"/>
                <a:gd name="T170" fmla="*/ 1338263 w 720"/>
                <a:gd name="T171" fmla="*/ 1322784 h 68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0" h="687">
                  <a:moveTo>
                    <a:pt x="71" y="21"/>
                  </a:moveTo>
                  <a:lnTo>
                    <a:pt x="106" y="64"/>
                  </a:lnTo>
                  <a:lnTo>
                    <a:pt x="129" y="127"/>
                  </a:lnTo>
                  <a:lnTo>
                    <a:pt x="124" y="167"/>
                  </a:lnTo>
                  <a:lnTo>
                    <a:pt x="125" y="205"/>
                  </a:lnTo>
                  <a:lnTo>
                    <a:pt x="157" y="258"/>
                  </a:lnTo>
                  <a:lnTo>
                    <a:pt x="164" y="291"/>
                  </a:lnTo>
                  <a:lnTo>
                    <a:pt x="163" y="327"/>
                  </a:lnTo>
                  <a:lnTo>
                    <a:pt x="153" y="371"/>
                  </a:lnTo>
                  <a:lnTo>
                    <a:pt x="119" y="395"/>
                  </a:lnTo>
                  <a:lnTo>
                    <a:pt x="100" y="433"/>
                  </a:lnTo>
                  <a:lnTo>
                    <a:pt x="99" y="460"/>
                  </a:lnTo>
                  <a:lnTo>
                    <a:pt x="78" y="489"/>
                  </a:lnTo>
                  <a:lnTo>
                    <a:pt x="54" y="510"/>
                  </a:lnTo>
                  <a:lnTo>
                    <a:pt x="35" y="542"/>
                  </a:lnTo>
                  <a:lnTo>
                    <a:pt x="19" y="573"/>
                  </a:lnTo>
                  <a:lnTo>
                    <a:pt x="0" y="632"/>
                  </a:lnTo>
                  <a:lnTo>
                    <a:pt x="40" y="636"/>
                  </a:lnTo>
                  <a:lnTo>
                    <a:pt x="69" y="619"/>
                  </a:lnTo>
                  <a:lnTo>
                    <a:pt x="99" y="622"/>
                  </a:lnTo>
                  <a:lnTo>
                    <a:pt x="132" y="646"/>
                  </a:lnTo>
                  <a:lnTo>
                    <a:pt x="160" y="641"/>
                  </a:lnTo>
                  <a:lnTo>
                    <a:pt x="257" y="628"/>
                  </a:lnTo>
                  <a:lnTo>
                    <a:pt x="332" y="646"/>
                  </a:lnTo>
                  <a:lnTo>
                    <a:pt x="398" y="658"/>
                  </a:lnTo>
                  <a:lnTo>
                    <a:pt x="462" y="662"/>
                  </a:lnTo>
                  <a:lnTo>
                    <a:pt x="529" y="675"/>
                  </a:lnTo>
                  <a:lnTo>
                    <a:pt x="645" y="678"/>
                  </a:lnTo>
                  <a:lnTo>
                    <a:pt x="685" y="687"/>
                  </a:lnTo>
                  <a:lnTo>
                    <a:pt x="697" y="661"/>
                  </a:lnTo>
                  <a:lnTo>
                    <a:pt x="641" y="598"/>
                  </a:lnTo>
                  <a:lnTo>
                    <a:pt x="607" y="565"/>
                  </a:lnTo>
                  <a:lnTo>
                    <a:pt x="609" y="398"/>
                  </a:lnTo>
                  <a:lnTo>
                    <a:pt x="712" y="390"/>
                  </a:lnTo>
                  <a:lnTo>
                    <a:pt x="720" y="329"/>
                  </a:lnTo>
                  <a:lnTo>
                    <a:pt x="712" y="269"/>
                  </a:lnTo>
                  <a:lnTo>
                    <a:pt x="673" y="278"/>
                  </a:lnTo>
                  <a:lnTo>
                    <a:pt x="631" y="284"/>
                  </a:lnTo>
                  <a:lnTo>
                    <a:pt x="605" y="255"/>
                  </a:lnTo>
                  <a:lnTo>
                    <a:pt x="614" y="203"/>
                  </a:lnTo>
                  <a:lnTo>
                    <a:pt x="603" y="168"/>
                  </a:lnTo>
                  <a:lnTo>
                    <a:pt x="607" y="121"/>
                  </a:lnTo>
                  <a:lnTo>
                    <a:pt x="580" y="55"/>
                  </a:lnTo>
                  <a:lnTo>
                    <a:pt x="553" y="52"/>
                  </a:lnTo>
                  <a:lnTo>
                    <a:pt x="504" y="51"/>
                  </a:lnTo>
                  <a:lnTo>
                    <a:pt x="471" y="45"/>
                  </a:lnTo>
                  <a:lnTo>
                    <a:pt x="451" y="97"/>
                  </a:lnTo>
                  <a:lnTo>
                    <a:pt x="410" y="104"/>
                  </a:lnTo>
                  <a:lnTo>
                    <a:pt x="366" y="108"/>
                  </a:lnTo>
                  <a:lnTo>
                    <a:pt x="328" y="63"/>
                  </a:lnTo>
                  <a:lnTo>
                    <a:pt x="317" y="34"/>
                  </a:lnTo>
                  <a:lnTo>
                    <a:pt x="304" y="0"/>
                  </a:lnTo>
                  <a:lnTo>
                    <a:pt x="247" y="0"/>
                  </a:lnTo>
                  <a:lnTo>
                    <a:pt x="119" y="3"/>
                  </a:lnTo>
                  <a:lnTo>
                    <a:pt x="71" y="21"/>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89" name="Freeform 80">
              <a:extLst>
                <a:ext uri="{FF2B5EF4-FFF2-40B4-BE49-F238E27FC236}">
                  <a16:creationId xmlns:a16="http://schemas.microsoft.com/office/drawing/2014/main" id="{F42ACC5C-7415-3418-0276-172CB39DC2CE}"/>
                </a:ext>
              </a:extLst>
            </p:cNvPr>
            <p:cNvSpPr>
              <a:spLocks/>
            </p:cNvSpPr>
            <p:nvPr/>
          </p:nvSpPr>
          <p:spPr bwMode="auto">
            <a:xfrm>
              <a:off x="4777937" y="4569635"/>
              <a:ext cx="237547" cy="348019"/>
            </a:xfrm>
            <a:custGeom>
              <a:avLst/>
              <a:gdLst>
                <a:gd name="T0" fmla="*/ 1 w 992943"/>
                <a:gd name="T1" fmla="*/ 3 h 1403016"/>
                <a:gd name="T2" fmla="*/ 11 w 992943"/>
                <a:gd name="T3" fmla="*/ 5 h 1403016"/>
                <a:gd name="T4" fmla="*/ 19 w 992943"/>
                <a:gd name="T5" fmla="*/ 0 h 1403016"/>
                <a:gd name="T6" fmla="*/ 26 w 992943"/>
                <a:gd name="T7" fmla="*/ 1 h 1403016"/>
                <a:gd name="T8" fmla="*/ 35 w 992943"/>
                <a:gd name="T9" fmla="*/ 7 h 1403016"/>
                <a:gd name="T10" fmla="*/ 42 w 992943"/>
                <a:gd name="T11" fmla="*/ 6 h 1403016"/>
                <a:gd name="T12" fmla="*/ 67 w 992943"/>
                <a:gd name="T13" fmla="*/ 3 h 1403016"/>
                <a:gd name="T14" fmla="*/ 87 w 992943"/>
                <a:gd name="T15" fmla="*/ 7 h 1403016"/>
                <a:gd name="T16" fmla="*/ 105 w 992943"/>
                <a:gd name="T17" fmla="*/ 11 h 1403016"/>
                <a:gd name="T18" fmla="*/ 122 w 992943"/>
                <a:gd name="T19" fmla="*/ 11 h 1403016"/>
                <a:gd name="T20" fmla="*/ 138 w 992943"/>
                <a:gd name="T21" fmla="*/ 15 h 1403016"/>
                <a:gd name="T22" fmla="*/ 139 w 992943"/>
                <a:gd name="T23" fmla="*/ 78 h 1403016"/>
                <a:gd name="T24" fmla="*/ 124 w 992943"/>
                <a:gd name="T25" fmla="*/ 79 h 1403016"/>
                <a:gd name="T26" fmla="*/ 125 w 992943"/>
                <a:gd name="T27" fmla="*/ 120 h 1403016"/>
                <a:gd name="T28" fmla="*/ 130 w 992943"/>
                <a:gd name="T29" fmla="*/ 143 h 1403016"/>
                <a:gd name="T30" fmla="*/ 131 w 992943"/>
                <a:gd name="T31" fmla="*/ 192 h 1403016"/>
                <a:gd name="T32" fmla="*/ 114 w 992943"/>
                <a:gd name="T33" fmla="*/ 198 h 1403016"/>
                <a:gd name="T34" fmla="*/ 104 w 992943"/>
                <a:gd name="T35" fmla="*/ 204 h 1403016"/>
                <a:gd name="T36" fmla="*/ 96 w 992943"/>
                <a:gd name="T37" fmla="*/ 194 h 1403016"/>
                <a:gd name="T38" fmla="*/ 81 w 992943"/>
                <a:gd name="T39" fmla="*/ 188 h 1403016"/>
                <a:gd name="T40" fmla="*/ 76 w 992943"/>
                <a:gd name="T41" fmla="*/ 194 h 1403016"/>
                <a:gd name="T42" fmla="*/ 71 w 992943"/>
                <a:gd name="T43" fmla="*/ 183 h 1403016"/>
                <a:gd name="T44" fmla="*/ 64 w 992943"/>
                <a:gd name="T45" fmla="*/ 174 h 1403016"/>
                <a:gd name="T46" fmla="*/ 56 w 992943"/>
                <a:gd name="T47" fmla="*/ 160 h 1403016"/>
                <a:gd name="T48" fmla="*/ 56 w 992943"/>
                <a:gd name="T49" fmla="*/ 152 h 1403016"/>
                <a:gd name="T50" fmla="*/ 53 w 992943"/>
                <a:gd name="T51" fmla="*/ 146 h 1403016"/>
                <a:gd name="T52" fmla="*/ 51 w 992943"/>
                <a:gd name="T53" fmla="*/ 138 h 1403016"/>
                <a:gd name="T54" fmla="*/ 51 w 992943"/>
                <a:gd name="T55" fmla="*/ 128 h 1403016"/>
                <a:gd name="T56" fmla="*/ 46 w 992943"/>
                <a:gd name="T57" fmla="*/ 119 h 1403016"/>
                <a:gd name="T58" fmla="*/ 46 w 992943"/>
                <a:gd name="T59" fmla="*/ 108 h 1403016"/>
                <a:gd name="T60" fmla="*/ 43 w 992943"/>
                <a:gd name="T61" fmla="*/ 98 h 1403016"/>
                <a:gd name="T62" fmla="*/ 46 w 992943"/>
                <a:gd name="T63" fmla="*/ 90 h 1403016"/>
                <a:gd name="T64" fmla="*/ 42 w 992943"/>
                <a:gd name="T65" fmla="*/ 85 h 1403016"/>
                <a:gd name="T66" fmla="*/ 37 w 992943"/>
                <a:gd name="T67" fmla="*/ 78 h 1403016"/>
                <a:gd name="T68" fmla="*/ 27 w 992943"/>
                <a:gd name="T69" fmla="*/ 64 h 1403016"/>
                <a:gd name="T70" fmla="*/ 26 w 992943"/>
                <a:gd name="T71" fmla="*/ 55 h 1403016"/>
                <a:gd name="T72" fmla="*/ 17 w 992943"/>
                <a:gd name="T73" fmla="*/ 41 h 1403016"/>
                <a:gd name="T74" fmla="*/ 13 w 992943"/>
                <a:gd name="T75" fmla="*/ 30 h 1403016"/>
                <a:gd name="T76" fmla="*/ 6 w 992943"/>
                <a:gd name="T77" fmla="*/ 26 h 1403016"/>
                <a:gd name="T78" fmla="*/ 1 w 992943"/>
                <a:gd name="T79" fmla="*/ 18 h 1403016"/>
                <a:gd name="T80" fmla="*/ 0 w 992943"/>
                <a:gd name="T81" fmla="*/ 12 h 1403016"/>
                <a:gd name="T82" fmla="*/ 1 w 992943"/>
                <a:gd name="T83" fmla="*/ 3 h 14030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92943"/>
                <a:gd name="T127" fmla="*/ 0 h 1403016"/>
                <a:gd name="T128" fmla="*/ 992943 w 992943"/>
                <a:gd name="T129" fmla="*/ 1403016 h 14030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92943" h="1403016">
                  <a:moveTo>
                    <a:pt x="2983" y="23498"/>
                  </a:moveTo>
                  <a:lnTo>
                    <a:pt x="80234" y="31959"/>
                  </a:lnTo>
                  <a:lnTo>
                    <a:pt x="133307" y="0"/>
                  </a:lnTo>
                  <a:lnTo>
                    <a:pt x="187964" y="5584"/>
                  </a:lnTo>
                  <a:lnTo>
                    <a:pt x="253709" y="50882"/>
                  </a:lnTo>
                  <a:lnTo>
                    <a:pt x="303535" y="38707"/>
                  </a:lnTo>
                  <a:lnTo>
                    <a:pt x="479122" y="17128"/>
                  </a:lnTo>
                  <a:lnTo>
                    <a:pt x="621997" y="50466"/>
                  </a:lnTo>
                  <a:lnTo>
                    <a:pt x="752764" y="72820"/>
                  </a:lnTo>
                  <a:lnTo>
                    <a:pt x="869652" y="79153"/>
                  </a:lnTo>
                  <a:lnTo>
                    <a:pt x="987519" y="104044"/>
                  </a:lnTo>
                  <a:lnTo>
                    <a:pt x="992943" y="537612"/>
                  </a:lnTo>
                  <a:lnTo>
                    <a:pt x="883935" y="541003"/>
                  </a:lnTo>
                  <a:lnTo>
                    <a:pt x="897570" y="822522"/>
                  </a:lnTo>
                  <a:lnTo>
                    <a:pt x="929178" y="983916"/>
                  </a:lnTo>
                  <a:lnTo>
                    <a:pt x="936322" y="1317291"/>
                  </a:lnTo>
                  <a:lnTo>
                    <a:pt x="814878" y="1360153"/>
                  </a:lnTo>
                  <a:lnTo>
                    <a:pt x="741060" y="1403016"/>
                  </a:lnTo>
                  <a:lnTo>
                    <a:pt x="686291" y="1331578"/>
                  </a:lnTo>
                  <a:lnTo>
                    <a:pt x="579135" y="1291097"/>
                  </a:lnTo>
                  <a:lnTo>
                    <a:pt x="543416" y="1333959"/>
                  </a:lnTo>
                  <a:lnTo>
                    <a:pt x="505539" y="1256991"/>
                  </a:lnTo>
                  <a:lnTo>
                    <a:pt x="458390" y="1193039"/>
                  </a:lnTo>
                  <a:lnTo>
                    <a:pt x="402617" y="1101067"/>
                  </a:lnTo>
                  <a:lnTo>
                    <a:pt x="401595" y="1044731"/>
                  </a:lnTo>
                  <a:lnTo>
                    <a:pt x="381950" y="1005639"/>
                  </a:lnTo>
                  <a:lnTo>
                    <a:pt x="364701" y="949598"/>
                  </a:lnTo>
                  <a:lnTo>
                    <a:pt x="366076" y="876312"/>
                  </a:lnTo>
                  <a:lnTo>
                    <a:pt x="327092" y="815030"/>
                  </a:lnTo>
                  <a:lnTo>
                    <a:pt x="325763" y="741793"/>
                  </a:lnTo>
                  <a:lnTo>
                    <a:pt x="308258" y="671669"/>
                  </a:lnTo>
                  <a:lnTo>
                    <a:pt x="326268" y="620622"/>
                  </a:lnTo>
                  <a:lnTo>
                    <a:pt x="301266" y="584446"/>
                  </a:lnTo>
                  <a:lnTo>
                    <a:pt x="262485" y="534432"/>
                  </a:lnTo>
                  <a:lnTo>
                    <a:pt x="193140" y="439887"/>
                  </a:lnTo>
                  <a:lnTo>
                    <a:pt x="186606" y="378016"/>
                  </a:lnTo>
                  <a:lnTo>
                    <a:pt x="122669" y="283374"/>
                  </a:lnTo>
                  <a:lnTo>
                    <a:pt x="91542" y="207861"/>
                  </a:lnTo>
                  <a:lnTo>
                    <a:pt x="45007" y="177710"/>
                  </a:lnTo>
                  <a:lnTo>
                    <a:pt x="6175" y="124878"/>
                  </a:lnTo>
                  <a:lnTo>
                    <a:pt x="0" y="82725"/>
                  </a:lnTo>
                  <a:lnTo>
                    <a:pt x="2983" y="2349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0" name="Freeform 81">
              <a:extLst>
                <a:ext uri="{FF2B5EF4-FFF2-40B4-BE49-F238E27FC236}">
                  <a16:creationId xmlns:a16="http://schemas.microsoft.com/office/drawing/2014/main" id="{9B108783-333D-3A5E-943E-B45FD2E4DD68}"/>
                </a:ext>
              </a:extLst>
            </p:cNvPr>
            <p:cNvSpPr>
              <a:spLocks/>
            </p:cNvSpPr>
            <p:nvPr/>
          </p:nvSpPr>
          <p:spPr bwMode="auto">
            <a:xfrm>
              <a:off x="4777937" y="4039539"/>
              <a:ext cx="181521" cy="225868"/>
            </a:xfrm>
            <a:custGeom>
              <a:avLst/>
              <a:gdLst>
                <a:gd name="T0" fmla="*/ 2147483647 w 405"/>
                <a:gd name="T1" fmla="*/ 2147483647 h 490"/>
                <a:gd name="T2" fmla="*/ 2147483647 w 405"/>
                <a:gd name="T3" fmla="*/ 2147483647 h 490"/>
                <a:gd name="T4" fmla="*/ 2147483647 w 405"/>
                <a:gd name="T5" fmla="*/ 2147483647 h 490"/>
                <a:gd name="T6" fmla="*/ 2147483647 w 405"/>
                <a:gd name="T7" fmla="*/ 0 h 490"/>
                <a:gd name="T8" fmla="*/ 2147483647 w 405"/>
                <a:gd name="T9" fmla="*/ 2147483647 h 490"/>
                <a:gd name="T10" fmla="*/ 2147483647 w 405"/>
                <a:gd name="T11" fmla="*/ 2147483647 h 490"/>
                <a:gd name="T12" fmla="*/ 2147483647 w 405"/>
                <a:gd name="T13" fmla="*/ 2147483647 h 490"/>
                <a:gd name="T14" fmla="*/ 2147483647 w 405"/>
                <a:gd name="T15" fmla="*/ 2147483647 h 490"/>
                <a:gd name="T16" fmla="*/ 2147483647 w 405"/>
                <a:gd name="T17" fmla="*/ 2147483647 h 490"/>
                <a:gd name="T18" fmla="*/ 2147483647 w 405"/>
                <a:gd name="T19" fmla="*/ 2147483647 h 490"/>
                <a:gd name="T20" fmla="*/ 2147483647 w 405"/>
                <a:gd name="T21" fmla="*/ 2147483647 h 490"/>
                <a:gd name="T22" fmla="*/ 2147483647 w 405"/>
                <a:gd name="T23" fmla="*/ 2147483647 h 490"/>
                <a:gd name="T24" fmla="*/ 2147483647 w 405"/>
                <a:gd name="T25" fmla="*/ 2147483647 h 490"/>
                <a:gd name="T26" fmla="*/ 2147483647 w 405"/>
                <a:gd name="T27" fmla="*/ 2147483647 h 490"/>
                <a:gd name="T28" fmla="*/ 2147483647 w 405"/>
                <a:gd name="T29" fmla="*/ 2147483647 h 490"/>
                <a:gd name="T30" fmla="*/ 2147483647 w 405"/>
                <a:gd name="T31" fmla="*/ 2147483647 h 490"/>
                <a:gd name="T32" fmla="*/ 2147483647 w 405"/>
                <a:gd name="T33" fmla="*/ 2147483647 h 490"/>
                <a:gd name="T34" fmla="*/ 2147483647 w 405"/>
                <a:gd name="T35" fmla="*/ 2147483647 h 490"/>
                <a:gd name="T36" fmla="*/ 2147483647 w 405"/>
                <a:gd name="T37" fmla="*/ 2147483647 h 490"/>
                <a:gd name="T38" fmla="*/ 2147483647 w 405"/>
                <a:gd name="T39" fmla="*/ 2147483647 h 490"/>
                <a:gd name="T40" fmla="*/ 2147483647 w 405"/>
                <a:gd name="T41" fmla="*/ 2147483647 h 490"/>
                <a:gd name="T42" fmla="*/ 2147483647 w 405"/>
                <a:gd name="T43" fmla="*/ 2147483647 h 490"/>
                <a:gd name="T44" fmla="*/ 2147483647 w 405"/>
                <a:gd name="T45" fmla="*/ 2147483647 h 490"/>
                <a:gd name="T46" fmla="*/ 2147483647 w 405"/>
                <a:gd name="T47" fmla="*/ 2147483647 h 490"/>
                <a:gd name="T48" fmla="*/ 2147483647 w 405"/>
                <a:gd name="T49" fmla="*/ 2147483647 h 490"/>
                <a:gd name="T50" fmla="*/ 2147483647 w 405"/>
                <a:gd name="T51" fmla="*/ 2147483647 h 490"/>
                <a:gd name="T52" fmla="*/ 2147483647 w 405"/>
                <a:gd name="T53" fmla="*/ 2147483647 h 490"/>
                <a:gd name="T54" fmla="*/ 2147483647 w 405"/>
                <a:gd name="T55" fmla="*/ 2147483647 h 490"/>
                <a:gd name="T56" fmla="*/ 2147483647 w 405"/>
                <a:gd name="T57" fmla="*/ 2147483647 h 490"/>
                <a:gd name="T58" fmla="*/ 2147483647 w 405"/>
                <a:gd name="T59" fmla="*/ 2147483647 h 490"/>
                <a:gd name="T60" fmla="*/ 0 w 405"/>
                <a:gd name="T61" fmla="*/ 2147483647 h 490"/>
                <a:gd name="T62" fmla="*/ 2147483647 w 405"/>
                <a:gd name="T63" fmla="*/ 2147483647 h 490"/>
                <a:gd name="T64" fmla="*/ 2147483647 w 405"/>
                <a:gd name="T65" fmla="*/ 2147483647 h 490"/>
                <a:gd name="T66" fmla="*/ 2147483647 w 405"/>
                <a:gd name="T67" fmla="*/ 2147483647 h 490"/>
                <a:gd name="T68" fmla="*/ 2147483647 w 405"/>
                <a:gd name="T69" fmla="*/ 2147483647 h 490"/>
                <a:gd name="T70" fmla="*/ 2147483647 w 405"/>
                <a:gd name="T71" fmla="*/ 2147483647 h 490"/>
                <a:gd name="T72" fmla="*/ 2147483647 w 405"/>
                <a:gd name="T73" fmla="*/ 2147483647 h 490"/>
                <a:gd name="T74" fmla="*/ 2147483647 w 405"/>
                <a:gd name="T75" fmla="*/ 2147483647 h 490"/>
                <a:gd name="T76" fmla="*/ 2147483647 w 405"/>
                <a:gd name="T77" fmla="*/ 2147483647 h 490"/>
                <a:gd name="T78" fmla="*/ 2147483647 w 405"/>
                <a:gd name="T79" fmla="*/ 2147483647 h 490"/>
                <a:gd name="T80" fmla="*/ 2147483647 w 405"/>
                <a:gd name="T81" fmla="*/ 2147483647 h 490"/>
                <a:gd name="T82" fmla="*/ 2147483647 w 405"/>
                <a:gd name="T83" fmla="*/ 2147483647 h 490"/>
                <a:gd name="T84" fmla="*/ 2147483647 w 405"/>
                <a:gd name="T85" fmla="*/ 2147483647 h 490"/>
                <a:gd name="T86" fmla="*/ 2147483647 w 405"/>
                <a:gd name="T87" fmla="*/ 2147483647 h 490"/>
                <a:gd name="T88" fmla="*/ 2147483647 w 405"/>
                <a:gd name="T89" fmla="*/ 2147483647 h 490"/>
                <a:gd name="T90" fmla="*/ 2147483647 w 405"/>
                <a:gd name="T91" fmla="*/ 2147483647 h 490"/>
                <a:gd name="T92" fmla="*/ 2147483647 w 405"/>
                <a:gd name="T93" fmla="*/ 2147483647 h 490"/>
                <a:gd name="T94" fmla="*/ 2147483647 w 405"/>
                <a:gd name="T95" fmla="*/ 2147483647 h 490"/>
                <a:gd name="T96" fmla="*/ 2147483647 w 405"/>
                <a:gd name="T97" fmla="*/ 2147483647 h 490"/>
                <a:gd name="T98" fmla="*/ 2147483647 w 405"/>
                <a:gd name="T99" fmla="*/ 2147483647 h 490"/>
                <a:gd name="T100" fmla="*/ 2147483647 w 405"/>
                <a:gd name="T101" fmla="*/ 2147483647 h 490"/>
                <a:gd name="T102" fmla="*/ 2147483647 w 405"/>
                <a:gd name="T103" fmla="*/ 2147483647 h 4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5"/>
                <a:gd name="T157" fmla="*/ 0 h 490"/>
                <a:gd name="T158" fmla="*/ 756981 w 405"/>
                <a:gd name="T159" fmla="*/ 915591 h 4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5" h="490">
                  <a:moveTo>
                    <a:pt x="381" y="124"/>
                  </a:moveTo>
                  <a:lnTo>
                    <a:pt x="376" y="94"/>
                  </a:lnTo>
                  <a:lnTo>
                    <a:pt x="405" y="31"/>
                  </a:lnTo>
                  <a:lnTo>
                    <a:pt x="398" y="0"/>
                  </a:lnTo>
                  <a:lnTo>
                    <a:pt x="373" y="2"/>
                  </a:lnTo>
                  <a:lnTo>
                    <a:pt x="331" y="2"/>
                  </a:lnTo>
                  <a:lnTo>
                    <a:pt x="289" y="8"/>
                  </a:lnTo>
                  <a:lnTo>
                    <a:pt x="284" y="26"/>
                  </a:lnTo>
                  <a:lnTo>
                    <a:pt x="286" y="49"/>
                  </a:lnTo>
                  <a:lnTo>
                    <a:pt x="267" y="57"/>
                  </a:lnTo>
                  <a:lnTo>
                    <a:pt x="263" y="91"/>
                  </a:lnTo>
                  <a:lnTo>
                    <a:pt x="205" y="87"/>
                  </a:lnTo>
                  <a:lnTo>
                    <a:pt x="159" y="78"/>
                  </a:lnTo>
                  <a:lnTo>
                    <a:pt x="112" y="69"/>
                  </a:lnTo>
                  <a:lnTo>
                    <a:pt x="100" y="68"/>
                  </a:lnTo>
                  <a:lnTo>
                    <a:pt x="85" y="101"/>
                  </a:lnTo>
                  <a:lnTo>
                    <a:pt x="88" y="121"/>
                  </a:lnTo>
                  <a:lnTo>
                    <a:pt x="104" y="135"/>
                  </a:lnTo>
                  <a:lnTo>
                    <a:pt x="129" y="125"/>
                  </a:lnTo>
                  <a:lnTo>
                    <a:pt x="154" y="134"/>
                  </a:lnTo>
                  <a:lnTo>
                    <a:pt x="168" y="164"/>
                  </a:lnTo>
                  <a:lnTo>
                    <a:pt x="173" y="182"/>
                  </a:lnTo>
                  <a:lnTo>
                    <a:pt x="162" y="250"/>
                  </a:lnTo>
                  <a:lnTo>
                    <a:pt x="167" y="286"/>
                  </a:lnTo>
                  <a:lnTo>
                    <a:pt x="167" y="312"/>
                  </a:lnTo>
                  <a:lnTo>
                    <a:pt x="97" y="311"/>
                  </a:lnTo>
                  <a:lnTo>
                    <a:pt x="69" y="299"/>
                  </a:lnTo>
                  <a:lnTo>
                    <a:pt x="20" y="322"/>
                  </a:lnTo>
                  <a:lnTo>
                    <a:pt x="21" y="354"/>
                  </a:lnTo>
                  <a:lnTo>
                    <a:pt x="23" y="394"/>
                  </a:lnTo>
                  <a:lnTo>
                    <a:pt x="0" y="404"/>
                  </a:lnTo>
                  <a:lnTo>
                    <a:pt x="18" y="435"/>
                  </a:lnTo>
                  <a:lnTo>
                    <a:pt x="45" y="456"/>
                  </a:lnTo>
                  <a:lnTo>
                    <a:pt x="56" y="490"/>
                  </a:lnTo>
                  <a:lnTo>
                    <a:pt x="70" y="473"/>
                  </a:lnTo>
                  <a:lnTo>
                    <a:pt x="83" y="460"/>
                  </a:lnTo>
                  <a:lnTo>
                    <a:pt x="100" y="452"/>
                  </a:lnTo>
                  <a:lnTo>
                    <a:pt x="118" y="467"/>
                  </a:lnTo>
                  <a:lnTo>
                    <a:pt x="151" y="417"/>
                  </a:lnTo>
                  <a:lnTo>
                    <a:pt x="172" y="432"/>
                  </a:lnTo>
                  <a:lnTo>
                    <a:pt x="194" y="439"/>
                  </a:lnTo>
                  <a:lnTo>
                    <a:pt x="224" y="426"/>
                  </a:lnTo>
                  <a:lnTo>
                    <a:pt x="254" y="401"/>
                  </a:lnTo>
                  <a:lnTo>
                    <a:pt x="266" y="385"/>
                  </a:lnTo>
                  <a:lnTo>
                    <a:pt x="269" y="360"/>
                  </a:lnTo>
                  <a:lnTo>
                    <a:pt x="273" y="329"/>
                  </a:lnTo>
                  <a:lnTo>
                    <a:pt x="280" y="295"/>
                  </a:lnTo>
                  <a:lnTo>
                    <a:pt x="318" y="277"/>
                  </a:lnTo>
                  <a:lnTo>
                    <a:pt x="348" y="258"/>
                  </a:lnTo>
                  <a:lnTo>
                    <a:pt x="358" y="211"/>
                  </a:lnTo>
                  <a:lnTo>
                    <a:pt x="376" y="188"/>
                  </a:lnTo>
                  <a:lnTo>
                    <a:pt x="366" y="153"/>
                  </a:lnTo>
                  <a:lnTo>
                    <a:pt x="381" y="124"/>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1" name="Freeform 82">
              <a:extLst>
                <a:ext uri="{FF2B5EF4-FFF2-40B4-BE49-F238E27FC236}">
                  <a16:creationId xmlns:a16="http://schemas.microsoft.com/office/drawing/2014/main" id="{C0E53327-D8DC-CA4E-C23B-9A29CE61A334}"/>
                </a:ext>
              </a:extLst>
            </p:cNvPr>
            <p:cNvSpPr>
              <a:spLocks/>
            </p:cNvSpPr>
            <p:nvPr/>
          </p:nvSpPr>
          <p:spPr bwMode="auto">
            <a:xfrm>
              <a:off x="4715189" y="4067196"/>
              <a:ext cx="138943" cy="159028"/>
            </a:xfrm>
            <a:custGeom>
              <a:avLst/>
              <a:gdLst>
                <a:gd name="T0" fmla="*/ 2147483647 w 310"/>
                <a:gd name="T1" fmla="*/ 2147483647 h 345"/>
                <a:gd name="T2" fmla="*/ 2147483647 w 310"/>
                <a:gd name="T3" fmla="*/ 2147483647 h 345"/>
                <a:gd name="T4" fmla="*/ 2147483647 w 310"/>
                <a:gd name="T5" fmla="*/ 2147483647 h 345"/>
                <a:gd name="T6" fmla="*/ 2147483647 w 310"/>
                <a:gd name="T7" fmla="*/ 2147483647 h 345"/>
                <a:gd name="T8" fmla="*/ 2147483647 w 310"/>
                <a:gd name="T9" fmla="*/ 2147483647 h 345"/>
                <a:gd name="T10" fmla="*/ 2147483647 w 310"/>
                <a:gd name="T11" fmla="*/ 2147483647 h 345"/>
                <a:gd name="T12" fmla="*/ 2147483647 w 310"/>
                <a:gd name="T13" fmla="*/ 2147483647 h 345"/>
                <a:gd name="T14" fmla="*/ 2147483647 w 310"/>
                <a:gd name="T15" fmla="*/ 0 h 345"/>
                <a:gd name="T16" fmla="*/ 2147483647 w 310"/>
                <a:gd name="T17" fmla="*/ 2147483647 h 345"/>
                <a:gd name="T18" fmla="*/ 2147483647 w 310"/>
                <a:gd name="T19" fmla="*/ 2147483647 h 345"/>
                <a:gd name="T20" fmla="*/ 2147483647 w 310"/>
                <a:gd name="T21" fmla="*/ 2147483647 h 345"/>
                <a:gd name="T22" fmla="*/ 2147483647 w 310"/>
                <a:gd name="T23" fmla="*/ 2147483647 h 345"/>
                <a:gd name="T24" fmla="*/ 2147483647 w 310"/>
                <a:gd name="T25" fmla="*/ 2147483647 h 345"/>
                <a:gd name="T26" fmla="*/ 2147483647 w 310"/>
                <a:gd name="T27" fmla="*/ 2147483647 h 345"/>
                <a:gd name="T28" fmla="*/ 2147483647 w 310"/>
                <a:gd name="T29" fmla="*/ 2147483647 h 345"/>
                <a:gd name="T30" fmla="*/ 2147483647 w 310"/>
                <a:gd name="T31" fmla="*/ 2147483647 h 345"/>
                <a:gd name="T32" fmla="*/ 2147483647 w 310"/>
                <a:gd name="T33" fmla="*/ 2147483647 h 345"/>
                <a:gd name="T34" fmla="*/ 2147483647 w 310"/>
                <a:gd name="T35" fmla="*/ 2147483647 h 345"/>
                <a:gd name="T36" fmla="*/ 2147483647 w 310"/>
                <a:gd name="T37" fmla="*/ 2147483647 h 345"/>
                <a:gd name="T38" fmla="*/ 0 w 310"/>
                <a:gd name="T39" fmla="*/ 2147483647 h 345"/>
                <a:gd name="T40" fmla="*/ 2147483647 w 310"/>
                <a:gd name="T41" fmla="*/ 2147483647 h 345"/>
                <a:gd name="T42" fmla="*/ 2147483647 w 310"/>
                <a:gd name="T43" fmla="*/ 2147483647 h 345"/>
                <a:gd name="T44" fmla="*/ 2147483647 w 310"/>
                <a:gd name="T45" fmla="*/ 2147483647 h 345"/>
                <a:gd name="T46" fmla="*/ 2147483647 w 310"/>
                <a:gd name="T47" fmla="*/ 2147483647 h 345"/>
                <a:gd name="T48" fmla="*/ 2147483647 w 310"/>
                <a:gd name="T49" fmla="*/ 2147483647 h 345"/>
                <a:gd name="T50" fmla="*/ 2147483647 w 310"/>
                <a:gd name="T51" fmla="*/ 2147483647 h 345"/>
                <a:gd name="T52" fmla="*/ 2147483647 w 310"/>
                <a:gd name="T53" fmla="*/ 2147483647 h 345"/>
                <a:gd name="T54" fmla="*/ 2147483647 w 310"/>
                <a:gd name="T55" fmla="*/ 2147483647 h 345"/>
                <a:gd name="T56" fmla="*/ 2147483647 w 310"/>
                <a:gd name="T57" fmla="*/ 2147483647 h 345"/>
                <a:gd name="T58" fmla="*/ 2147483647 w 310"/>
                <a:gd name="T59" fmla="*/ 2147483647 h 345"/>
                <a:gd name="T60" fmla="*/ 2147483647 w 310"/>
                <a:gd name="T61" fmla="*/ 2147483647 h 345"/>
                <a:gd name="T62" fmla="*/ 2147483647 w 310"/>
                <a:gd name="T63" fmla="*/ 2147483647 h 345"/>
                <a:gd name="T64" fmla="*/ 2147483647 w 310"/>
                <a:gd name="T65" fmla="*/ 2147483647 h 345"/>
                <a:gd name="T66" fmla="*/ 2147483647 w 310"/>
                <a:gd name="T67" fmla="*/ 2147483647 h 345"/>
                <a:gd name="T68" fmla="*/ 2147483647 w 310"/>
                <a:gd name="T69" fmla="*/ 2147483647 h 345"/>
                <a:gd name="T70" fmla="*/ 2147483647 w 310"/>
                <a:gd name="T71" fmla="*/ 2147483647 h 345"/>
                <a:gd name="T72" fmla="*/ 2147483647 w 310"/>
                <a:gd name="T73" fmla="*/ 2147483647 h 345"/>
                <a:gd name="T74" fmla="*/ 2147483647 w 310"/>
                <a:gd name="T75" fmla="*/ 2147483647 h 345"/>
                <a:gd name="T76" fmla="*/ 2147483647 w 310"/>
                <a:gd name="T77" fmla="*/ 2147483647 h 345"/>
                <a:gd name="T78" fmla="*/ 2147483647 w 310"/>
                <a:gd name="T79" fmla="*/ 2147483647 h 34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10"/>
                <a:gd name="T121" fmla="*/ 0 h 345"/>
                <a:gd name="T122" fmla="*/ 582220 w 310"/>
                <a:gd name="T123" fmla="*/ 639365 h 34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10" h="345">
                  <a:moveTo>
                    <a:pt x="303" y="95"/>
                  </a:moveTo>
                  <a:lnTo>
                    <a:pt x="290" y="72"/>
                  </a:lnTo>
                  <a:lnTo>
                    <a:pt x="266" y="61"/>
                  </a:lnTo>
                  <a:lnTo>
                    <a:pt x="242" y="73"/>
                  </a:lnTo>
                  <a:lnTo>
                    <a:pt x="225" y="59"/>
                  </a:lnTo>
                  <a:lnTo>
                    <a:pt x="222" y="40"/>
                  </a:lnTo>
                  <a:lnTo>
                    <a:pt x="238" y="5"/>
                  </a:lnTo>
                  <a:lnTo>
                    <a:pt x="210" y="0"/>
                  </a:lnTo>
                  <a:lnTo>
                    <a:pt x="176" y="1"/>
                  </a:lnTo>
                  <a:lnTo>
                    <a:pt x="140" y="8"/>
                  </a:lnTo>
                  <a:lnTo>
                    <a:pt x="120" y="8"/>
                  </a:lnTo>
                  <a:lnTo>
                    <a:pt x="124" y="48"/>
                  </a:lnTo>
                  <a:lnTo>
                    <a:pt x="124" y="67"/>
                  </a:lnTo>
                  <a:lnTo>
                    <a:pt x="66" y="67"/>
                  </a:lnTo>
                  <a:lnTo>
                    <a:pt x="34" y="76"/>
                  </a:lnTo>
                  <a:lnTo>
                    <a:pt x="17" y="114"/>
                  </a:lnTo>
                  <a:lnTo>
                    <a:pt x="28" y="129"/>
                  </a:lnTo>
                  <a:lnTo>
                    <a:pt x="29" y="152"/>
                  </a:lnTo>
                  <a:lnTo>
                    <a:pt x="11" y="152"/>
                  </a:lnTo>
                  <a:lnTo>
                    <a:pt x="0" y="181"/>
                  </a:lnTo>
                  <a:lnTo>
                    <a:pt x="17" y="202"/>
                  </a:lnTo>
                  <a:lnTo>
                    <a:pt x="31" y="233"/>
                  </a:lnTo>
                  <a:lnTo>
                    <a:pt x="45" y="260"/>
                  </a:lnTo>
                  <a:lnTo>
                    <a:pt x="81" y="284"/>
                  </a:lnTo>
                  <a:lnTo>
                    <a:pt x="100" y="311"/>
                  </a:lnTo>
                  <a:lnTo>
                    <a:pt x="115" y="334"/>
                  </a:lnTo>
                  <a:lnTo>
                    <a:pt x="138" y="345"/>
                  </a:lnTo>
                  <a:lnTo>
                    <a:pt x="162" y="333"/>
                  </a:lnTo>
                  <a:lnTo>
                    <a:pt x="158" y="294"/>
                  </a:lnTo>
                  <a:lnTo>
                    <a:pt x="158" y="262"/>
                  </a:lnTo>
                  <a:lnTo>
                    <a:pt x="186" y="249"/>
                  </a:lnTo>
                  <a:lnTo>
                    <a:pt x="207" y="239"/>
                  </a:lnTo>
                  <a:lnTo>
                    <a:pt x="236" y="251"/>
                  </a:lnTo>
                  <a:lnTo>
                    <a:pt x="274" y="251"/>
                  </a:lnTo>
                  <a:lnTo>
                    <a:pt x="304" y="251"/>
                  </a:lnTo>
                  <a:lnTo>
                    <a:pt x="304" y="229"/>
                  </a:lnTo>
                  <a:lnTo>
                    <a:pt x="300" y="187"/>
                  </a:lnTo>
                  <a:lnTo>
                    <a:pt x="307" y="145"/>
                  </a:lnTo>
                  <a:lnTo>
                    <a:pt x="310" y="118"/>
                  </a:lnTo>
                  <a:lnTo>
                    <a:pt x="303" y="95"/>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2" name="Freeform 84">
              <a:extLst>
                <a:ext uri="{FF2B5EF4-FFF2-40B4-BE49-F238E27FC236}">
                  <a16:creationId xmlns:a16="http://schemas.microsoft.com/office/drawing/2014/main" id="{8A6E5B32-D74A-A5DD-F7EA-833DA7C46721}"/>
                </a:ext>
              </a:extLst>
            </p:cNvPr>
            <p:cNvSpPr>
              <a:spLocks/>
            </p:cNvSpPr>
            <p:nvPr/>
          </p:nvSpPr>
          <p:spPr bwMode="auto">
            <a:xfrm>
              <a:off x="4401447" y="3836721"/>
              <a:ext cx="109809" cy="165943"/>
            </a:xfrm>
            <a:custGeom>
              <a:avLst/>
              <a:gdLst>
                <a:gd name="T0" fmla="*/ 35 w 445207"/>
                <a:gd name="T1" fmla="*/ 1 h 665560"/>
                <a:gd name="T2" fmla="*/ 19 w 445207"/>
                <a:gd name="T3" fmla="*/ 1 h 665560"/>
                <a:gd name="T4" fmla="*/ 6 w 445207"/>
                <a:gd name="T5" fmla="*/ 1 h 665560"/>
                <a:gd name="T6" fmla="*/ 7 w 445207"/>
                <a:gd name="T7" fmla="*/ 13 h 665560"/>
                <a:gd name="T8" fmla="*/ 4 w 445207"/>
                <a:gd name="T9" fmla="*/ 22 h 665560"/>
                <a:gd name="T10" fmla="*/ 10 w 445207"/>
                <a:gd name="T11" fmla="*/ 41 h 665560"/>
                <a:gd name="T12" fmla="*/ 6 w 445207"/>
                <a:gd name="T13" fmla="*/ 57 h 665560"/>
                <a:gd name="T14" fmla="*/ 0 w 445207"/>
                <a:gd name="T15" fmla="*/ 74 h 665560"/>
                <a:gd name="T16" fmla="*/ 2 w 445207"/>
                <a:gd name="T17" fmla="*/ 91 h 665560"/>
                <a:gd name="T18" fmla="*/ 8 w 445207"/>
                <a:gd name="T19" fmla="*/ 98 h 665560"/>
                <a:gd name="T20" fmla="*/ 14 w 445207"/>
                <a:gd name="T21" fmla="*/ 99 h 665560"/>
                <a:gd name="T22" fmla="*/ 25 w 445207"/>
                <a:gd name="T23" fmla="*/ 99 h 665560"/>
                <a:gd name="T24" fmla="*/ 34 w 445207"/>
                <a:gd name="T25" fmla="*/ 94 h 665560"/>
                <a:gd name="T26" fmla="*/ 44 w 445207"/>
                <a:gd name="T27" fmla="*/ 91 h 665560"/>
                <a:gd name="T28" fmla="*/ 52 w 445207"/>
                <a:gd name="T29" fmla="*/ 90 h 665560"/>
                <a:gd name="T30" fmla="*/ 61 w 445207"/>
                <a:gd name="T31" fmla="*/ 86 h 665560"/>
                <a:gd name="T32" fmla="*/ 72 w 445207"/>
                <a:gd name="T33" fmla="*/ 87 h 665560"/>
                <a:gd name="T34" fmla="*/ 73 w 445207"/>
                <a:gd name="T35" fmla="*/ 83 h 665560"/>
                <a:gd name="T36" fmla="*/ 68 w 445207"/>
                <a:gd name="T37" fmla="*/ 77 h 665560"/>
                <a:gd name="T38" fmla="*/ 70 w 445207"/>
                <a:gd name="T39" fmla="*/ 70 h 665560"/>
                <a:gd name="T40" fmla="*/ 70 w 445207"/>
                <a:gd name="T41" fmla="*/ 65 h 665560"/>
                <a:gd name="T42" fmla="*/ 67 w 445207"/>
                <a:gd name="T43" fmla="*/ 61 h 665560"/>
                <a:gd name="T44" fmla="*/ 68 w 445207"/>
                <a:gd name="T45" fmla="*/ 54 h 665560"/>
                <a:gd name="T46" fmla="*/ 72 w 445207"/>
                <a:gd name="T47" fmla="*/ 49 h 665560"/>
                <a:gd name="T48" fmla="*/ 70 w 445207"/>
                <a:gd name="T49" fmla="*/ 47 h 665560"/>
                <a:gd name="T50" fmla="*/ 67 w 445207"/>
                <a:gd name="T51" fmla="*/ 43 h 665560"/>
                <a:gd name="T52" fmla="*/ 71 w 445207"/>
                <a:gd name="T53" fmla="*/ 40 h 665560"/>
                <a:gd name="T54" fmla="*/ 70 w 445207"/>
                <a:gd name="T55" fmla="*/ 35 h 665560"/>
                <a:gd name="T56" fmla="*/ 69 w 445207"/>
                <a:gd name="T57" fmla="*/ 29 h 665560"/>
                <a:gd name="T58" fmla="*/ 66 w 445207"/>
                <a:gd name="T59" fmla="*/ 26 h 665560"/>
                <a:gd name="T60" fmla="*/ 67 w 445207"/>
                <a:gd name="T61" fmla="*/ 15 h 665560"/>
                <a:gd name="T62" fmla="*/ 62 w 445207"/>
                <a:gd name="T63" fmla="*/ 5 h 665560"/>
                <a:gd name="T64" fmla="*/ 54 w 445207"/>
                <a:gd name="T65" fmla="*/ 0 h 665560"/>
                <a:gd name="T66" fmla="*/ 35 w 445207"/>
                <a:gd name="T67" fmla="*/ 1 h 6655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5207"/>
                <a:gd name="T103" fmla="*/ 0 h 665560"/>
                <a:gd name="T104" fmla="*/ 445207 w 445207"/>
                <a:gd name="T105" fmla="*/ 665560 h 6655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5207" h="665560">
                  <a:moveTo>
                    <a:pt x="214313" y="3572"/>
                  </a:moveTo>
                  <a:lnTo>
                    <a:pt x="115491" y="9525"/>
                  </a:lnTo>
                  <a:lnTo>
                    <a:pt x="34529" y="8335"/>
                  </a:lnTo>
                  <a:lnTo>
                    <a:pt x="41672" y="88106"/>
                  </a:lnTo>
                  <a:lnTo>
                    <a:pt x="26194" y="147638"/>
                  </a:lnTo>
                  <a:lnTo>
                    <a:pt x="61913" y="276225"/>
                  </a:lnTo>
                  <a:lnTo>
                    <a:pt x="39291" y="382191"/>
                  </a:lnTo>
                  <a:lnTo>
                    <a:pt x="0" y="496491"/>
                  </a:lnTo>
                  <a:lnTo>
                    <a:pt x="14288" y="610791"/>
                  </a:lnTo>
                  <a:lnTo>
                    <a:pt x="48816" y="658416"/>
                  </a:lnTo>
                  <a:lnTo>
                    <a:pt x="86916" y="664369"/>
                  </a:lnTo>
                  <a:lnTo>
                    <a:pt x="154782" y="665560"/>
                  </a:lnTo>
                  <a:lnTo>
                    <a:pt x="207169" y="632222"/>
                  </a:lnTo>
                  <a:lnTo>
                    <a:pt x="269082" y="611981"/>
                  </a:lnTo>
                  <a:lnTo>
                    <a:pt x="319088" y="602456"/>
                  </a:lnTo>
                  <a:lnTo>
                    <a:pt x="372666" y="577453"/>
                  </a:lnTo>
                  <a:lnTo>
                    <a:pt x="442913" y="582216"/>
                  </a:lnTo>
                  <a:lnTo>
                    <a:pt x="445207" y="557514"/>
                  </a:lnTo>
                  <a:lnTo>
                    <a:pt x="418590" y="512668"/>
                  </a:lnTo>
                  <a:lnTo>
                    <a:pt x="430891" y="467115"/>
                  </a:lnTo>
                  <a:lnTo>
                    <a:pt x="432162" y="437345"/>
                  </a:lnTo>
                  <a:lnTo>
                    <a:pt x="412215" y="410793"/>
                  </a:lnTo>
                  <a:lnTo>
                    <a:pt x="419904" y="360603"/>
                  </a:lnTo>
                  <a:lnTo>
                    <a:pt x="441095" y="330944"/>
                  </a:lnTo>
                  <a:lnTo>
                    <a:pt x="428090" y="312765"/>
                  </a:lnTo>
                  <a:lnTo>
                    <a:pt x="410766" y="288131"/>
                  </a:lnTo>
                  <a:lnTo>
                    <a:pt x="438171" y="269614"/>
                  </a:lnTo>
                  <a:lnTo>
                    <a:pt x="428504" y="235793"/>
                  </a:lnTo>
                  <a:lnTo>
                    <a:pt x="425957" y="195231"/>
                  </a:lnTo>
                  <a:lnTo>
                    <a:pt x="403858" y="174857"/>
                  </a:lnTo>
                  <a:lnTo>
                    <a:pt x="412453" y="99624"/>
                  </a:lnTo>
                  <a:lnTo>
                    <a:pt x="378619" y="32147"/>
                  </a:lnTo>
                  <a:lnTo>
                    <a:pt x="329804" y="0"/>
                  </a:lnTo>
                  <a:lnTo>
                    <a:pt x="214313" y="3572"/>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3" name="Freeform 85">
              <a:extLst>
                <a:ext uri="{FF2B5EF4-FFF2-40B4-BE49-F238E27FC236}">
                  <a16:creationId xmlns:a16="http://schemas.microsoft.com/office/drawing/2014/main" id="{A54E0782-7E45-B42A-CC39-C7E10ACA526A}"/>
                </a:ext>
              </a:extLst>
            </p:cNvPr>
            <p:cNvSpPr>
              <a:spLocks/>
            </p:cNvSpPr>
            <p:nvPr/>
          </p:nvSpPr>
          <p:spPr bwMode="auto">
            <a:xfrm>
              <a:off x="4493328" y="3839024"/>
              <a:ext cx="38098" cy="140592"/>
            </a:xfrm>
            <a:custGeom>
              <a:avLst/>
              <a:gdLst>
                <a:gd name="T0" fmla="*/ 0 w 152226"/>
                <a:gd name="T1" fmla="*/ 3 h 576263"/>
                <a:gd name="T2" fmla="*/ 6 w 152226"/>
                <a:gd name="T3" fmla="*/ 13 h 576263"/>
                <a:gd name="T4" fmla="*/ 4 w 152226"/>
                <a:gd name="T5" fmla="*/ 23 h 576263"/>
                <a:gd name="T6" fmla="*/ 8 w 152226"/>
                <a:gd name="T7" fmla="*/ 25 h 576263"/>
                <a:gd name="T8" fmla="*/ 9 w 152226"/>
                <a:gd name="T9" fmla="*/ 31 h 576263"/>
                <a:gd name="T10" fmla="*/ 10 w 152226"/>
                <a:gd name="T11" fmla="*/ 35 h 576263"/>
                <a:gd name="T12" fmla="*/ 6 w 152226"/>
                <a:gd name="T13" fmla="*/ 38 h 576263"/>
                <a:gd name="T14" fmla="*/ 11 w 152226"/>
                <a:gd name="T15" fmla="*/ 44 h 576263"/>
                <a:gd name="T16" fmla="*/ 7 w 152226"/>
                <a:gd name="T17" fmla="*/ 48 h 576263"/>
                <a:gd name="T18" fmla="*/ 6 w 152226"/>
                <a:gd name="T19" fmla="*/ 54 h 576263"/>
                <a:gd name="T20" fmla="*/ 9 w 152226"/>
                <a:gd name="T21" fmla="*/ 58 h 576263"/>
                <a:gd name="T22" fmla="*/ 9 w 152226"/>
                <a:gd name="T23" fmla="*/ 62 h 576263"/>
                <a:gd name="T24" fmla="*/ 7 w 152226"/>
                <a:gd name="T25" fmla="*/ 68 h 576263"/>
                <a:gd name="T26" fmla="*/ 11 w 152226"/>
                <a:gd name="T27" fmla="*/ 74 h 576263"/>
                <a:gd name="T28" fmla="*/ 12 w 152226"/>
                <a:gd name="T29" fmla="*/ 77 h 576263"/>
                <a:gd name="T30" fmla="*/ 16 w 152226"/>
                <a:gd name="T31" fmla="*/ 76 h 576263"/>
                <a:gd name="T32" fmla="*/ 20 w 152226"/>
                <a:gd name="T33" fmla="*/ 73 h 576263"/>
                <a:gd name="T34" fmla="*/ 23 w 152226"/>
                <a:gd name="T35" fmla="*/ 69 h 576263"/>
                <a:gd name="T36" fmla="*/ 26 w 152226"/>
                <a:gd name="T37" fmla="*/ 67 h 576263"/>
                <a:gd name="T38" fmla="*/ 27 w 152226"/>
                <a:gd name="T39" fmla="*/ 30 h 576263"/>
                <a:gd name="T40" fmla="*/ 22 w 152226"/>
                <a:gd name="T41" fmla="*/ 24 h 576263"/>
                <a:gd name="T42" fmla="*/ 22 w 152226"/>
                <a:gd name="T43" fmla="*/ 17 h 576263"/>
                <a:gd name="T44" fmla="*/ 15 w 152226"/>
                <a:gd name="T45" fmla="*/ 5 h 576263"/>
                <a:gd name="T46" fmla="*/ 11 w 152226"/>
                <a:gd name="T47" fmla="*/ 0 h 576263"/>
                <a:gd name="T48" fmla="*/ 0 w 152226"/>
                <a:gd name="T49" fmla="*/ 3 h 5762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2226"/>
                <a:gd name="T76" fmla="*/ 0 h 576263"/>
                <a:gd name="T77" fmla="*/ 152226 w 152226"/>
                <a:gd name="T78" fmla="*/ 576263 h 5762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2226" h="576263">
                  <a:moveTo>
                    <a:pt x="0" y="25003"/>
                  </a:moveTo>
                  <a:lnTo>
                    <a:pt x="32147" y="94060"/>
                  </a:lnTo>
                  <a:lnTo>
                    <a:pt x="25003" y="167878"/>
                  </a:lnTo>
                  <a:lnTo>
                    <a:pt x="47625" y="188119"/>
                  </a:lnTo>
                  <a:lnTo>
                    <a:pt x="48816" y="232172"/>
                  </a:lnTo>
                  <a:lnTo>
                    <a:pt x="59531" y="264319"/>
                  </a:lnTo>
                  <a:lnTo>
                    <a:pt x="32147" y="282178"/>
                  </a:lnTo>
                  <a:lnTo>
                    <a:pt x="63103" y="325041"/>
                  </a:lnTo>
                  <a:lnTo>
                    <a:pt x="41672" y="354807"/>
                  </a:lnTo>
                  <a:lnTo>
                    <a:pt x="32147" y="402432"/>
                  </a:lnTo>
                  <a:lnTo>
                    <a:pt x="53578" y="431007"/>
                  </a:lnTo>
                  <a:lnTo>
                    <a:pt x="52388" y="461963"/>
                  </a:lnTo>
                  <a:lnTo>
                    <a:pt x="40481" y="506016"/>
                  </a:lnTo>
                  <a:lnTo>
                    <a:pt x="64294" y="550069"/>
                  </a:lnTo>
                  <a:lnTo>
                    <a:pt x="65485" y="576263"/>
                  </a:lnTo>
                  <a:lnTo>
                    <a:pt x="93683" y="567736"/>
                  </a:lnTo>
                  <a:lnTo>
                    <a:pt x="116681" y="541735"/>
                  </a:lnTo>
                  <a:lnTo>
                    <a:pt x="130969" y="514350"/>
                  </a:lnTo>
                  <a:lnTo>
                    <a:pt x="148828" y="501253"/>
                  </a:lnTo>
                  <a:lnTo>
                    <a:pt x="152226" y="226972"/>
                  </a:lnTo>
                  <a:lnTo>
                    <a:pt x="125860" y="176237"/>
                  </a:lnTo>
                  <a:lnTo>
                    <a:pt x="124974" y="127389"/>
                  </a:lnTo>
                  <a:lnTo>
                    <a:pt x="83344" y="33338"/>
                  </a:lnTo>
                  <a:lnTo>
                    <a:pt x="60722" y="0"/>
                  </a:lnTo>
                  <a:lnTo>
                    <a:pt x="0" y="2500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4" name="Freeform 86">
              <a:extLst>
                <a:ext uri="{FF2B5EF4-FFF2-40B4-BE49-F238E27FC236}">
                  <a16:creationId xmlns:a16="http://schemas.microsoft.com/office/drawing/2014/main" id="{0ACC8AA1-93DE-EF52-E8CC-33C0C03BB220}"/>
                </a:ext>
              </a:extLst>
            </p:cNvPr>
            <p:cNvSpPr>
              <a:spLocks/>
            </p:cNvSpPr>
            <p:nvPr/>
          </p:nvSpPr>
          <p:spPr bwMode="auto">
            <a:xfrm>
              <a:off x="4190792" y="3901253"/>
              <a:ext cx="100844" cy="112933"/>
            </a:xfrm>
            <a:custGeom>
              <a:avLst/>
              <a:gdLst>
                <a:gd name="T0" fmla="*/ 58 w 422672"/>
                <a:gd name="T1" fmla="*/ 68 h 449732"/>
                <a:gd name="T2" fmla="*/ 58 w 422672"/>
                <a:gd name="T3" fmla="*/ 59 h 449732"/>
                <a:gd name="T4" fmla="*/ 58 w 422672"/>
                <a:gd name="T5" fmla="*/ 46 h 449732"/>
                <a:gd name="T6" fmla="*/ 45 w 422672"/>
                <a:gd name="T7" fmla="*/ 35 h 449732"/>
                <a:gd name="T8" fmla="*/ 46 w 422672"/>
                <a:gd name="T9" fmla="*/ 28 h 449732"/>
                <a:gd name="T10" fmla="*/ 45 w 422672"/>
                <a:gd name="T11" fmla="*/ 17 h 449732"/>
                <a:gd name="T12" fmla="*/ 39 w 422672"/>
                <a:gd name="T13" fmla="*/ 17 h 449732"/>
                <a:gd name="T14" fmla="*/ 34 w 422672"/>
                <a:gd name="T15" fmla="*/ 15 h 449732"/>
                <a:gd name="T16" fmla="*/ 31 w 422672"/>
                <a:gd name="T17" fmla="*/ 11 h 449732"/>
                <a:gd name="T18" fmla="*/ 27 w 422672"/>
                <a:gd name="T19" fmla="*/ 7 h 449732"/>
                <a:gd name="T20" fmla="*/ 21 w 422672"/>
                <a:gd name="T21" fmla="*/ 7 h 449732"/>
                <a:gd name="T22" fmla="*/ 19 w 422672"/>
                <a:gd name="T23" fmla="*/ 2 h 449732"/>
                <a:gd name="T24" fmla="*/ 16 w 422672"/>
                <a:gd name="T25" fmla="*/ 0 h 449732"/>
                <a:gd name="T26" fmla="*/ 14 w 422672"/>
                <a:gd name="T27" fmla="*/ 8 h 449732"/>
                <a:gd name="T28" fmla="*/ 11 w 422672"/>
                <a:gd name="T29" fmla="*/ 12 h 449732"/>
                <a:gd name="T30" fmla="*/ 10 w 422672"/>
                <a:gd name="T31" fmla="*/ 17 h 449732"/>
                <a:gd name="T32" fmla="*/ 6 w 422672"/>
                <a:gd name="T33" fmla="*/ 20 h 449732"/>
                <a:gd name="T34" fmla="*/ 3 w 422672"/>
                <a:gd name="T35" fmla="*/ 24 h 449732"/>
                <a:gd name="T36" fmla="*/ 0 w 422672"/>
                <a:gd name="T37" fmla="*/ 28 h 449732"/>
                <a:gd name="T38" fmla="*/ 3 w 422672"/>
                <a:gd name="T39" fmla="*/ 30 h 449732"/>
                <a:gd name="T40" fmla="*/ 8 w 422672"/>
                <a:gd name="T41" fmla="*/ 32 h 449732"/>
                <a:gd name="T42" fmla="*/ 13 w 422672"/>
                <a:gd name="T43" fmla="*/ 35 h 449732"/>
                <a:gd name="T44" fmla="*/ 19 w 422672"/>
                <a:gd name="T45" fmla="*/ 43 h 449732"/>
                <a:gd name="T46" fmla="*/ 23 w 422672"/>
                <a:gd name="T47" fmla="*/ 45 h 449732"/>
                <a:gd name="T48" fmla="*/ 27 w 422672"/>
                <a:gd name="T49" fmla="*/ 51 h 449732"/>
                <a:gd name="T50" fmla="*/ 30 w 422672"/>
                <a:gd name="T51" fmla="*/ 57 h 449732"/>
                <a:gd name="T52" fmla="*/ 35 w 422672"/>
                <a:gd name="T53" fmla="*/ 61 h 449732"/>
                <a:gd name="T54" fmla="*/ 39 w 422672"/>
                <a:gd name="T55" fmla="*/ 62 h 449732"/>
                <a:gd name="T56" fmla="*/ 43 w 422672"/>
                <a:gd name="T57" fmla="*/ 66 h 449732"/>
                <a:gd name="T58" fmla="*/ 48 w 422672"/>
                <a:gd name="T59" fmla="*/ 68 h 449732"/>
                <a:gd name="T60" fmla="*/ 53 w 422672"/>
                <a:gd name="T61" fmla="*/ 70 h 449732"/>
                <a:gd name="T62" fmla="*/ 58 w 422672"/>
                <a:gd name="T63" fmla="*/ 68 h 4497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2672"/>
                <a:gd name="T97" fmla="*/ 0 h 449732"/>
                <a:gd name="T98" fmla="*/ 422672 w 422672"/>
                <a:gd name="T99" fmla="*/ 449732 h 4497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2672" h="449732">
                  <a:moveTo>
                    <a:pt x="417909" y="441722"/>
                  </a:moveTo>
                  <a:lnTo>
                    <a:pt x="422672" y="378619"/>
                  </a:lnTo>
                  <a:lnTo>
                    <a:pt x="422672" y="298847"/>
                  </a:lnTo>
                  <a:lnTo>
                    <a:pt x="327422" y="228600"/>
                  </a:lnTo>
                  <a:lnTo>
                    <a:pt x="336947" y="177403"/>
                  </a:lnTo>
                  <a:lnTo>
                    <a:pt x="327422" y="108347"/>
                  </a:lnTo>
                  <a:lnTo>
                    <a:pt x="283369" y="109538"/>
                  </a:lnTo>
                  <a:lnTo>
                    <a:pt x="247650" y="98822"/>
                  </a:lnTo>
                  <a:lnTo>
                    <a:pt x="222647" y="70247"/>
                  </a:lnTo>
                  <a:lnTo>
                    <a:pt x="194072" y="45244"/>
                  </a:lnTo>
                  <a:lnTo>
                    <a:pt x="154781" y="46435"/>
                  </a:lnTo>
                  <a:lnTo>
                    <a:pt x="136922" y="13097"/>
                  </a:lnTo>
                  <a:lnTo>
                    <a:pt x="116681" y="0"/>
                  </a:lnTo>
                  <a:lnTo>
                    <a:pt x="102394" y="50007"/>
                  </a:lnTo>
                  <a:lnTo>
                    <a:pt x="78581" y="78582"/>
                  </a:lnTo>
                  <a:lnTo>
                    <a:pt x="76200" y="107157"/>
                  </a:lnTo>
                  <a:lnTo>
                    <a:pt x="41672" y="130969"/>
                  </a:lnTo>
                  <a:lnTo>
                    <a:pt x="22622" y="153591"/>
                  </a:lnTo>
                  <a:lnTo>
                    <a:pt x="0" y="180975"/>
                  </a:lnTo>
                  <a:lnTo>
                    <a:pt x="19956" y="197096"/>
                  </a:lnTo>
                  <a:lnTo>
                    <a:pt x="60562" y="204904"/>
                  </a:lnTo>
                  <a:lnTo>
                    <a:pt x="90589" y="224296"/>
                  </a:lnTo>
                  <a:lnTo>
                    <a:pt x="134668" y="274762"/>
                  </a:lnTo>
                  <a:lnTo>
                    <a:pt x="166688" y="294085"/>
                  </a:lnTo>
                  <a:lnTo>
                    <a:pt x="192283" y="327832"/>
                  </a:lnTo>
                  <a:lnTo>
                    <a:pt x="220027" y="370050"/>
                  </a:lnTo>
                  <a:lnTo>
                    <a:pt x="255550" y="395039"/>
                  </a:lnTo>
                  <a:lnTo>
                    <a:pt x="279034" y="400784"/>
                  </a:lnTo>
                  <a:lnTo>
                    <a:pt x="310054" y="425380"/>
                  </a:lnTo>
                  <a:lnTo>
                    <a:pt x="348069" y="438930"/>
                  </a:lnTo>
                  <a:lnTo>
                    <a:pt x="380637" y="449732"/>
                  </a:lnTo>
                  <a:lnTo>
                    <a:pt x="417909" y="441722"/>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5" name="Freeform 87">
              <a:extLst>
                <a:ext uri="{FF2B5EF4-FFF2-40B4-BE49-F238E27FC236}">
                  <a16:creationId xmlns:a16="http://schemas.microsoft.com/office/drawing/2014/main" id="{03D36485-DDC8-A723-0746-52A4A5092572}"/>
                </a:ext>
              </a:extLst>
            </p:cNvPr>
            <p:cNvSpPr>
              <a:spLocks/>
            </p:cNvSpPr>
            <p:nvPr/>
          </p:nvSpPr>
          <p:spPr bwMode="auto">
            <a:xfrm>
              <a:off x="4143731" y="3857461"/>
              <a:ext cx="73954" cy="89887"/>
            </a:xfrm>
            <a:custGeom>
              <a:avLst/>
              <a:gdLst>
                <a:gd name="T0" fmla="*/ 1 w 311748"/>
                <a:gd name="T1" fmla="*/ 26 h 355997"/>
                <a:gd name="T2" fmla="*/ 0 w 311748"/>
                <a:gd name="T3" fmla="*/ 19 h 355997"/>
                <a:gd name="T4" fmla="*/ 5 w 311748"/>
                <a:gd name="T5" fmla="*/ 15 h 355997"/>
                <a:gd name="T6" fmla="*/ 10 w 311748"/>
                <a:gd name="T7" fmla="*/ 8 h 355997"/>
                <a:gd name="T8" fmla="*/ 13 w 311748"/>
                <a:gd name="T9" fmla="*/ 1 h 355997"/>
                <a:gd name="T10" fmla="*/ 20 w 311748"/>
                <a:gd name="T11" fmla="*/ 0 h 355997"/>
                <a:gd name="T12" fmla="*/ 26 w 311748"/>
                <a:gd name="T13" fmla="*/ 2 h 355997"/>
                <a:gd name="T14" fmla="*/ 31 w 311748"/>
                <a:gd name="T15" fmla="*/ 7 h 355997"/>
                <a:gd name="T16" fmla="*/ 36 w 311748"/>
                <a:gd name="T17" fmla="*/ 15 h 355997"/>
                <a:gd name="T18" fmla="*/ 42 w 311748"/>
                <a:gd name="T19" fmla="*/ 28 h 355997"/>
                <a:gd name="T20" fmla="*/ 39 w 311748"/>
                <a:gd name="T21" fmla="*/ 36 h 355997"/>
                <a:gd name="T22" fmla="*/ 36 w 311748"/>
                <a:gd name="T23" fmla="*/ 40 h 355997"/>
                <a:gd name="T24" fmla="*/ 36 w 311748"/>
                <a:gd name="T25" fmla="*/ 45 h 355997"/>
                <a:gd name="T26" fmla="*/ 32 w 311748"/>
                <a:gd name="T27" fmla="*/ 48 h 355997"/>
                <a:gd name="T28" fmla="*/ 28 w 311748"/>
                <a:gd name="T29" fmla="*/ 54 h 355997"/>
                <a:gd name="T30" fmla="*/ 26 w 311748"/>
                <a:gd name="T31" fmla="*/ 57 h 355997"/>
                <a:gd name="T32" fmla="*/ 21 w 311748"/>
                <a:gd name="T33" fmla="*/ 56 h 355997"/>
                <a:gd name="T34" fmla="*/ 17 w 311748"/>
                <a:gd name="T35" fmla="*/ 50 h 355997"/>
                <a:gd name="T36" fmla="*/ 11 w 311748"/>
                <a:gd name="T37" fmla="*/ 49 h 355997"/>
                <a:gd name="T38" fmla="*/ 7 w 311748"/>
                <a:gd name="T39" fmla="*/ 42 h 355997"/>
                <a:gd name="T40" fmla="*/ 3 w 311748"/>
                <a:gd name="T41" fmla="*/ 36 h 355997"/>
                <a:gd name="T42" fmla="*/ 0 w 311748"/>
                <a:gd name="T43" fmla="*/ 30 h 355997"/>
                <a:gd name="T44" fmla="*/ 1 w 311748"/>
                <a:gd name="T45" fmla="*/ 26 h 35599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1748"/>
                <a:gd name="T70" fmla="*/ 0 h 355997"/>
                <a:gd name="T71" fmla="*/ 311748 w 311748"/>
                <a:gd name="T72" fmla="*/ 355997 h 35599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1748" h="355997">
                  <a:moveTo>
                    <a:pt x="10520" y="160734"/>
                  </a:moveTo>
                  <a:lnTo>
                    <a:pt x="2185" y="117872"/>
                  </a:lnTo>
                  <a:lnTo>
                    <a:pt x="40285" y="92869"/>
                  </a:lnTo>
                  <a:lnTo>
                    <a:pt x="77195" y="50006"/>
                  </a:lnTo>
                  <a:lnTo>
                    <a:pt x="93864" y="7144"/>
                  </a:lnTo>
                  <a:lnTo>
                    <a:pt x="151014" y="0"/>
                  </a:lnTo>
                  <a:lnTo>
                    <a:pt x="192685" y="11906"/>
                  </a:lnTo>
                  <a:lnTo>
                    <a:pt x="229595" y="41672"/>
                  </a:lnTo>
                  <a:lnTo>
                    <a:pt x="271267" y="94059"/>
                  </a:lnTo>
                  <a:lnTo>
                    <a:pt x="311748" y="173831"/>
                  </a:lnTo>
                  <a:lnTo>
                    <a:pt x="293889" y="225028"/>
                  </a:lnTo>
                  <a:lnTo>
                    <a:pt x="272428" y="254027"/>
                  </a:lnTo>
                  <a:lnTo>
                    <a:pt x="270076" y="282178"/>
                  </a:lnTo>
                  <a:lnTo>
                    <a:pt x="237923" y="302490"/>
                  </a:lnTo>
                  <a:lnTo>
                    <a:pt x="209980" y="337570"/>
                  </a:lnTo>
                  <a:lnTo>
                    <a:pt x="192685" y="355997"/>
                  </a:lnTo>
                  <a:lnTo>
                    <a:pt x="156967" y="351234"/>
                  </a:lnTo>
                  <a:lnTo>
                    <a:pt x="126010" y="315516"/>
                  </a:lnTo>
                  <a:lnTo>
                    <a:pt x="82015" y="310529"/>
                  </a:lnTo>
                  <a:lnTo>
                    <a:pt x="53382" y="264319"/>
                  </a:lnTo>
                  <a:lnTo>
                    <a:pt x="24807" y="228600"/>
                  </a:lnTo>
                  <a:lnTo>
                    <a:pt x="0" y="190771"/>
                  </a:lnTo>
                  <a:lnTo>
                    <a:pt x="10520" y="16073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6" name="Freeform 88">
              <a:extLst>
                <a:ext uri="{FF2B5EF4-FFF2-40B4-BE49-F238E27FC236}">
                  <a16:creationId xmlns:a16="http://schemas.microsoft.com/office/drawing/2014/main" id="{D9D722EB-8BE6-1E07-B414-93B24C818E49}"/>
                </a:ext>
              </a:extLst>
            </p:cNvPr>
            <p:cNvSpPr>
              <a:spLocks/>
            </p:cNvSpPr>
            <p:nvPr/>
          </p:nvSpPr>
          <p:spPr bwMode="auto">
            <a:xfrm>
              <a:off x="4807068" y="3988834"/>
              <a:ext cx="472854" cy="490914"/>
            </a:xfrm>
            <a:custGeom>
              <a:avLst/>
              <a:gdLst>
                <a:gd name="T0" fmla="*/ 2147483647 w 1054"/>
                <a:gd name="T1" fmla="*/ 2147483647 h 1065"/>
                <a:gd name="T2" fmla="*/ 2147483647 w 1054"/>
                <a:gd name="T3" fmla="*/ 2147483647 h 1065"/>
                <a:gd name="T4" fmla="*/ 2147483647 w 1054"/>
                <a:gd name="T5" fmla="*/ 2147483647 h 1065"/>
                <a:gd name="T6" fmla="*/ 2147483647 w 1054"/>
                <a:gd name="T7" fmla="*/ 2147483647 h 1065"/>
                <a:gd name="T8" fmla="*/ 2147483647 w 1054"/>
                <a:gd name="T9" fmla="*/ 2147483647 h 1065"/>
                <a:gd name="T10" fmla="*/ 2147483647 w 1054"/>
                <a:gd name="T11" fmla="*/ 2147483647 h 1065"/>
                <a:gd name="T12" fmla="*/ 2147483647 w 1054"/>
                <a:gd name="T13" fmla="*/ 2147483647 h 1065"/>
                <a:gd name="T14" fmla="*/ 2147483647 w 1054"/>
                <a:gd name="T15" fmla="*/ 2147483647 h 1065"/>
                <a:gd name="T16" fmla="*/ 2147483647 w 1054"/>
                <a:gd name="T17" fmla="*/ 2147483647 h 1065"/>
                <a:gd name="T18" fmla="*/ 2147483647 w 1054"/>
                <a:gd name="T19" fmla="*/ 2147483647 h 1065"/>
                <a:gd name="T20" fmla="*/ 2147483647 w 1054"/>
                <a:gd name="T21" fmla="*/ 2147483647 h 1065"/>
                <a:gd name="T22" fmla="*/ 2147483647 w 1054"/>
                <a:gd name="T23" fmla="*/ 2147483647 h 1065"/>
                <a:gd name="T24" fmla="*/ 2147483647 w 1054"/>
                <a:gd name="T25" fmla="*/ 2147483647 h 1065"/>
                <a:gd name="T26" fmla="*/ 2147483647 w 1054"/>
                <a:gd name="T27" fmla="*/ 2147483647 h 1065"/>
                <a:gd name="T28" fmla="*/ 2147483647 w 1054"/>
                <a:gd name="T29" fmla="*/ 2147483647 h 1065"/>
                <a:gd name="T30" fmla="*/ 2147483647 w 1054"/>
                <a:gd name="T31" fmla="*/ 2147483647 h 1065"/>
                <a:gd name="T32" fmla="*/ 2147483647 w 1054"/>
                <a:gd name="T33" fmla="*/ 2147483647 h 1065"/>
                <a:gd name="T34" fmla="*/ 2147483647 w 1054"/>
                <a:gd name="T35" fmla="*/ 2147483647 h 1065"/>
                <a:gd name="T36" fmla="*/ 2147483647 w 1054"/>
                <a:gd name="T37" fmla="*/ 2147483647 h 1065"/>
                <a:gd name="T38" fmla="*/ 2147483647 w 1054"/>
                <a:gd name="T39" fmla="*/ 0 h 1065"/>
                <a:gd name="T40" fmla="*/ 2147483647 w 1054"/>
                <a:gd name="T41" fmla="*/ 2147483647 h 1065"/>
                <a:gd name="T42" fmla="*/ 2147483647 w 1054"/>
                <a:gd name="T43" fmla="*/ 2147483647 h 1065"/>
                <a:gd name="T44" fmla="*/ 2147483647 w 1054"/>
                <a:gd name="T45" fmla="*/ 2147483647 h 1065"/>
                <a:gd name="T46" fmla="*/ 2147483647 w 1054"/>
                <a:gd name="T47" fmla="*/ 2147483647 h 1065"/>
                <a:gd name="T48" fmla="*/ 2147483647 w 1054"/>
                <a:gd name="T49" fmla="*/ 2147483647 h 1065"/>
                <a:gd name="T50" fmla="*/ 2147483647 w 1054"/>
                <a:gd name="T51" fmla="*/ 2147483647 h 1065"/>
                <a:gd name="T52" fmla="*/ 2147483647 w 1054"/>
                <a:gd name="T53" fmla="*/ 2147483647 h 1065"/>
                <a:gd name="T54" fmla="*/ 2147483647 w 1054"/>
                <a:gd name="T55" fmla="*/ 2147483647 h 1065"/>
                <a:gd name="T56" fmla="*/ 2147483647 w 1054"/>
                <a:gd name="T57" fmla="*/ 2147483647 h 1065"/>
                <a:gd name="T58" fmla="*/ 2147483647 w 1054"/>
                <a:gd name="T59" fmla="*/ 2147483647 h 1065"/>
                <a:gd name="T60" fmla="*/ 2147483647 w 1054"/>
                <a:gd name="T61" fmla="*/ 2147483647 h 1065"/>
                <a:gd name="T62" fmla="*/ 2147483647 w 1054"/>
                <a:gd name="T63" fmla="*/ 2147483647 h 1065"/>
                <a:gd name="T64" fmla="*/ 2147483647 w 1054"/>
                <a:gd name="T65" fmla="*/ 2147483647 h 1065"/>
                <a:gd name="T66" fmla="*/ 2147483647 w 1054"/>
                <a:gd name="T67" fmla="*/ 2147483647 h 1065"/>
                <a:gd name="T68" fmla="*/ 2147483647 w 1054"/>
                <a:gd name="T69" fmla="*/ 2147483647 h 1065"/>
                <a:gd name="T70" fmla="*/ 2147483647 w 1054"/>
                <a:gd name="T71" fmla="*/ 2147483647 h 1065"/>
                <a:gd name="T72" fmla="*/ 2147483647 w 1054"/>
                <a:gd name="T73" fmla="*/ 2147483647 h 1065"/>
                <a:gd name="T74" fmla="*/ 2147483647 w 1054"/>
                <a:gd name="T75" fmla="*/ 2147483647 h 1065"/>
                <a:gd name="T76" fmla="*/ 2147483647 w 1054"/>
                <a:gd name="T77" fmla="*/ 2147483647 h 1065"/>
                <a:gd name="T78" fmla="*/ 2147483647 w 1054"/>
                <a:gd name="T79" fmla="*/ 2147483647 h 1065"/>
                <a:gd name="T80" fmla="*/ 2147483647 w 1054"/>
                <a:gd name="T81" fmla="*/ 2147483647 h 1065"/>
                <a:gd name="T82" fmla="*/ 2147483647 w 1054"/>
                <a:gd name="T83" fmla="*/ 2147483647 h 1065"/>
                <a:gd name="T84" fmla="*/ 2147483647 w 1054"/>
                <a:gd name="T85" fmla="*/ 2147483647 h 1065"/>
                <a:gd name="T86" fmla="*/ 2147483647 w 1054"/>
                <a:gd name="T87" fmla="*/ 2147483647 h 1065"/>
                <a:gd name="T88" fmla="*/ 2147483647 w 1054"/>
                <a:gd name="T89" fmla="*/ 2147483647 h 1065"/>
                <a:gd name="T90" fmla="*/ 2147483647 w 1054"/>
                <a:gd name="T91" fmla="*/ 2147483647 h 1065"/>
                <a:gd name="T92" fmla="*/ 2147483647 w 1054"/>
                <a:gd name="T93" fmla="*/ 2147483647 h 1065"/>
                <a:gd name="T94" fmla="*/ 2147483647 w 1054"/>
                <a:gd name="T95" fmla="*/ 2147483647 h 1065"/>
                <a:gd name="T96" fmla="*/ 2147483647 w 1054"/>
                <a:gd name="T97" fmla="*/ 2147483647 h 1065"/>
                <a:gd name="T98" fmla="*/ 2147483647 w 1054"/>
                <a:gd name="T99" fmla="*/ 2147483647 h 1065"/>
                <a:gd name="T100" fmla="*/ 2147483647 w 1054"/>
                <a:gd name="T101" fmla="*/ 2147483647 h 1065"/>
                <a:gd name="T102" fmla="*/ 2147483647 w 1054"/>
                <a:gd name="T103" fmla="*/ 2147483647 h 1065"/>
                <a:gd name="T104" fmla="*/ 2147483647 w 1054"/>
                <a:gd name="T105" fmla="*/ 2147483647 h 1065"/>
                <a:gd name="T106" fmla="*/ 2147483647 w 1054"/>
                <a:gd name="T107" fmla="*/ 2147483647 h 1065"/>
                <a:gd name="T108" fmla="*/ 2147483647 w 1054"/>
                <a:gd name="T109" fmla="*/ 2147483647 h 1065"/>
                <a:gd name="T110" fmla="*/ 2147483647 w 1054"/>
                <a:gd name="T111" fmla="*/ 2147483647 h 1065"/>
                <a:gd name="T112" fmla="*/ 2147483647 w 1054"/>
                <a:gd name="T113" fmla="*/ 2147483647 h 1065"/>
                <a:gd name="T114" fmla="*/ 2147483647 w 1054"/>
                <a:gd name="T115" fmla="*/ 2147483647 h 1065"/>
                <a:gd name="T116" fmla="*/ 2147483647 w 1054"/>
                <a:gd name="T117" fmla="*/ 2147483647 h 1065"/>
                <a:gd name="T118" fmla="*/ 2147483647 w 1054"/>
                <a:gd name="T119" fmla="*/ 2147483647 h 10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54"/>
                <a:gd name="T181" fmla="*/ 0 h 1065"/>
                <a:gd name="T182" fmla="*/ 1059 w 1054"/>
                <a:gd name="T183" fmla="*/ 1066 h 10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54" h="1065">
                  <a:moveTo>
                    <a:pt x="44" y="646"/>
                  </a:moveTo>
                  <a:lnTo>
                    <a:pt x="8" y="663"/>
                  </a:lnTo>
                  <a:lnTo>
                    <a:pt x="0" y="639"/>
                  </a:lnTo>
                  <a:lnTo>
                    <a:pt x="10" y="640"/>
                  </a:lnTo>
                  <a:lnTo>
                    <a:pt x="22" y="636"/>
                  </a:lnTo>
                  <a:lnTo>
                    <a:pt x="20" y="601"/>
                  </a:lnTo>
                  <a:lnTo>
                    <a:pt x="34" y="582"/>
                  </a:lnTo>
                  <a:lnTo>
                    <a:pt x="52" y="574"/>
                  </a:lnTo>
                  <a:lnTo>
                    <a:pt x="85" y="531"/>
                  </a:lnTo>
                  <a:lnTo>
                    <a:pt x="103" y="540"/>
                  </a:lnTo>
                  <a:lnTo>
                    <a:pt x="128" y="552"/>
                  </a:lnTo>
                  <a:lnTo>
                    <a:pt x="157" y="539"/>
                  </a:lnTo>
                  <a:lnTo>
                    <a:pt x="188" y="514"/>
                  </a:lnTo>
                  <a:lnTo>
                    <a:pt x="198" y="498"/>
                  </a:lnTo>
                  <a:lnTo>
                    <a:pt x="201" y="480"/>
                  </a:lnTo>
                  <a:lnTo>
                    <a:pt x="205" y="444"/>
                  </a:lnTo>
                  <a:lnTo>
                    <a:pt x="213" y="407"/>
                  </a:lnTo>
                  <a:lnTo>
                    <a:pt x="247" y="393"/>
                  </a:lnTo>
                  <a:lnTo>
                    <a:pt x="281" y="371"/>
                  </a:lnTo>
                  <a:lnTo>
                    <a:pt x="290" y="326"/>
                  </a:lnTo>
                  <a:lnTo>
                    <a:pt x="309" y="299"/>
                  </a:lnTo>
                  <a:lnTo>
                    <a:pt x="299" y="266"/>
                  </a:lnTo>
                  <a:lnTo>
                    <a:pt x="314" y="236"/>
                  </a:lnTo>
                  <a:lnTo>
                    <a:pt x="308" y="205"/>
                  </a:lnTo>
                  <a:lnTo>
                    <a:pt x="339" y="142"/>
                  </a:lnTo>
                  <a:lnTo>
                    <a:pt x="331" y="111"/>
                  </a:lnTo>
                  <a:lnTo>
                    <a:pt x="342" y="79"/>
                  </a:lnTo>
                  <a:lnTo>
                    <a:pt x="352" y="42"/>
                  </a:lnTo>
                  <a:lnTo>
                    <a:pt x="379" y="22"/>
                  </a:lnTo>
                  <a:lnTo>
                    <a:pt x="410" y="24"/>
                  </a:lnTo>
                  <a:lnTo>
                    <a:pt x="434" y="38"/>
                  </a:lnTo>
                  <a:lnTo>
                    <a:pt x="444" y="61"/>
                  </a:lnTo>
                  <a:lnTo>
                    <a:pt x="469" y="58"/>
                  </a:lnTo>
                  <a:lnTo>
                    <a:pt x="495" y="68"/>
                  </a:lnTo>
                  <a:lnTo>
                    <a:pt x="533" y="69"/>
                  </a:lnTo>
                  <a:lnTo>
                    <a:pt x="557" y="76"/>
                  </a:lnTo>
                  <a:lnTo>
                    <a:pt x="585" y="38"/>
                  </a:lnTo>
                  <a:lnTo>
                    <a:pt x="615" y="51"/>
                  </a:lnTo>
                  <a:lnTo>
                    <a:pt x="642" y="29"/>
                  </a:lnTo>
                  <a:lnTo>
                    <a:pt x="675" y="12"/>
                  </a:lnTo>
                  <a:lnTo>
                    <a:pt x="710" y="26"/>
                  </a:lnTo>
                  <a:lnTo>
                    <a:pt x="732" y="0"/>
                  </a:lnTo>
                  <a:lnTo>
                    <a:pt x="803" y="18"/>
                  </a:lnTo>
                  <a:lnTo>
                    <a:pt x="836" y="17"/>
                  </a:lnTo>
                  <a:lnTo>
                    <a:pt x="848" y="38"/>
                  </a:lnTo>
                  <a:lnTo>
                    <a:pt x="880" y="44"/>
                  </a:lnTo>
                  <a:lnTo>
                    <a:pt x="902" y="30"/>
                  </a:lnTo>
                  <a:lnTo>
                    <a:pt x="930" y="46"/>
                  </a:lnTo>
                  <a:lnTo>
                    <a:pt x="968" y="50"/>
                  </a:lnTo>
                  <a:lnTo>
                    <a:pt x="986" y="30"/>
                  </a:lnTo>
                  <a:lnTo>
                    <a:pt x="1028" y="68"/>
                  </a:lnTo>
                  <a:lnTo>
                    <a:pt x="1050" y="102"/>
                  </a:lnTo>
                  <a:lnTo>
                    <a:pt x="1035" y="150"/>
                  </a:lnTo>
                  <a:lnTo>
                    <a:pt x="1053" y="171"/>
                  </a:lnTo>
                  <a:lnTo>
                    <a:pt x="1054" y="198"/>
                  </a:lnTo>
                  <a:lnTo>
                    <a:pt x="1041" y="218"/>
                  </a:lnTo>
                  <a:lnTo>
                    <a:pt x="1002" y="251"/>
                  </a:lnTo>
                  <a:lnTo>
                    <a:pt x="977" y="298"/>
                  </a:lnTo>
                  <a:lnTo>
                    <a:pt x="977" y="308"/>
                  </a:lnTo>
                  <a:lnTo>
                    <a:pt x="959" y="315"/>
                  </a:lnTo>
                  <a:lnTo>
                    <a:pt x="942" y="306"/>
                  </a:lnTo>
                  <a:lnTo>
                    <a:pt x="919" y="337"/>
                  </a:lnTo>
                  <a:lnTo>
                    <a:pt x="909" y="369"/>
                  </a:lnTo>
                  <a:lnTo>
                    <a:pt x="903" y="392"/>
                  </a:lnTo>
                  <a:lnTo>
                    <a:pt x="920" y="413"/>
                  </a:lnTo>
                  <a:lnTo>
                    <a:pt x="923" y="430"/>
                  </a:lnTo>
                  <a:lnTo>
                    <a:pt x="921" y="442"/>
                  </a:lnTo>
                  <a:lnTo>
                    <a:pt x="931" y="442"/>
                  </a:lnTo>
                  <a:lnTo>
                    <a:pt x="933" y="464"/>
                  </a:lnTo>
                  <a:lnTo>
                    <a:pt x="943" y="486"/>
                  </a:lnTo>
                  <a:lnTo>
                    <a:pt x="957" y="499"/>
                  </a:lnTo>
                  <a:lnTo>
                    <a:pt x="968" y="551"/>
                  </a:lnTo>
                  <a:lnTo>
                    <a:pt x="968" y="592"/>
                  </a:lnTo>
                  <a:lnTo>
                    <a:pt x="957" y="611"/>
                  </a:lnTo>
                  <a:lnTo>
                    <a:pt x="959" y="636"/>
                  </a:lnTo>
                  <a:lnTo>
                    <a:pt x="984" y="665"/>
                  </a:lnTo>
                  <a:lnTo>
                    <a:pt x="988" y="678"/>
                  </a:lnTo>
                  <a:lnTo>
                    <a:pt x="1016" y="702"/>
                  </a:lnTo>
                  <a:lnTo>
                    <a:pt x="1025" y="725"/>
                  </a:lnTo>
                  <a:lnTo>
                    <a:pt x="1028" y="756"/>
                  </a:lnTo>
                  <a:lnTo>
                    <a:pt x="976" y="762"/>
                  </a:lnTo>
                  <a:lnTo>
                    <a:pt x="945" y="782"/>
                  </a:lnTo>
                  <a:lnTo>
                    <a:pt x="915" y="815"/>
                  </a:lnTo>
                  <a:lnTo>
                    <a:pt x="905" y="847"/>
                  </a:lnTo>
                  <a:lnTo>
                    <a:pt x="914" y="892"/>
                  </a:lnTo>
                  <a:lnTo>
                    <a:pt x="896" y="942"/>
                  </a:lnTo>
                  <a:lnTo>
                    <a:pt x="912" y="975"/>
                  </a:lnTo>
                  <a:lnTo>
                    <a:pt x="944" y="998"/>
                  </a:lnTo>
                  <a:lnTo>
                    <a:pt x="979" y="985"/>
                  </a:lnTo>
                  <a:lnTo>
                    <a:pt x="982" y="1027"/>
                  </a:lnTo>
                  <a:lnTo>
                    <a:pt x="973" y="1057"/>
                  </a:lnTo>
                  <a:lnTo>
                    <a:pt x="949" y="1065"/>
                  </a:lnTo>
                  <a:lnTo>
                    <a:pt x="917" y="1043"/>
                  </a:lnTo>
                  <a:lnTo>
                    <a:pt x="878" y="1002"/>
                  </a:lnTo>
                  <a:lnTo>
                    <a:pt x="843" y="959"/>
                  </a:lnTo>
                  <a:lnTo>
                    <a:pt x="808" y="947"/>
                  </a:lnTo>
                  <a:lnTo>
                    <a:pt x="779" y="973"/>
                  </a:lnTo>
                  <a:lnTo>
                    <a:pt x="745" y="955"/>
                  </a:lnTo>
                  <a:lnTo>
                    <a:pt x="718" y="939"/>
                  </a:lnTo>
                  <a:lnTo>
                    <a:pt x="688" y="933"/>
                  </a:lnTo>
                  <a:lnTo>
                    <a:pt x="646" y="914"/>
                  </a:lnTo>
                  <a:lnTo>
                    <a:pt x="611" y="923"/>
                  </a:lnTo>
                  <a:lnTo>
                    <a:pt x="563" y="929"/>
                  </a:lnTo>
                  <a:lnTo>
                    <a:pt x="538" y="900"/>
                  </a:lnTo>
                  <a:lnTo>
                    <a:pt x="548" y="851"/>
                  </a:lnTo>
                  <a:lnTo>
                    <a:pt x="536" y="813"/>
                  </a:lnTo>
                  <a:lnTo>
                    <a:pt x="539" y="768"/>
                  </a:lnTo>
                  <a:lnTo>
                    <a:pt x="529" y="740"/>
                  </a:lnTo>
                  <a:lnTo>
                    <a:pt x="512" y="701"/>
                  </a:lnTo>
                  <a:lnTo>
                    <a:pt x="472" y="693"/>
                  </a:lnTo>
                  <a:lnTo>
                    <a:pt x="433" y="697"/>
                  </a:lnTo>
                  <a:lnTo>
                    <a:pt x="404" y="691"/>
                  </a:lnTo>
                  <a:lnTo>
                    <a:pt x="384" y="743"/>
                  </a:lnTo>
                  <a:lnTo>
                    <a:pt x="343" y="750"/>
                  </a:lnTo>
                  <a:lnTo>
                    <a:pt x="299" y="754"/>
                  </a:lnTo>
                  <a:lnTo>
                    <a:pt x="262" y="709"/>
                  </a:lnTo>
                  <a:lnTo>
                    <a:pt x="248" y="676"/>
                  </a:lnTo>
                  <a:lnTo>
                    <a:pt x="238" y="643"/>
                  </a:lnTo>
                  <a:lnTo>
                    <a:pt x="151" y="645"/>
                  </a:lnTo>
                  <a:lnTo>
                    <a:pt x="98" y="646"/>
                  </a:lnTo>
                  <a:lnTo>
                    <a:pt x="44" y="646"/>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7" name="Freeform 89">
              <a:extLst>
                <a:ext uri="{FF2B5EF4-FFF2-40B4-BE49-F238E27FC236}">
                  <a16:creationId xmlns:a16="http://schemas.microsoft.com/office/drawing/2014/main" id="{692175BE-24A2-845E-F2CB-A9D1F52F3A40}"/>
                </a:ext>
              </a:extLst>
            </p:cNvPr>
            <p:cNvSpPr>
              <a:spLocks/>
            </p:cNvSpPr>
            <p:nvPr/>
          </p:nvSpPr>
          <p:spPr bwMode="auto">
            <a:xfrm rot="21537619">
              <a:off x="5212692" y="4127121"/>
              <a:ext cx="49302" cy="43790"/>
            </a:xfrm>
            <a:custGeom>
              <a:avLst/>
              <a:gdLst>
                <a:gd name="T0" fmla="*/ 2147483647 w 452"/>
                <a:gd name="T1" fmla="*/ 2147483647 h 369"/>
                <a:gd name="T2" fmla="*/ 2147483647 w 452"/>
                <a:gd name="T3" fmla="*/ 2147483647 h 369"/>
                <a:gd name="T4" fmla="*/ 2147483647 w 452"/>
                <a:gd name="T5" fmla="*/ 2147483647 h 369"/>
                <a:gd name="T6" fmla="*/ 2147483647 w 452"/>
                <a:gd name="T7" fmla="*/ 2147483647 h 369"/>
                <a:gd name="T8" fmla="*/ 2147483647 w 452"/>
                <a:gd name="T9" fmla="*/ 2147483647 h 369"/>
                <a:gd name="T10" fmla="*/ 0 w 452"/>
                <a:gd name="T11" fmla="*/ 2147483647 h 369"/>
                <a:gd name="T12" fmla="*/ 2147483647 w 452"/>
                <a:gd name="T13" fmla="*/ 2147483647 h 369"/>
                <a:gd name="T14" fmla="*/ 2147483647 w 452"/>
                <a:gd name="T15" fmla="*/ 2147483647 h 369"/>
                <a:gd name="T16" fmla="*/ 2147483647 w 452"/>
                <a:gd name="T17" fmla="*/ 0 h 369"/>
                <a:gd name="T18" fmla="*/ 2147483647 w 452"/>
                <a:gd name="T19" fmla="*/ 2147483647 h 369"/>
                <a:gd name="T20" fmla="*/ 2147483647 w 452"/>
                <a:gd name="T21" fmla="*/ 2147483647 h 369"/>
                <a:gd name="T22" fmla="*/ 2147483647 w 452"/>
                <a:gd name="T23" fmla="*/ 2147483647 h 369"/>
                <a:gd name="T24" fmla="*/ 2147483647 w 452"/>
                <a:gd name="T25" fmla="*/ 2147483647 h 369"/>
                <a:gd name="T26" fmla="*/ 2147483647 w 452"/>
                <a:gd name="T27" fmla="*/ 2147483647 h 369"/>
                <a:gd name="T28" fmla="*/ 2147483647 w 452"/>
                <a:gd name="T29" fmla="*/ 2147483647 h 369"/>
                <a:gd name="T30" fmla="*/ 2147483647 w 452"/>
                <a:gd name="T31" fmla="*/ 2147483647 h 3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2"/>
                <a:gd name="T49" fmla="*/ 0 h 369"/>
                <a:gd name="T50" fmla="*/ 452 w 452"/>
                <a:gd name="T51" fmla="*/ 369 h 3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2" h="369">
                  <a:moveTo>
                    <a:pt x="390" y="283"/>
                  </a:moveTo>
                  <a:lnTo>
                    <a:pt x="280" y="297"/>
                  </a:lnTo>
                  <a:lnTo>
                    <a:pt x="241" y="355"/>
                  </a:lnTo>
                  <a:lnTo>
                    <a:pt x="150" y="369"/>
                  </a:lnTo>
                  <a:lnTo>
                    <a:pt x="78" y="355"/>
                  </a:lnTo>
                  <a:lnTo>
                    <a:pt x="0" y="340"/>
                  </a:lnTo>
                  <a:lnTo>
                    <a:pt x="21" y="264"/>
                  </a:lnTo>
                  <a:lnTo>
                    <a:pt x="72" y="114"/>
                  </a:lnTo>
                  <a:lnTo>
                    <a:pt x="168" y="0"/>
                  </a:lnTo>
                  <a:lnTo>
                    <a:pt x="236" y="37"/>
                  </a:lnTo>
                  <a:lnTo>
                    <a:pt x="305" y="7"/>
                  </a:lnTo>
                  <a:lnTo>
                    <a:pt x="371" y="9"/>
                  </a:lnTo>
                  <a:lnTo>
                    <a:pt x="414" y="57"/>
                  </a:lnTo>
                  <a:lnTo>
                    <a:pt x="452" y="139"/>
                  </a:lnTo>
                  <a:lnTo>
                    <a:pt x="438" y="240"/>
                  </a:lnTo>
                  <a:lnTo>
                    <a:pt x="390" y="28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8" name="Freeform 90">
              <a:extLst>
                <a:ext uri="{FF2B5EF4-FFF2-40B4-BE49-F238E27FC236}">
                  <a16:creationId xmlns:a16="http://schemas.microsoft.com/office/drawing/2014/main" id="{834E8629-B7E7-2387-42A0-1E268CAB220B}"/>
                </a:ext>
              </a:extLst>
            </p:cNvPr>
            <p:cNvSpPr>
              <a:spLocks/>
            </p:cNvSpPr>
            <p:nvPr/>
          </p:nvSpPr>
          <p:spPr bwMode="auto">
            <a:xfrm>
              <a:off x="5212692" y="4161692"/>
              <a:ext cx="51542" cy="55315"/>
            </a:xfrm>
            <a:custGeom>
              <a:avLst/>
              <a:gdLst>
                <a:gd name="T0" fmla="*/ 26 w 212685"/>
                <a:gd name="T1" fmla="*/ 0 h 225329"/>
                <a:gd name="T2" fmla="*/ 24 w 212685"/>
                <a:gd name="T3" fmla="*/ 3 h 225329"/>
                <a:gd name="T4" fmla="*/ 23 w 212685"/>
                <a:gd name="T5" fmla="*/ 5 h 225329"/>
                <a:gd name="T6" fmla="*/ 23 w 212685"/>
                <a:gd name="T7" fmla="*/ 8 h 225329"/>
                <a:gd name="T8" fmla="*/ 26 w 212685"/>
                <a:gd name="T9" fmla="*/ 8 h 225329"/>
                <a:gd name="T10" fmla="*/ 30 w 212685"/>
                <a:gd name="T11" fmla="*/ 8 h 225329"/>
                <a:gd name="T12" fmla="*/ 32 w 212685"/>
                <a:gd name="T13" fmla="*/ 12 h 225329"/>
                <a:gd name="T14" fmla="*/ 29 w 212685"/>
                <a:gd name="T15" fmla="*/ 15 h 225329"/>
                <a:gd name="T16" fmla="*/ 25 w 212685"/>
                <a:gd name="T17" fmla="*/ 17 h 225329"/>
                <a:gd name="T18" fmla="*/ 22 w 212685"/>
                <a:gd name="T19" fmla="*/ 22 h 225329"/>
                <a:gd name="T20" fmla="*/ 21 w 212685"/>
                <a:gd name="T21" fmla="*/ 26 h 225329"/>
                <a:gd name="T22" fmla="*/ 19 w 212685"/>
                <a:gd name="T23" fmla="*/ 29 h 225329"/>
                <a:gd name="T24" fmla="*/ 14 w 212685"/>
                <a:gd name="T25" fmla="*/ 31 h 225329"/>
                <a:gd name="T26" fmla="*/ 10 w 212685"/>
                <a:gd name="T27" fmla="*/ 28 h 225329"/>
                <a:gd name="T28" fmla="*/ 8 w 212685"/>
                <a:gd name="T29" fmla="*/ 23 h 225329"/>
                <a:gd name="T30" fmla="*/ 8 w 212685"/>
                <a:gd name="T31" fmla="*/ 20 h 225329"/>
                <a:gd name="T32" fmla="*/ 8 w 212685"/>
                <a:gd name="T33" fmla="*/ 17 h 225329"/>
                <a:gd name="T34" fmla="*/ 5 w 212685"/>
                <a:gd name="T35" fmla="*/ 17 h 225329"/>
                <a:gd name="T36" fmla="*/ 5 w 212685"/>
                <a:gd name="T37" fmla="*/ 14 h 225329"/>
                <a:gd name="T38" fmla="*/ 4 w 212685"/>
                <a:gd name="T39" fmla="*/ 9 h 225329"/>
                <a:gd name="T40" fmla="*/ 0 w 212685"/>
                <a:gd name="T41" fmla="*/ 4 h 225329"/>
                <a:gd name="T42" fmla="*/ 10 w 212685"/>
                <a:gd name="T43" fmla="*/ 6 h 225329"/>
                <a:gd name="T44" fmla="*/ 16 w 212685"/>
                <a:gd name="T45" fmla="*/ 5 h 225329"/>
                <a:gd name="T46" fmla="*/ 19 w 212685"/>
                <a:gd name="T47" fmla="*/ 1 h 225329"/>
                <a:gd name="T48" fmla="*/ 26 w 212685"/>
                <a:gd name="T49" fmla="*/ 0 h 2253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2685"/>
                <a:gd name="T76" fmla="*/ 0 h 225329"/>
                <a:gd name="T77" fmla="*/ 212685 w 212685"/>
                <a:gd name="T78" fmla="*/ 225329 h 2253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2685" h="225329">
                  <a:moveTo>
                    <a:pt x="175286" y="0"/>
                  </a:moveTo>
                  <a:lnTo>
                    <a:pt x="162936" y="18650"/>
                  </a:lnTo>
                  <a:lnTo>
                    <a:pt x="153288" y="36329"/>
                  </a:lnTo>
                  <a:lnTo>
                    <a:pt x="153664" y="57052"/>
                  </a:lnTo>
                  <a:lnTo>
                    <a:pt x="174502" y="56674"/>
                  </a:lnTo>
                  <a:lnTo>
                    <a:pt x="201969" y="58214"/>
                  </a:lnTo>
                  <a:lnTo>
                    <a:pt x="212685" y="85598"/>
                  </a:lnTo>
                  <a:lnTo>
                    <a:pt x="196016" y="110602"/>
                  </a:lnTo>
                  <a:lnTo>
                    <a:pt x="167441" y="124889"/>
                  </a:lnTo>
                  <a:lnTo>
                    <a:pt x="150772" y="159417"/>
                  </a:lnTo>
                  <a:lnTo>
                    <a:pt x="141247" y="190373"/>
                  </a:lnTo>
                  <a:lnTo>
                    <a:pt x="125769" y="211805"/>
                  </a:lnTo>
                  <a:lnTo>
                    <a:pt x="95090" y="225329"/>
                  </a:lnTo>
                  <a:lnTo>
                    <a:pt x="70210" y="202749"/>
                  </a:lnTo>
                  <a:lnTo>
                    <a:pt x="52731" y="163450"/>
                  </a:lnTo>
                  <a:lnTo>
                    <a:pt x="52355" y="142728"/>
                  </a:lnTo>
                  <a:lnTo>
                    <a:pt x="51971" y="121546"/>
                  </a:lnTo>
                  <a:lnTo>
                    <a:pt x="31586" y="121916"/>
                  </a:lnTo>
                  <a:lnTo>
                    <a:pt x="33877" y="98381"/>
                  </a:lnTo>
                  <a:lnTo>
                    <a:pt x="27840" y="65324"/>
                  </a:lnTo>
                  <a:lnTo>
                    <a:pt x="0" y="29438"/>
                  </a:lnTo>
                  <a:lnTo>
                    <a:pt x="67285" y="41576"/>
                  </a:lnTo>
                  <a:lnTo>
                    <a:pt x="109289" y="33903"/>
                  </a:lnTo>
                  <a:lnTo>
                    <a:pt x="125121" y="7360"/>
                  </a:lnTo>
                  <a:lnTo>
                    <a:pt x="175286"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99" name="Freeform 91">
              <a:extLst>
                <a:ext uri="{FF2B5EF4-FFF2-40B4-BE49-F238E27FC236}">
                  <a16:creationId xmlns:a16="http://schemas.microsoft.com/office/drawing/2014/main" id="{BA2C0976-A57A-4588-BB66-7DACBA82C4D6}"/>
                </a:ext>
              </a:extLst>
            </p:cNvPr>
            <p:cNvSpPr>
              <a:spLocks/>
            </p:cNvSpPr>
            <p:nvPr/>
          </p:nvSpPr>
          <p:spPr bwMode="auto">
            <a:xfrm>
              <a:off x="5049098" y="4336853"/>
              <a:ext cx="300295" cy="267353"/>
            </a:xfrm>
            <a:custGeom>
              <a:avLst/>
              <a:gdLst>
                <a:gd name="T0" fmla="*/ 110 w 1243454"/>
                <a:gd name="T1" fmla="*/ 7 h 1081396"/>
                <a:gd name="T2" fmla="*/ 100 w 1243454"/>
                <a:gd name="T3" fmla="*/ 24 h 1081396"/>
                <a:gd name="T4" fmla="*/ 97 w 1243454"/>
                <a:gd name="T5" fmla="*/ 50 h 1081396"/>
                <a:gd name="T6" fmla="*/ 111 w 1243454"/>
                <a:gd name="T7" fmla="*/ 64 h 1081396"/>
                <a:gd name="T8" fmla="*/ 120 w 1243454"/>
                <a:gd name="T9" fmla="*/ 72 h 1081396"/>
                <a:gd name="T10" fmla="*/ 112 w 1243454"/>
                <a:gd name="T11" fmla="*/ 82 h 1081396"/>
                <a:gd name="T12" fmla="*/ 94 w 1243454"/>
                <a:gd name="T13" fmla="*/ 67 h 1081396"/>
                <a:gd name="T14" fmla="*/ 73 w 1243454"/>
                <a:gd name="T15" fmla="*/ 51 h 1081396"/>
                <a:gd name="T16" fmla="*/ 49 w 1243454"/>
                <a:gd name="T17" fmla="*/ 49 h 1081396"/>
                <a:gd name="T18" fmla="*/ 28 w 1243454"/>
                <a:gd name="T19" fmla="*/ 42 h 1081396"/>
                <a:gd name="T20" fmla="*/ 29 w 1243454"/>
                <a:gd name="T21" fmla="*/ 74 h 1081396"/>
                <a:gd name="T22" fmla="*/ 0 w 1243454"/>
                <a:gd name="T23" fmla="*/ 120 h 1081396"/>
                <a:gd name="T24" fmla="*/ 25 w 1243454"/>
                <a:gd name="T25" fmla="*/ 146 h 1081396"/>
                <a:gd name="T26" fmla="*/ 29 w 1243454"/>
                <a:gd name="T27" fmla="*/ 152 h 1081396"/>
                <a:gd name="T28" fmla="*/ 45 w 1243454"/>
                <a:gd name="T29" fmla="*/ 150 h 1081396"/>
                <a:gd name="T30" fmla="*/ 56 w 1243454"/>
                <a:gd name="T31" fmla="*/ 152 h 1081396"/>
                <a:gd name="T32" fmla="*/ 70 w 1243454"/>
                <a:gd name="T33" fmla="*/ 155 h 1081396"/>
                <a:gd name="T34" fmla="*/ 82 w 1243454"/>
                <a:gd name="T35" fmla="*/ 149 h 1081396"/>
                <a:gd name="T36" fmla="*/ 95 w 1243454"/>
                <a:gd name="T37" fmla="*/ 135 h 1081396"/>
                <a:gd name="T38" fmla="*/ 104 w 1243454"/>
                <a:gd name="T39" fmla="*/ 129 h 1081396"/>
                <a:gd name="T40" fmla="*/ 108 w 1243454"/>
                <a:gd name="T41" fmla="*/ 120 h 1081396"/>
                <a:gd name="T42" fmla="*/ 121 w 1243454"/>
                <a:gd name="T43" fmla="*/ 116 h 1081396"/>
                <a:gd name="T44" fmla="*/ 132 w 1243454"/>
                <a:gd name="T45" fmla="*/ 105 h 1081396"/>
                <a:gd name="T46" fmla="*/ 149 w 1243454"/>
                <a:gd name="T47" fmla="*/ 97 h 1081396"/>
                <a:gd name="T48" fmla="*/ 166 w 1243454"/>
                <a:gd name="T49" fmla="*/ 93 h 1081396"/>
                <a:gd name="T50" fmla="*/ 171 w 1243454"/>
                <a:gd name="T51" fmla="*/ 78 h 1081396"/>
                <a:gd name="T52" fmla="*/ 175 w 1243454"/>
                <a:gd name="T53" fmla="*/ 69 h 1081396"/>
                <a:gd name="T54" fmla="*/ 179 w 1243454"/>
                <a:gd name="T55" fmla="*/ 65 h 1081396"/>
                <a:gd name="T56" fmla="*/ 175 w 1243454"/>
                <a:gd name="T57" fmla="*/ 53 h 1081396"/>
                <a:gd name="T58" fmla="*/ 176 w 1243454"/>
                <a:gd name="T59" fmla="*/ 40 h 1081396"/>
                <a:gd name="T60" fmla="*/ 182 w 1243454"/>
                <a:gd name="T61" fmla="*/ 33 h 1081396"/>
                <a:gd name="T62" fmla="*/ 176 w 1243454"/>
                <a:gd name="T63" fmla="*/ 25 h 1081396"/>
                <a:gd name="T64" fmla="*/ 172 w 1243454"/>
                <a:gd name="T65" fmla="*/ 17 h 1081396"/>
                <a:gd name="T66" fmla="*/ 159 w 1243454"/>
                <a:gd name="T67" fmla="*/ 11 h 1081396"/>
                <a:gd name="T68" fmla="*/ 148 w 1243454"/>
                <a:gd name="T69" fmla="*/ 5 h 1081396"/>
                <a:gd name="T70" fmla="*/ 140 w 1243454"/>
                <a:gd name="T71" fmla="*/ 7 h 1081396"/>
                <a:gd name="T72" fmla="*/ 133 w 1243454"/>
                <a:gd name="T73" fmla="*/ 0 h 10813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43454"/>
                <a:gd name="T112" fmla="*/ 0 h 1081396"/>
                <a:gd name="T113" fmla="*/ 1243454 w 1243454"/>
                <a:gd name="T114" fmla="*/ 1081396 h 10813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43454" h="1081396">
                  <a:moveTo>
                    <a:pt x="809625" y="10716"/>
                  </a:moveTo>
                  <a:lnTo>
                    <a:pt x="753666" y="48816"/>
                  </a:lnTo>
                  <a:lnTo>
                    <a:pt x="702469" y="107157"/>
                  </a:lnTo>
                  <a:lnTo>
                    <a:pt x="679847" y="169069"/>
                  </a:lnTo>
                  <a:lnTo>
                    <a:pt x="697854" y="251657"/>
                  </a:lnTo>
                  <a:lnTo>
                    <a:pt x="663765" y="347607"/>
                  </a:lnTo>
                  <a:lnTo>
                    <a:pt x="691250" y="405988"/>
                  </a:lnTo>
                  <a:lnTo>
                    <a:pt x="755641" y="449680"/>
                  </a:lnTo>
                  <a:lnTo>
                    <a:pt x="817890" y="424719"/>
                  </a:lnTo>
                  <a:lnTo>
                    <a:pt x="821531" y="504825"/>
                  </a:lnTo>
                  <a:lnTo>
                    <a:pt x="809625" y="560785"/>
                  </a:lnTo>
                  <a:lnTo>
                    <a:pt x="762000" y="573882"/>
                  </a:lnTo>
                  <a:lnTo>
                    <a:pt x="702469" y="533400"/>
                  </a:lnTo>
                  <a:lnTo>
                    <a:pt x="638175" y="466725"/>
                  </a:lnTo>
                  <a:lnTo>
                    <a:pt x="567928" y="379810"/>
                  </a:lnTo>
                  <a:lnTo>
                    <a:pt x="500063" y="355997"/>
                  </a:lnTo>
                  <a:lnTo>
                    <a:pt x="446485" y="403622"/>
                  </a:lnTo>
                  <a:lnTo>
                    <a:pt x="335756" y="341710"/>
                  </a:lnTo>
                  <a:lnTo>
                    <a:pt x="277416" y="328613"/>
                  </a:lnTo>
                  <a:lnTo>
                    <a:pt x="194072" y="292894"/>
                  </a:lnTo>
                  <a:lnTo>
                    <a:pt x="211931" y="404813"/>
                  </a:lnTo>
                  <a:lnTo>
                    <a:pt x="196453" y="519113"/>
                  </a:lnTo>
                  <a:lnTo>
                    <a:pt x="3572" y="533400"/>
                  </a:lnTo>
                  <a:lnTo>
                    <a:pt x="0" y="840582"/>
                  </a:lnTo>
                  <a:lnTo>
                    <a:pt x="71438" y="914400"/>
                  </a:lnTo>
                  <a:lnTo>
                    <a:pt x="167878" y="1021557"/>
                  </a:lnTo>
                  <a:lnTo>
                    <a:pt x="147638" y="1066800"/>
                  </a:lnTo>
                  <a:lnTo>
                    <a:pt x="198835" y="1063228"/>
                  </a:lnTo>
                  <a:lnTo>
                    <a:pt x="259556" y="1058466"/>
                  </a:lnTo>
                  <a:lnTo>
                    <a:pt x="304800" y="1048941"/>
                  </a:lnTo>
                  <a:lnTo>
                    <a:pt x="331159" y="1047591"/>
                  </a:lnTo>
                  <a:lnTo>
                    <a:pt x="382454" y="1060679"/>
                  </a:lnTo>
                  <a:lnTo>
                    <a:pt x="436384" y="1070916"/>
                  </a:lnTo>
                  <a:lnTo>
                    <a:pt x="476883" y="1081396"/>
                  </a:lnTo>
                  <a:lnTo>
                    <a:pt x="509018" y="1075205"/>
                  </a:lnTo>
                  <a:lnTo>
                    <a:pt x="556762" y="1040693"/>
                  </a:lnTo>
                  <a:lnTo>
                    <a:pt x="588031" y="986853"/>
                  </a:lnTo>
                  <a:lnTo>
                    <a:pt x="646368" y="943736"/>
                  </a:lnTo>
                  <a:lnTo>
                    <a:pt x="686257" y="920582"/>
                  </a:lnTo>
                  <a:lnTo>
                    <a:pt x="710027" y="897720"/>
                  </a:lnTo>
                  <a:lnTo>
                    <a:pt x="704854" y="859494"/>
                  </a:lnTo>
                  <a:lnTo>
                    <a:pt x="738560" y="841126"/>
                  </a:lnTo>
                  <a:lnTo>
                    <a:pt x="778448" y="817971"/>
                  </a:lnTo>
                  <a:lnTo>
                    <a:pt x="826650" y="808685"/>
                  </a:lnTo>
                  <a:lnTo>
                    <a:pt x="836428" y="755235"/>
                  </a:lnTo>
                  <a:lnTo>
                    <a:pt x="903231" y="734395"/>
                  </a:lnTo>
                  <a:lnTo>
                    <a:pt x="959289" y="713751"/>
                  </a:lnTo>
                  <a:lnTo>
                    <a:pt x="1017779" y="679044"/>
                  </a:lnTo>
                  <a:lnTo>
                    <a:pt x="1065610" y="667941"/>
                  </a:lnTo>
                  <a:lnTo>
                    <a:pt x="1132285" y="648891"/>
                  </a:lnTo>
                  <a:lnTo>
                    <a:pt x="1137139" y="592763"/>
                  </a:lnTo>
                  <a:lnTo>
                    <a:pt x="1165772" y="541774"/>
                  </a:lnTo>
                  <a:lnTo>
                    <a:pt x="1157103" y="508285"/>
                  </a:lnTo>
                  <a:lnTo>
                    <a:pt x="1195388" y="484585"/>
                  </a:lnTo>
                  <a:lnTo>
                    <a:pt x="1207381" y="465315"/>
                  </a:lnTo>
                  <a:lnTo>
                    <a:pt x="1223963" y="453628"/>
                  </a:lnTo>
                  <a:lnTo>
                    <a:pt x="1228725" y="414338"/>
                  </a:lnTo>
                  <a:lnTo>
                    <a:pt x="1194957" y="373014"/>
                  </a:lnTo>
                  <a:lnTo>
                    <a:pt x="1181100" y="310753"/>
                  </a:lnTo>
                  <a:lnTo>
                    <a:pt x="1201286" y="277569"/>
                  </a:lnTo>
                  <a:lnTo>
                    <a:pt x="1219582" y="249199"/>
                  </a:lnTo>
                  <a:lnTo>
                    <a:pt x="1243454" y="231942"/>
                  </a:lnTo>
                  <a:lnTo>
                    <a:pt x="1216031" y="201598"/>
                  </a:lnTo>
                  <a:lnTo>
                    <a:pt x="1199404" y="173861"/>
                  </a:lnTo>
                  <a:lnTo>
                    <a:pt x="1201217" y="125696"/>
                  </a:lnTo>
                  <a:lnTo>
                    <a:pt x="1176491" y="120537"/>
                  </a:lnTo>
                  <a:lnTo>
                    <a:pt x="1133204" y="104500"/>
                  </a:lnTo>
                  <a:lnTo>
                    <a:pt x="1086977" y="74496"/>
                  </a:lnTo>
                  <a:lnTo>
                    <a:pt x="1042457" y="64557"/>
                  </a:lnTo>
                  <a:lnTo>
                    <a:pt x="1007414" y="33882"/>
                  </a:lnTo>
                  <a:lnTo>
                    <a:pt x="975979" y="29313"/>
                  </a:lnTo>
                  <a:lnTo>
                    <a:pt x="955292" y="49315"/>
                  </a:lnTo>
                  <a:lnTo>
                    <a:pt x="930810" y="32936"/>
                  </a:lnTo>
                  <a:lnTo>
                    <a:pt x="909638" y="0"/>
                  </a:lnTo>
                  <a:lnTo>
                    <a:pt x="809625" y="1071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0" name="Freeform 92">
              <a:extLst>
                <a:ext uri="{FF2B5EF4-FFF2-40B4-BE49-F238E27FC236}">
                  <a16:creationId xmlns:a16="http://schemas.microsoft.com/office/drawing/2014/main" id="{FDB805EA-4428-A093-F391-42246780FFA8}"/>
                </a:ext>
              </a:extLst>
            </p:cNvPr>
            <p:cNvSpPr>
              <a:spLocks/>
            </p:cNvSpPr>
            <p:nvPr/>
          </p:nvSpPr>
          <p:spPr bwMode="auto">
            <a:xfrm>
              <a:off x="5120811" y="4537368"/>
              <a:ext cx="219620" cy="207428"/>
            </a:xfrm>
            <a:custGeom>
              <a:avLst/>
              <a:gdLst>
                <a:gd name="T0" fmla="*/ 89 w 903533"/>
                <a:gd name="T1" fmla="*/ 4 h 835819"/>
                <a:gd name="T2" fmla="*/ 80 w 903533"/>
                <a:gd name="T3" fmla="*/ 0 h 835819"/>
                <a:gd name="T4" fmla="*/ 72 w 903533"/>
                <a:gd name="T5" fmla="*/ 1 h 835819"/>
                <a:gd name="T6" fmla="*/ 61 w 903533"/>
                <a:gd name="T7" fmla="*/ 7 h 835819"/>
                <a:gd name="T8" fmla="*/ 62 w 903533"/>
                <a:gd name="T9" fmla="*/ 13 h 835819"/>
                <a:gd name="T10" fmla="*/ 58 w 903533"/>
                <a:gd name="T11" fmla="*/ 16 h 835819"/>
                <a:gd name="T12" fmla="*/ 51 w 903533"/>
                <a:gd name="T13" fmla="*/ 20 h 835819"/>
                <a:gd name="T14" fmla="*/ 43 w 903533"/>
                <a:gd name="T15" fmla="*/ 26 h 835819"/>
                <a:gd name="T16" fmla="*/ 38 w 903533"/>
                <a:gd name="T17" fmla="*/ 33 h 835819"/>
                <a:gd name="T18" fmla="*/ 32 w 903533"/>
                <a:gd name="T19" fmla="*/ 38 h 835819"/>
                <a:gd name="T20" fmla="*/ 27 w 903533"/>
                <a:gd name="T21" fmla="*/ 39 h 835819"/>
                <a:gd name="T22" fmla="*/ 22 w 903533"/>
                <a:gd name="T23" fmla="*/ 38 h 835819"/>
                <a:gd name="T24" fmla="*/ 14 w 903533"/>
                <a:gd name="T25" fmla="*/ 37 h 835819"/>
                <a:gd name="T26" fmla="*/ 5 w 903533"/>
                <a:gd name="T27" fmla="*/ 34 h 835819"/>
                <a:gd name="T28" fmla="*/ 0 w 903533"/>
                <a:gd name="T29" fmla="*/ 35 h 835819"/>
                <a:gd name="T30" fmla="*/ 4 w 903533"/>
                <a:gd name="T31" fmla="*/ 41 h 835819"/>
                <a:gd name="T32" fmla="*/ 11 w 903533"/>
                <a:gd name="T33" fmla="*/ 47 h 835819"/>
                <a:gd name="T34" fmla="*/ 18 w 903533"/>
                <a:gd name="T35" fmla="*/ 61 h 835819"/>
                <a:gd name="T36" fmla="*/ 28 w 903533"/>
                <a:gd name="T37" fmla="*/ 66 h 835819"/>
                <a:gd name="T38" fmla="*/ 35 w 903533"/>
                <a:gd name="T39" fmla="*/ 70 h 835819"/>
                <a:gd name="T40" fmla="*/ 40 w 903533"/>
                <a:gd name="T41" fmla="*/ 73 h 835819"/>
                <a:gd name="T42" fmla="*/ 46 w 903533"/>
                <a:gd name="T43" fmla="*/ 81 h 835819"/>
                <a:gd name="T44" fmla="*/ 49 w 903533"/>
                <a:gd name="T45" fmla="*/ 92 h 835819"/>
                <a:gd name="T46" fmla="*/ 53 w 903533"/>
                <a:gd name="T47" fmla="*/ 101 h 835819"/>
                <a:gd name="T48" fmla="*/ 59 w 903533"/>
                <a:gd name="T49" fmla="*/ 107 h 835819"/>
                <a:gd name="T50" fmla="*/ 62 w 903533"/>
                <a:gd name="T51" fmla="*/ 117 h 835819"/>
                <a:gd name="T52" fmla="*/ 69 w 903533"/>
                <a:gd name="T53" fmla="*/ 122 h 835819"/>
                <a:gd name="T54" fmla="*/ 80 w 903533"/>
                <a:gd name="T55" fmla="*/ 121 h 835819"/>
                <a:gd name="T56" fmla="*/ 86 w 903533"/>
                <a:gd name="T57" fmla="*/ 113 h 835819"/>
                <a:gd name="T58" fmla="*/ 101 w 903533"/>
                <a:gd name="T59" fmla="*/ 110 h 835819"/>
                <a:gd name="T60" fmla="*/ 111 w 903533"/>
                <a:gd name="T61" fmla="*/ 102 h 835819"/>
                <a:gd name="T62" fmla="*/ 125 w 903533"/>
                <a:gd name="T63" fmla="*/ 91 h 835819"/>
                <a:gd name="T64" fmla="*/ 126 w 903533"/>
                <a:gd name="T65" fmla="*/ 83 h 835819"/>
                <a:gd name="T66" fmla="*/ 125 w 903533"/>
                <a:gd name="T67" fmla="*/ 77 h 835819"/>
                <a:gd name="T68" fmla="*/ 131 w 903533"/>
                <a:gd name="T69" fmla="*/ 71 h 835819"/>
                <a:gd name="T70" fmla="*/ 137 w 903533"/>
                <a:gd name="T71" fmla="*/ 66 h 835819"/>
                <a:gd name="T72" fmla="*/ 133 w 903533"/>
                <a:gd name="T73" fmla="*/ 58 h 835819"/>
                <a:gd name="T74" fmla="*/ 133 w 903533"/>
                <a:gd name="T75" fmla="*/ 48 h 835819"/>
                <a:gd name="T76" fmla="*/ 136 w 903533"/>
                <a:gd name="T77" fmla="*/ 41 h 835819"/>
                <a:gd name="T78" fmla="*/ 137 w 903533"/>
                <a:gd name="T79" fmla="*/ 32 h 835819"/>
                <a:gd name="T80" fmla="*/ 132 w 903533"/>
                <a:gd name="T81" fmla="*/ 26 h 835819"/>
                <a:gd name="T82" fmla="*/ 131 w 903533"/>
                <a:gd name="T83" fmla="*/ 19 h 835819"/>
                <a:gd name="T84" fmla="*/ 123 w 903533"/>
                <a:gd name="T85" fmla="*/ 16 h 835819"/>
                <a:gd name="T86" fmla="*/ 113 w 903533"/>
                <a:gd name="T87" fmla="*/ 14 h 835819"/>
                <a:gd name="T88" fmla="*/ 106 w 903533"/>
                <a:gd name="T89" fmla="*/ 10 h 835819"/>
                <a:gd name="T90" fmla="*/ 96 w 903533"/>
                <a:gd name="T91" fmla="*/ 6 h 835819"/>
                <a:gd name="T92" fmla="*/ 89 w 903533"/>
                <a:gd name="T93" fmla="*/ 4 h 83581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03533"/>
                <a:gd name="T142" fmla="*/ 0 h 835819"/>
                <a:gd name="T143" fmla="*/ 903533 w 903533"/>
                <a:gd name="T144" fmla="*/ 835819 h 83581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03533" h="835819">
                  <a:moveTo>
                    <a:pt x="590550" y="26194"/>
                  </a:moveTo>
                  <a:lnTo>
                    <a:pt x="526257" y="0"/>
                  </a:lnTo>
                  <a:lnTo>
                    <a:pt x="476250" y="7144"/>
                  </a:lnTo>
                  <a:lnTo>
                    <a:pt x="404813" y="48816"/>
                  </a:lnTo>
                  <a:lnTo>
                    <a:pt x="408385" y="89297"/>
                  </a:lnTo>
                  <a:lnTo>
                    <a:pt x="383382" y="110728"/>
                  </a:lnTo>
                  <a:lnTo>
                    <a:pt x="334566" y="139303"/>
                  </a:lnTo>
                  <a:lnTo>
                    <a:pt x="284560" y="177403"/>
                  </a:lnTo>
                  <a:lnTo>
                    <a:pt x="253603" y="228600"/>
                  </a:lnTo>
                  <a:lnTo>
                    <a:pt x="211932" y="261937"/>
                  </a:lnTo>
                  <a:lnTo>
                    <a:pt x="176213" y="270272"/>
                  </a:lnTo>
                  <a:lnTo>
                    <a:pt x="145257" y="261937"/>
                  </a:lnTo>
                  <a:lnTo>
                    <a:pt x="90488" y="252412"/>
                  </a:lnTo>
                  <a:lnTo>
                    <a:pt x="30957" y="235744"/>
                  </a:lnTo>
                  <a:lnTo>
                    <a:pt x="0" y="240506"/>
                  </a:lnTo>
                  <a:lnTo>
                    <a:pt x="27385" y="283369"/>
                  </a:lnTo>
                  <a:lnTo>
                    <a:pt x="72628" y="323850"/>
                  </a:lnTo>
                  <a:lnTo>
                    <a:pt x="116682" y="420291"/>
                  </a:lnTo>
                  <a:lnTo>
                    <a:pt x="183357" y="452437"/>
                  </a:lnTo>
                  <a:lnTo>
                    <a:pt x="233363" y="482203"/>
                  </a:lnTo>
                  <a:lnTo>
                    <a:pt x="263128" y="501253"/>
                  </a:lnTo>
                  <a:lnTo>
                    <a:pt x="305991" y="551259"/>
                  </a:lnTo>
                  <a:lnTo>
                    <a:pt x="320278" y="631031"/>
                  </a:lnTo>
                  <a:lnTo>
                    <a:pt x="351235" y="690562"/>
                  </a:lnTo>
                  <a:lnTo>
                    <a:pt x="392907" y="731044"/>
                  </a:lnTo>
                  <a:lnTo>
                    <a:pt x="410766" y="801291"/>
                  </a:lnTo>
                  <a:lnTo>
                    <a:pt x="457200" y="835819"/>
                  </a:lnTo>
                  <a:lnTo>
                    <a:pt x="527447" y="826294"/>
                  </a:lnTo>
                  <a:lnTo>
                    <a:pt x="570310" y="775097"/>
                  </a:lnTo>
                  <a:lnTo>
                    <a:pt x="669132" y="752475"/>
                  </a:lnTo>
                  <a:lnTo>
                    <a:pt x="734616" y="698897"/>
                  </a:lnTo>
                  <a:lnTo>
                    <a:pt x="824175" y="622115"/>
                  </a:lnTo>
                  <a:lnTo>
                    <a:pt x="831336" y="570006"/>
                  </a:lnTo>
                  <a:lnTo>
                    <a:pt x="827021" y="530748"/>
                  </a:lnTo>
                  <a:lnTo>
                    <a:pt x="867647" y="486462"/>
                  </a:lnTo>
                  <a:lnTo>
                    <a:pt x="903533" y="453967"/>
                  </a:lnTo>
                  <a:lnTo>
                    <a:pt x="877355" y="401058"/>
                  </a:lnTo>
                  <a:lnTo>
                    <a:pt x="876072" y="330371"/>
                  </a:lnTo>
                  <a:lnTo>
                    <a:pt x="895350" y="279797"/>
                  </a:lnTo>
                  <a:lnTo>
                    <a:pt x="903303" y="217958"/>
                  </a:lnTo>
                  <a:lnTo>
                    <a:pt x="875110" y="176212"/>
                  </a:lnTo>
                  <a:lnTo>
                    <a:pt x="863203" y="130969"/>
                  </a:lnTo>
                  <a:lnTo>
                    <a:pt x="813197" y="111919"/>
                  </a:lnTo>
                  <a:lnTo>
                    <a:pt x="748903" y="94059"/>
                  </a:lnTo>
                  <a:lnTo>
                    <a:pt x="701278" y="69056"/>
                  </a:lnTo>
                  <a:lnTo>
                    <a:pt x="632222" y="41672"/>
                  </a:lnTo>
                  <a:lnTo>
                    <a:pt x="590550" y="26194"/>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1" name="Freeform 93">
              <a:extLst>
                <a:ext uri="{FF2B5EF4-FFF2-40B4-BE49-F238E27FC236}">
                  <a16:creationId xmlns:a16="http://schemas.microsoft.com/office/drawing/2014/main" id="{689B9514-374E-7E21-F529-2C13171271C4}"/>
                </a:ext>
              </a:extLst>
            </p:cNvPr>
            <p:cNvSpPr>
              <a:spLocks/>
            </p:cNvSpPr>
            <p:nvPr/>
          </p:nvSpPr>
          <p:spPr bwMode="auto">
            <a:xfrm>
              <a:off x="5277681" y="4813941"/>
              <a:ext cx="35855" cy="59923"/>
            </a:xfrm>
            <a:custGeom>
              <a:avLst/>
              <a:gdLst>
                <a:gd name="T0" fmla="*/ 16 w 152400"/>
                <a:gd name="T1" fmla="*/ 11 h 235743"/>
                <a:gd name="T2" fmla="*/ 15 w 152400"/>
                <a:gd name="T3" fmla="*/ 22 h 235743"/>
                <a:gd name="T4" fmla="*/ 20 w 152400"/>
                <a:gd name="T5" fmla="*/ 23 h 235743"/>
                <a:gd name="T6" fmla="*/ 14 w 152400"/>
                <a:gd name="T7" fmla="*/ 32 h 235743"/>
                <a:gd name="T8" fmla="*/ 9 w 152400"/>
                <a:gd name="T9" fmla="*/ 39 h 235743"/>
                <a:gd name="T10" fmla="*/ 4 w 152400"/>
                <a:gd name="T11" fmla="*/ 33 h 235743"/>
                <a:gd name="T12" fmla="*/ 0 w 152400"/>
                <a:gd name="T13" fmla="*/ 25 h 235743"/>
                <a:gd name="T14" fmla="*/ 2 w 152400"/>
                <a:gd name="T15" fmla="*/ 13 h 235743"/>
                <a:gd name="T16" fmla="*/ 5 w 152400"/>
                <a:gd name="T17" fmla="*/ 6 h 235743"/>
                <a:gd name="T18" fmla="*/ 10 w 152400"/>
                <a:gd name="T19" fmla="*/ 0 h 235743"/>
                <a:gd name="T20" fmla="*/ 13 w 152400"/>
                <a:gd name="T21" fmla="*/ 6 h 235743"/>
                <a:gd name="T22" fmla="*/ 16 w 152400"/>
                <a:gd name="T23" fmla="*/ 11 h 2357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2400"/>
                <a:gd name="T37" fmla="*/ 0 h 235743"/>
                <a:gd name="T38" fmla="*/ 152400 w 152400"/>
                <a:gd name="T39" fmla="*/ 235743 h 2357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2400" h="235743">
                  <a:moveTo>
                    <a:pt x="123716" y="68211"/>
                  </a:moveTo>
                  <a:lnTo>
                    <a:pt x="115519" y="131749"/>
                  </a:lnTo>
                  <a:lnTo>
                    <a:pt x="152400" y="140493"/>
                  </a:lnTo>
                  <a:lnTo>
                    <a:pt x="110728" y="192881"/>
                  </a:lnTo>
                  <a:lnTo>
                    <a:pt x="72628" y="235743"/>
                  </a:lnTo>
                  <a:lnTo>
                    <a:pt x="33338" y="198834"/>
                  </a:lnTo>
                  <a:lnTo>
                    <a:pt x="0" y="154781"/>
                  </a:lnTo>
                  <a:lnTo>
                    <a:pt x="14288" y="79771"/>
                  </a:lnTo>
                  <a:lnTo>
                    <a:pt x="39291" y="35718"/>
                  </a:lnTo>
                  <a:lnTo>
                    <a:pt x="77391" y="0"/>
                  </a:lnTo>
                  <a:lnTo>
                    <a:pt x="102235" y="37611"/>
                  </a:lnTo>
                  <a:lnTo>
                    <a:pt x="123716" y="6821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2" name="Freeform 94">
              <a:extLst>
                <a:ext uri="{FF2B5EF4-FFF2-40B4-BE49-F238E27FC236}">
                  <a16:creationId xmlns:a16="http://schemas.microsoft.com/office/drawing/2014/main" id="{B2711ED7-5F9F-EA74-79D9-56B7F2ADA9DD}"/>
                </a:ext>
              </a:extLst>
            </p:cNvPr>
            <p:cNvSpPr>
              <a:spLocks/>
            </p:cNvSpPr>
            <p:nvPr/>
          </p:nvSpPr>
          <p:spPr bwMode="auto">
            <a:xfrm>
              <a:off x="8103594" y="2405459"/>
              <a:ext cx="73952" cy="352630"/>
            </a:xfrm>
            <a:custGeom>
              <a:avLst/>
              <a:gdLst>
                <a:gd name="T0" fmla="*/ 2147483647 w 432"/>
                <a:gd name="T1" fmla="*/ 2147483647 h 1904"/>
                <a:gd name="T2" fmla="*/ 2147483647 w 432"/>
                <a:gd name="T3" fmla="*/ 2147483647 h 1904"/>
                <a:gd name="T4" fmla="*/ 2147483647 w 432"/>
                <a:gd name="T5" fmla="*/ 2147483647 h 1904"/>
                <a:gd name="T6" fmla="*/ 2147483647 w 432"/>
                <a:gd name="T7" fmla="*/ 2147483647 h 1904"/>
                <a:gd name="T8" fmla="*/ 2147483647 w 432"/>
                <a:gd name="T9" fmla="*/ 2147483647 h 1904"/>
                <a:gd name="T10" fmla="*/ 2147483647 w 432"/>
                <a:gd name="T11" fmla="*/ 2147483647 h 1904"/>
                <a:gd name="T12" fmla="*/ 0 w 432"/>
                <a:gd name="T13" fmla="*/ 2147483647 h 1904"/>
                <a:gd name="T14" fmla="*/ 2147483647 w 432"/>
                <a:gd name="T15" fmla="*/ 2147483647 h 1904"/>
                <a:gd name="T16" fmla="*/ 2147483647 w 432"/>
                <a:gd name="T17" fmla="*/ 2147483647 h 1904"/>
                <a:gd name="T18" fmla="*/ 2147483647 w 432"/>
                <a:gd name="T19" fmla="*/ 2147483647 h 1904"/>
                <a:gd name="T20" fmla="*/ 2147483647 w 432"/>
                <a:gd name="T21" fmla="*/ 2147483647 h 1904"/>
                <a:gd name="T22" fmla="*/ 2147483647 w 432"/>
                <a:gd name="T23" fmla="*/ 2147483647 h 1904"/>
                <a:gd name="T24" fmla="*/ 2147483647 w 432"/>
                <a:gd name="T25" fmla="*/ 2147483647 h 1904"/>
                <a:gd name="T26" fmla="*/ 2147483647 w 432"/>
                <a:gd name="T27" fmla="*/ 2147483647 h 1904"/>
                <a:gd name="T28" fmla="*/ 2147483647 w 432"/>
                <a:gd name="T29" fmla="*/ 2147483647 h 1904"/>
                <a:gd name="T30" fmla="*/ 2147483647 w 432"/>
                <a:gd name="T31" fmla="*/ 2147483647 h 1904"/>
                <a:gd name="T32" fmla="*/ 2147483647 w 432"/>
                <a:gd name="T33" fmla="*/ 2147483647 h 1904"/>
                <a:gd name="T34" fmla="*/ 2147483647 w 432"/>
                <a:gd name="T35" fmla="*/ 2147483647 h 1904"/>
                <a:gd name="T36" fmla="*/ 2147483647 w 432"/>
                <a:gd name="T37" fmla="*/ 2147483647 h 1904"/>
                <a:gd name="T38" fmla="*/ 2147483647 w 432"/>
                <a:gd name="T39" fmla="*/ 2147483647 h 1904"/>
                <a:gd name="T40" fmla="*/ 2147483647 w 432"/>
                <a:gd name="T41" fmla="*/ 2147483647 h 1904"/>
                <a:gd name="T42" fmla="*/ 2147483647 w 432"/>
                <a:gd name="T43" fmla="*/ 2147483647 h 1904"/>
                <a:gd name="T44" fmla="*/ 2147483647 w 432"/>
                <a:gd name="T45" fmla="*/ 2147483647 h 1904"/>
                <a:gd name="T46" fmla="*/ 2147483647 w 432"/>
                <a:gd name="T47" fmla="*/ 2147483647 h 1904"/>
                <a:gd name="T48" fmla="*/ 2147483647 w 432"/>
                <a:gd name="T49" fmla="*/ 2147483647 h 1904"/>
                <a:gd name="T50" fmla="*/ 2147483647 w 432"/>
                <a:gd name="T51" fmla="*/ 2147483647 h 1904"/>
                <a:gd name="T52" fmla="*/ 2147483647 w 432"/>
                <a:gd name="T53" fmla="*/ 2147483647 h 1904"/>
                <a:gd name="T54" fmla="*/ 2147483647 w 432"/>
                <a:gd name="T55" fmla="*/ 0 h 1904"/>
                <a:gd name="T56" fmla="*/ 2147483647 w 432"/>
                <a:gd name="T57" fmla="*/ 2147483647 h 1904"/>
                <a:gd name="T58" fmla="*/ 2147483647 w 432"/>
                <a:gd name="T59" fmla="*/ 2147483647 h 1904"/>
                <a:gd name="T60" fmla="*/ 2147483647 w 432"/>
                <a:gd name="T61" fmla="*/ 2147483647 h 1904"/>
                <a:gd name="T62" fmla="*/ 2147483647 w 432"/>
                <a:gd name="T63" fmla="*/ 2147483647 h 1904"/>
                <a:gd name="T64" fmla="*/ 2147483647 w 432"/>
                <a:gd name="T65" fmla="*/ 2147483647 h 1904"/>
                <a:gd name="T66" fmla="*/ 2147483647 w 432"/>
                <a:gd name="T67" fmla="*/ 2147483647 h 1904"/>
                <a:gd name="T68" fmla="*/ 2147483647 w 432"/>
                <a:gd name="T69" fmla="*/ 2147483647 h 1904"/>
                <a:gd name="T70" fmla="*/ 2147483647 w 432"/>
                <a:gd name="T71" fmla="*/ 2147483647 h 1904"/>
                <a:gd name="T72" fmla="*/ 2147483647 w 432"/>
                <a:gd name="T73" fmla="*/ 2147483647 h 1904"/>
                <a:gd name="T74" fmla="*/ 2147483647 w 432"/>
                <a:gd name="T75" fmla="*/ 2147483647 h 1904"/>
                <a:gd name="T76" fmla="*/ 2147483647 w 432"/>
                <a:gd name="T77" fmla="*/ 2147483647 h 1904"/>
                <a:gd name="T78" fmla="*/ 2147483647 w 432"/>
                <a:gd name="T79" fmla="*/ 2147483647 h 1904"/>
                <a:gd name="T80" fmla="*/ 2147483647 w 432"/>
                <a:gd name="T81" fmla="*/ 2147483647 h 1904"/>
                <a:gd name="T82" fmla="*/ 2147483647 w 432"/>
                <a:gd name="T83" fmla="*/ 2147483647 h 1904"/>
                <a:gd name="T84" fmla="*/ 2147483647 w 432"/>
                <a:gd name="T85" fmla="*/ 2147483647 h 1904"/>
                <a:gd name="T86" fmla="*/ 2147483647 w 432"/>
                <a:gd name="T87" fmla="*/ 2147483647 h 1904"/>
                <a:gd name="T88" fmla="*/ 2147483647 w 432"/>
                <a:gd name="T89" fmla="*/ 2147483647 h 1904"/>
                <a:gd name="T90" fmla="*/ 2147483647 w 432"/>
                <a:gd name="T91" fmla="*/ 2147483647 h 1904"/>
                <a:gd name="T92" fmla="*/ 2147483647 w 432"/>
                <a:gd name="T93" fmla="*/ 2147483647 h 1904"/>
                <a:gd name="T94" fmla="*/ 2147483647 w 432"/>
                <a:gd name="T95" fmla="*/ 2147483647 h 1904"/>
                <a:gd name="T96" fmla="*/ 2147483647 w 432"/>
                <a:gd name="T97" fmla="*/ 2147483647 h 19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2"/>
                <a:gd name="T148" fmla="*/ 0 h 1904"/>
                <a:gd name="T149" fmla="*/ 432 w 432"/>
                <a:gd name="T150" fmla="*/ 1904 h 19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2" h="1904">
                  <a:moveTo>
                    <a:pt x="288" y="1880"/>
                  </a:moveTo>
                  <a:lnTo>
                    <a:pt x="216" y="1760"/>
                  </a:lnTo>
                  <a:lnTo>
                    <a:pt x="160" y="1768"/>
                  </a:lnTo>
                  <a:lnTo>
                    <a:pt x="136" y="1832"/>
                  </a:lnTo>
                  <a:lnTo>
                    <a:pt x="120" y="1904"/>
                  </a:lnTo>
                  <a:lnTo>
                    <a:pt x="48" y="1896"/>
                  </a:lnTo>
                  <a:lnTo>
                    <a:pt x="0" y="1840"/>
                  </a:lnTo>
                  <a:lnTo>
                    <a:pt x="32" y="1736"/>
                  </a:lnTo>
                  <a:lnTo>
                    <a:pt x="48" y="1664"/>
                  </a:lnTo>
                  <a:lnTo>
                    <a:pt x="56" y="1560"/>
                  </a:lnTo>
                  <a:lnTo>
                    <a:pt x="96" y="1504"/>
                  </a:lnTo>
                  <a:lnTo>
                    <a:pt x="104" y="1432"/>
                  </a:lnTo>
                  <a:lnTo>
                    <a:pt x="72" y="1376"/>
                  </a:lnTo>
                  <a:lnTo>
                    <a:pt x="32" y="1288"/>
                  </a:lnTo>
                  <a:lnTo>
                    <a:pt x="88" y="1200"/>
                  </a:lnTo>
                  <a:lnTo>
                    <a:pt x="80" y="1064"/>
                  </a:lnTo>
                  <a:lnTo>
                    <a:pt x="64" y="968"/>
                  </a:lnTo>
                  <a:lnTo>
                    <a:pt x="74" y="857"/>
                  </a:lnTo>
                  <a:lnTo>
                    <a:pt x="96" y="776"/>
                  </a:lnTo>
                  <a:lnTo>
                    <a:pt x="64" y="688"/>
                  </a:lnTo>
                  <a:lnTo>
                    <a:pt x="24" y="576"/>
                  </a:lnTo>
                  <a:lnTo>
                    <a:pt x="40" y="440"/>
                  </a:lnTo>
                  <a:lnTo>
                    <a:pt x="64" y="344"/>
                  </a:lnTo>
                  <a:lnTo>
                    <a:pt x="56" y="240"/>
                  </a:lnTo>
                  <a:lnTo>
                    <a:pt x="128" y="232"/>
                  </a:lnTo>
                  <a:lnTo>
                    <a:pt x="152" y="160"/>
                  </a:lnTo>
                  <a:lnTo>
                    <a:pt x="112" y="8"/>
                  </a:lnTo>
                  <a:lnTo>
                    <a:pt x="184" y="0"/>
                  </a:lnTo>
                  <a:lnTo>
                    <a:pt x="232" y="80"/>
                  </a:lnTo>
                  <a:lnTo>
                    <a:pt x="216" y="168"/>
                  </a:lnTo>
                  <a:lnTo>
                    <a:pt x="264" y="376"/>
                  </a:lnTo>
                  <a:lnTo>
                    <a:pt x="248" y="496"/>
                  </a:lnTo>
                  <a:lnTo>
                    <a:pt x="224" y="584"/>
                  </a:lnTo>
                  <a:lnTo>
                    <a:pt x="248" y="680"/>
                  </a:lnTo>
                  <a:lnTo>
                    <a:pt x="296" y="800"/>
                  </a:lnTo>
                  <a:lnTo>
                    <a:pt x="296" y="920"/>
                  </a:lnTo>
                  <a:lnTo>
                    <a:pt x="344" y="1024"/>
                  </a:lnTo>
                  <a:lnTo>
                    <a:pt x="376" y="1120"/>
                  </a:lnTo>
                  <a:lnTo>
                    <a:pt x="432" y="1192"/>
                  </a:lnTo>
                  <a:lnTo>
                    <a:pt x="376" y="1240"/>
                  </a:lnTo>
                  <a:lnTo>
                    <a:pt x="312" y="1200"/>
                  </a:lnTo>
                  <a:lnTo>
                    <a:pt x="240" y="1224"/>
                  </a:lnTo>
                  <a:lnTo>
                    <a:pt x="208" y="1336"/>
                  </a:lnTo>
                  <a:lnTo>
                    <a:pt x="168" y="1432"/>
                  </a:lnTo>
                  <a:lnTo>
                    <a:pt x="192" y="1552"/>
                  </a:lnTo>
                  <a:lnTo>
                    <a:pt x="232" y="1632"/>
                  </a:lnTo>
                  <a:lnTo>
                    <a:pt x="264" y="1696"/>
                  </a:lnTo>
                  <a:lnTo>
                    <a:pt x="320" y="1768"/>
                  </a:lnTo>
                  <a:lnTo>
                    <a:pt x="288" y="188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3" name="Freeform 95">
              <a:extLst>
                <a:ext uri="{FF2B5EF4-FFF2-40B4-BE49-F238E27FC236}">
                  <a16:creationId xmlns:a16="http://schemas.microsoft.com/office/drawing/2014/main" id="{42FED49D-F2CD-E564-E1D6-81A17BDA411B}"/>
                </a:ext>
              </a:extLst>
            </p:cNvPr>
            <p:cNvSpPr>
              <a:spLocks/>
            </p:cNvSpPr>
            <p:nvPr/>
          </p:nvSpPr>
          <p:spPr bwMode="auto">
            <a:xfrm>
              <a:off x="7650910" y="2868718"/>
              <a:ext cx="161353" cy="191296"/>
            </a:xfrm>
            <a:custGeom>
              <a:avLst/>
              <a:gdLst>
                <a:gd name="T0" fmla="*/ 0 w 358"/>
                <a:gd name="T1" fmla="*/ 2147483647 h 414"/>
                <a:gd name="T2" fmla="*/ 2147483647 w 358"/>
                <a:gd name="T3" fmla="*/ 2147483647 h 414"/>
                <a:gd name="T4" fmla="*/ 2147483647 w 358"/>
                <a:gd name="T5" fmla="*/ 2147483647 h 414"/>
                <a:gd name="T6" fmla="*/ 2147483647 w 358"/>
                <a:gd name="T7" fmla="*/ 2147483647 h 414"/>
                <a:gd name="T8" fmla="*/ 2147483647 w 358"/>
                <a:gd name="T9" fmla="*/ 2147483647 h 414"/>
                <a:gd name="T10" fmla="*/ 2147483647 w 358"/>
                <a:gd name="T11" fmla="*/ 2147483647 h 414"/>
                <a:gd name="T12" fmla="*/ 2147483647 w 358"/>
                <a:gd name="T13" fmla="*/ 2147483647 h 414"/>
                <a:gd name="T14" fmla="*/ 2147483647 w 358"/>
                <a:gd name="T15" fmla="*/ 2147483647 h 414"/>
                <a:gd name="T16" fmla="*/ 2147483647 w 358"/>
                <a:gd name="T17" fmla="*/ 2147483647 h 414"/>
                <a:gd name="T18" fmla="*/ 2147483647 w 358"/>
                <a:gd name="T19" fmla="*/ 2147483647 h 414"/>
                <a:gd name="T20" fmla="*/ 2147483647 w 358"/>
                <a:gd name="T21" fmla="*/ 2147483647 h 414"/>
                <a:gd name="T22" fmla="*/ 2147483647 w 358"/>
                <a:gd name="T23" fmla="*/ 2147483647 h 414"/>
                <a:gd name="T24" fmla="*/ 2147483647 w 358"/>
                <a:gd name="T25" fmla="*/ 2147483647 h 414"/>
                <a:gd name="T26" fmla="*/ 2147483647 w 358"/>
                <a:gd name="T27" fmla="*/ 2147483647 h 414"/>
                <a:gd name="T28" fmla="*/ 2147483647 w 358"/>
                <a:gd name="T29" fmla="*/ 2147483647 h 414"/>
                <a:gd name="T30" fmla="*/ 2147483647 w 358"/>
                <a:gd name="T31" fmla="*/ 2147483647 h 414"/>
                <a:gd name="T32" fmla="*/ 2147483647 w 358"/>
                <a:gd name="T33" fmla="*/ 2147483647 h 414"/>
                <a:gd name="T34" fmla="*/ 2147483647 w 358"/>
                <a:gd name="T35" fmla="*/ 2147483647 h 414"/>
                <a:gd name="T36" fmla="*/ 2147483647 w 358"/>
                <a:gd name="T37" fmla="*/ 2147483647 h 414"/>
                <a:gd name="T38" fmla="*/ 2147483647 w 358"/>
                <a:gd name="T39" fmla="*/ 2147483647 h 414"/>
                <a:gd name="T40" fmla="*/ 2147483647 w 358"/>
                <a:gd name="T41" fmla="*/ 2147483647 h 414"/>
                <a:gd name="T42" fmla="*/ 2147483647 w 358"/>
                <a:gd name="T43" fmla="*/ 2147483647 h 414"/>
                <a:gd name="T44" fmla="*/ 2147483647 w 358"/>
                <a:gd name="T45" fmla="*/ 2147483647 h 414"/>
                <a:gd name="T46" fmla="*/ 2147483647 w 358"/>
                <a:gd name="T47" fmla="*/ 2147483647 h 414"/>
                <a:gd name="T48" fmla="*/ 2147483647 w 358"/>
                <a:gd name="T49" fmla="*/ 2147483647 h 414"/>
                <a:gd name="T50" fmla="*/ 2147483647 w 358"/>
                <a:gd name="T51" fmla="*/ 2147483647 h 414"/>
                <a:gd name="T52" fmla="*/ 2147483647 w 358"/>
                <a:gd name="T53" fmla="*/ 2147483647 h 414"/>
                <a:gd name="T54" fmla="*/ 2147483647 w 358"/>
                <a:gd name="T55" fmla="*/ 2147483647 h 414"/>
                <a:gd name="T56" fmla="*/ 2147483647 w 358"/>
                <a:gd name="T57" fmla="*/ 2147483647 h 414"/>
                <a:gd name="T58" fmla="*/ 2147483647 w 358"/>
                <a:gd name="T59" fmla="*/ 2147483647 h 414"/>
                <a:gd name="T60" fmla="*/ 2147483647 w 358"/>
                <a:gd name="T61" fmla="*/ 0 h 414"/>
                <a:gd name="T62" fmla="*/ 2147483647 w 358"/>
                <a:gd name="T63" fmla="*/ 2147483647 h 414"/>
                <a:gd name="T64" fmla="*/ 2147483647 w 358"/>
                <a:gd name="T65" fmla="*/ 2147483647 h 414"/>
                <a:gd name="T66" fmla="*/ 2147483647 w 358"/>
                <a:gd name="T67" fmla="*/ 2147483647 h 414"/>
                <a:gd name="T68" fmla="*/ 2147483647 w 358"/>
                <a:gd name="T69" fmla="*/ 2147483647 h 414"/>
                <a:gd name="T70" fmla="*/ 2147483647 w 358"/>
                <a:gd name="T71" fmla="*/ 2147483647 h 414"/>
                <a:gd name="T72" fmla="*/ 2147483647 w 358"/>
                <a:gd name="T73" fmla="*/ 2147483647 h 414"/>
                <a:gd name="T74" fmla="*/ 2147483647 w 358"/>
                <a:gd name="T75" fmla="*/ 2147483647 h 414"/>
                <a:gd name="T76" fmla="*/ 2147483647 w 358"/>
                <a:gd name="T77" fmla="*/ 2147483647 h 414"/>
                <a:gd name="T78" fmla="*/ 2147483647 w 358"/>
                <a:gd name="T79" fmla="*/ 2147483647 h 414"/>
                <a:gd name="T80" fmla="*/ 0 w 358"/>
                <a:gd name="T81" fmla="*/ 2147483647 h 4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8"/>
                <a:gd name="T124" fmla="*/ 0 h 414"/>
                <a:gd name="T125" fmla="*/ 358 w 358"/>
                <a:gd name="T126" fmla="*/ 414 h 4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8" h="414">
                  <a:moveTo>
                    <a:pt x="0" y="251"/>
                  </a:moveTo>
                  <a:lnTo>
                    <a:pt x="30" y="268"/>
                  </a:lnTo>
                  <a:lnTo>
                    <a:pt x="58" y="268"/>
                  </a:lnTo>
                  <a:lnTo>
                    <a:pt x="74" y="273"/>
                  </a:lnTo>
                  <a:lnTo>
                    <a:pt x="75" y="315"/>
                  </a:lnTo>
                  <a:lnTo>
                    <a:pt x="64" y="341"/>
                  </a:lnTo>
                  <a:lnTo>
                    <a:pt x="40" y="347"/>
                  </a:lnTo>
                  <a:lnTo>
                    <a:pt x="30" y="373"/>
                  </a:lnTo>
                  <a:lnTo>
                    <a:pt x="58" y="402"/>
                  </a:lnTo>
                  <a:lnTo>
                    <a:pt x="78" y="414"/>
                  </a:lnTo>
                  <a:lnTo>
                    <a:pt x="100" y="405"/>
                  </a:lnTo>
                  <a:lnTo>
                    <a:pt x="126" y="407"/>
                  </a:lnTo>
                  <a:lnTo>
                    <a:pt x="152" y="384"/>
                  </a:lnTo>
                  <a:lnTo>
                    <a:pt x="180" y="371"/>
                  </a:lnTo>
                  <a:lnTo>
                    <a:pt x="208" y="367"/>
                  </a:lnTo>
                  <a:lnTo>
                    <a:pt x="236" y="366"/>
                  </a:lnTo>
                  <a:lnTo>
                    <a:pt x="222" y="346"/>
                  </a:lnTo>
                  <a:lnTo>
                    <a:pt x="203" y="327"/>
                  </a:lnTo>
                  <a:lnTo>
                    <a:pt x="177" y="291"/>
                  </a:lnTo>
                  <a:lnTo>
                    <a:pt x="183" y="272"/>
                  </a:lnTo>
                  <a:lnTo>
                    <a:pt x="211" y="255"/>
                  </a:lnTo>
                  <a:lnTo>
                    <a:pt x="233" y="248"/>
                  </a:lnTo>
                  <a:lnTo>
                    <a:pt x="244" y="218"/>
                  </a:lnTo>
                  <a:lnTo>
                    <a:pt x="280" y="195"/>
                  </a:lnTo>
                  <a:lnTo>
                    <a:pt x="294" y="176"/>
                  </a:lnTo>
                  <a:lnTo>
                    <a:pt x="310" y="154"/>
                  </a:lnTo>
                  <a:lnTo>
                    <a:pt x="307" y="122"/>
                  </a:lnTo>
                  <a:lnTo>
                    <a:pt x="318" y="93"/>
                  </a:lnTo>
                  <a:lnTo>
                    <a:pt x="327" y="80"/>
                  </a:lnTo>
                  <a:lnTo>
                    <a:pt x="358" y="42"/>
                  </a:lnTo>
                  <a:lnTo>
                    <a:pt x="326" y="0"/>
                  </a:lnTo>
                  <a:lnTo>
                    <a:pt x="283" y="61"/>
                  </a:lnTo>
                  <a:lnTo>
                    <a:pt x="246" y="71"/>
                  </a:lnTo>
                  <a:lnTo>
                    <a:pt x="223" y="91"/>
                  </a:lnTo>
                  <a:lnTo>
                    <a:pt x="208" y="122"/>
                  </a:lnTo>
                  <a:lnTo>
                    <a:pt x="191" y="140"/>
                  </a:lnTo>
                  <a:lnTo>
                    <a:pt x="143" y="116"/>
                  </a:lnTo>
                  <a:lnTo>
                    <a:pt x="110" y="151"/>
                  </a:lnTo>
                  <a:lnTo>
                    <a:pt x="90" y="188"/>
                  </a:lnTo>
                  <a:lnTo>
                    <a:pt x="35" y="195"/>
                  </a:lnTo>
                  <a:lnTo>
                    <a:pt x="0" y="25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4" name="Freeform 96">
              <a:extLst>
                <a:ext uri="{FF2B5EF4-FFF2-40B4-BE49-F238E27FC236}">
                  <a16:creationId xmlns:a16="http://schemas.microsoft.com/office/drawing/2014/main" id="{596949AE-6DCF-FDB9-1414-D545CEBF2CDB}"/>
                </a:ext>
              </a:extLst>
            </p:cNvPr>
            <p:cNvSpPr>
              <a:spLocks/>
            </p:cNvSpPr>
            <p:nvPr/>
          </p:nvSpPr>
          <p:spPr bwMode="auto">
            <a:xfrm>
              <a:off x="7700212" y="3036966"/>
              <a:ext cx="91881" cy="142895"/>
            </a:xfrm>
            <a:custGeom>
              <a:avLst/>
              <a:gdLst>
                <a:gd name="T0" fmla="*/ 0 w 241"/>
                <a:gd name="T1" fmla="*/ 2147483647 h 351"/>
                <a:gd name="T2" fmla="*/ 2147483647 w 241"/>
                <a:gd name="T3" fmla="*/ 2147483647 h 351"/>
                <a:gd name="T4" fmla="*/ 2147483647 w 241"/>
                <a:gd name="T5" fmla="*/ 2147483647 h 351"/>
                <a:gd name="T6" fmla="*/ 2147483647 w 241"/>
                <a:gd name="T7" fmla="*/ 2147483647 h 351"/>
                <a:gd name="T8" fmla="*/ 2147483647 w 241"/>
                <a:gd name="T9" fmla="*/ 2147483647 h 351"/>
                <a:gd name="T10" fmla="*/ 2147483647 w 241"/>
                <a:gd name="T11" fmla="*/ 2147483647 h 351"/>
                <a:gd name="T12" fmla="*/ 2147483647 w 241"/>
                <a:gd name="T13" fmla="*/ 2147483647 h 351"/>
                <a:gd name="T14" fmla="*/ 2147483647 w 241"/>
                <a:gd name="T15" fmla="*/ 2147483647 h 351"/>
                <a:gd name="T16" fmla="*/ 2147483647 w 241"/>
                <a:gd name="T17" fmla="*/ 2147483647 h 351"/>
                <a:gd name="T18" fmla="*/ 2147483647 w 241"/>
                <a:gd name="T19" fmla="*/ 2147483647 h 351"/>
                <a:gd name="T20" fmla="*/ 2147483647 w 241"/>
                <a:gd name="T21" fmla="*/ 2147483647 h 351"/>
                <a:gd name="T22" fmla="*/ 2147483647 w 241"/>
                <a:gd name="T23" fmla="*/ 2147483647 h 351"/>
                <a:gd name="T24" fmla="*/ 2147483647 w 241"/>
                <a:gd name="T25" fmla="*/ 2147483647 h 351"/>
                <a:gd name="T26" fmla="*/ 2147483647 w 241"/>
                <a:gd name="T27" fmla="*/ 2147483647 h 351"/>
                <a:gd name="T28" fmla="*/ 2147483647 w 241"/>
                <a:gd name="T29" fmla="*/ 0 h 351"/>
                <a:gd name="T30" fmla="*/ 2147483647 w 241"/>
                <a:gd name="T31" fmla="*/ 2147483647 h 351"/>
                <a:gd name="T32" fmla="*/ 2147483647 w 241"/>
                <a:gd name="T33" fmla="*/ 2147483647 h 351"/>
                <a:gd name="T34" fmla="*/ 2147483647 w 241"/>
                <a:gd name="T35" fmla="*/ 2147483647 h 351"/>
                <a:gd name="T36" fmla="*/ 2147483647 w 241"/>
                <a:gd name="T37" fmla="*/ 2147483647 h 351"/>
                <a:gd name="T38" fmla="*/ 0 w 241"/>
                <a:gd name="T39" fmla="*/ 2147483647 h 351"/>
                <a:gd name="T40" fmla="*/ 2147483647 w 241"/>
                <a:gd name="T41" fmla="*/ 2147483647 h 351"/>
                <a:gd name="T42" fmla="*/ 2147483647 w 241"/>
                <a:gd name="T43" fmla="*/ 2147483647 h 351"/>
                <a:gd name="T44" fmla="*/ 2147483647 w 241"/>
                <a:gd name="T45" fmla="*/ 2147483647 h 351"/>
                <a:gd name="T46" fmla="*/ 0 w 241"/>
                <a:gd name="T47" fmla="*/ 2147483647 h 3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1"/>
                <a:gd name="T73" fmla="*/ 0 h 351"/>
                <a:gd name="T74" fmla="*/ 241 w 241"/>
                <a:gd name="T75" fmla="*/ 351 h 3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1" h="351">
                  <a:moveTo>
                    <a:pt x="0" y="289"/>
                  </a:moveTo>
                  <a:lnTo>
                    <a:pt x="20" y="330"/>
                  </a:lnTo>
                  <a:lnTo>
                    <a:pt x="40" y="351"/>
                  </a:lnTo>
                  <a:lnTo>
                    <a:pt x="80" y="310"/>
                  </a:lnTo>
                  <a:lnTo>
                    <a:pt x="141" y="310"/>
                  </a:lnTo>
                  <a:lnTo>
                    <a:pt x="181" y="294"/>
                  </a:lnTo>
                  <a:lnTo>
                    <a:pt x="220" y="292"/>
                  </a:lnTo>
                  <a:lnTo>
                    <a:pt x="217" y="274"/>
                  </a:lnTo>
                  <a:lnTo>
                    <a:pt x="195" y="258"/>
                  </a:lnTo>
                  <a:lnTo>
                    <a:pt x="213" y="210"/>
                  </a:lnTo>
                  <a:lnTo>
                    <a:pt x="241" y="186"/>
                  </a:lnTo>
                  <a:lnTo>
                    <a:pt x="241" y="103"/>
                  </a:lnTo>
                  <a:lnTo>
                    <a:pt x="224" y="79"/>
                  </a:lnTo>
                  <a:lnTo>
                    <a:pt x="192" y="50"/>
                  </a:lnTo>
                  <a:lnTo>
                    <a:pt x="151" y="0"/>
                  </a:lnTo>
                  <a:lnTo>
                    <a:pt x="91" y="3"/>
                  </a:lnTo>
                  <a:lnTo>
                    <a:pt x="55" y="17"/>
                  </a:lnTo>
                  <a:lnTo>
                    <a:pt x="22" y="44"/>
                  </a:lnTo>
                  <a:lnTo>
                    <a:pt x="40" y="62"/>
                  </a:lnTo>
                  <a:lnTo>
                    <a:pt x="0" y="103"/>
                  </a:lnTo>
                  <a:lnTo>
                    <a:pt x="20" y="144"/>
                  </a:lnTo>
                  <a:lnTo>
                    <a:pt x="29" y="207"/>
                  </a:lnTo>
                  <a:lnTo>
                    <a:pt x="29" y="261"/>
                  </a:lnTo>
                  <a:lnTo>
                    <a:pt x="0" y="28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5" name="Freeform 97">
              <a:extLst>
                <a:ext uri="{FF2B5EF4-FFF2-40B4-BE49-F238E27FC236}">
                  <a16:creationId xmlns:a16="http://schemas.microsoft.com/office/drawing/2014/main" id="{343C2634-7E9F-A85A-D7A6-639C631ECFB5}"/>
                </a:ext>
              </a:extLst>
            </p:cNvPr>
            <p:cNvSpPr>
              <a:spLocks/>
            </p:cNvSpPr>
            <p:nvPr/>
          </p:nvSpPr>
          <p:spPr bwMode="auto">
            <a:xfrm>
              <a:off x="7843637" y="2776528"/>
              <a:ext cx="358562" cy="414858"/>
            </a:xfrm>
            <a:custGeom>
              <a:avLst/>
              <a:gdLst>
                <a:gd name="T0" fmla="*/ 2147483647 w 943"/>
                <a:gd name="T1" fmla="*/ 0 h 1055"/>
                <a:gd name="T2" fmla="*/ 2147483647 w 943"/>
                <a:gd name="T3" fmla="*/ 2147483647 h 1055"/>
                <a:gd name="T4" fmla="*/ 2147483647 w 943"/>
                <a:gd name="T5" fmla="*/ 2147483647 h 1055"/>
                <a:gd name="T6" fmla="*/ 2147483647 w 943"/>
                <a:gd name="T7" fmla="*/ 2147483647 h 1055"/>
                <a:gd name="T8" fmla="*/ 2147483647 w 943"/>
                <a:gd name="T9" fmla="*/ 2147483647 h 1055"/>
                <a:gd name="T10" fmla="*/ 2147483647 w 943"/>
                <a:gd name="T11" fmla="*/ 2147483647 h 1055"/>
                <a:gd name="T12" fmla="*/ 2147483647 w 943"/>
                <a:gd name="T13" fmla="*/ 2147483647 h 1055"/>
                <a:gd name="T14" fmla="*/ 2147483647 w 943"/>
                <a:gd name="T15" fmla="*/ 2147483647 h 1055"/>
                <a:gd name="T16" fmla="*/ 2147483647 w 943"/>
                <a:gd name="T17" fmla="*/ 2147483647 h 1055"/>
                <a:gd name="T18" fmla="*/ 2147483647 w 943"/>
                <a:gd name="T19" fmla="*/ 2147483647 h 1055"/>
                <a:gd name="T20" fmla="*/ 2147483647 w 943"/>
                <a:gd name="T21" fmla="*/ 2147483647 h 1055"/>
                <a:gd name="T22" fmla="*/ 2147483647 w 943"/>
                <a:gd name="T23" fmla="*/ 2147483647 h 1055"/>
                <a:gd name="T24" fmla="*/ 2147483647 w 943"/>
                <a:gd name="T25" fmla="*/ 2147483647 h 1055"/>
                <a:gd name="T26" fmla="*/ 2147483647 w 943"/>
                <a:gd name="T27" fmla="*/ 2147483647 h 1055"/>
                <a:gd name="T28" fmla="*/ 2147483647 w 943"/>
                <a:gd name="T29" fmla="*/ 2147483647 h 1055"/>
                <a:gd name="T30" fmla="*/ 2147483647 w 943"/>
                <a:gd name="T31" fmla="*/ 2147483647 h 1055"/>
                <a:gd name="T32" fmla="*/ 2147483647 w 943"/>
                <a:gd name="T33" fmla="*/ 2147483647 h 1055"/>
                <a:gd name="T34" fmla="*/ 2147483647 w 943"/>
                <a:gd name="T35" fmla="*/ 2147483647 h 1055"/>
                <a:gd name="T36" fmla="*/ 2147483647 w 943"/>
                <a:gd name="T37" fmla="*/ 2147483647 h 1055"/>
                <a:gd name="T38" fmla="*/ 2147483647 w 943"/>
                <a:gd name="T39" fmla="*/ 2147483647 h 1055"/>
                <a:gd name="T40" fmla="*/ 2147483647 w 943"/>
                <a:gd name="T41" fmla="*/ 2147483647 h 1055"/>
                <a:gd name="T42" fmla="*/ 2147483647 w 943"/>
                <a:gd name="T43" fmla="*/ 2147483647 h 1055"/>
                <a:gd name="T44" fmla="*/ 2147483647 w 943"/>
                <a:gd name="T45" fmla="*/ 2147483647 h 1055"/>
                <a:gd name="T46" fmla="*/ 2147483647 w 943"/>
                <a:gd name="T47" fmla="*/ 2147483647 h 1055"/>
                <a:gd name="T48" fmla="*/ 2147483647 w 943"/>
                <a:gd name="T49" fmla="*/ 2147483647 h 1055"/>
                <a:gd name="T50" fmla="*/ 2147483647 w 943"/>
                <a:gd name="T51" fmla="*/ 2147483647 h 1055"/>
                <a:gd name="T52" fmla="*/ 2147483647 w 943"/>
                <a:gd name="T53" fmla="*/ 2147483647 h 1055"/>
                <a:gd name="T54" fmla="*/ 2147483647 w 943"/>
                <a:gd name="T55" fmla="*/ 2147483647 h 1055"/>
                <a:gd name="T56" fmla="*/ 2147483647 w 943"/>
                <a:gd name="T57" fmla="*/ 2147483647 h 1055"/>
                <a:gd name="T58" fmla="*/ 2147483647 w 943"/>
                <a:gd name="T59" fmla="*/ 2147483647 h 1055"/>
                <a:gd name="T60" fmla="*/ 2147483647 w 943"/>
                <a:gd name="T61" fmla="*/ 2147483647 h 1055"/>
                <a:gd name="T62" fmla="*/ 2147483647 w 943"/>
                <a:gd name="T63" fmla="*/ 2147483647 h 1055"/>
                <a:gd name="T64" fmla="*/ 2147483647 w 943"/>
                <a:gd name="T65" fmla="*/ 2147483647 h 1055"/>
                <a:gd name="T66" fmla="*/ 2147483647 w 943"/>
                <a:gd name="T67" fmla="*/ 2147483647 h 1055"/>
                <a:gd name="T68" fmla="*/ 2147483647 w 943"/>
                <a:gd name="T69" fmla="*/ 2147483647 h 10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43"/>
                <a:gd name="T106" fmla="*/ 0 h 1055"/>
                <a:gd name="T107" fmla="*/ 943 w 943"/>
                <a:gd name="T108" fmla="*/ 1055 h 10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43" h="1055">
                  <a:moveTo>
                    <a:pt x="664" y="40"/>
                  </a:moveTo>
                  <a:lnTo>
                    <a:pt x="702" y="0"/>
                  </a:lnTo>
                  <a:lnTo>
                    <a:pt x="767" y="45"/>
                  </a:lnTo>
                  <a:lnTo>
                    <a:pt x="805" y="107"/>
                  </a:lnTo>
                  <a:lnTo>
                    <a:pt x="849" y="124"/>
                  </a:lnTo>
                  <a:lnTo>
                    <a:pt x="903" y="175"/>
                  </a:lnTo>
                  <a:lnTo>
                    <a:pt x="943" y="235"/>
                  </a:lnTo>
                  <a:lnTo>
                    <a:pt x="903" y="226"/>
                  </a:lnTo>
                  <a:lnTo>
                    <a:pt x="843" y="249"/>
                  </a:lnTo>
                  <a:lnTo>
                    <a:pt x="805" y="277"/>
                  </a:lnTo>
                  <a:lnTo>
                    <a:pt x="789" y="333"/>
                  </a:lnTo>
                  <a:lnTo>
                    <a:pt x="740" y="305"/>
                  </a:lnTo>
                  <a:lnTo>
                    <a:pt x="697" y="277"/>
                  </a:lnTo>
                  <a:lnTo>
                    <a:pt x="675" y="300"/>
                  </a:lnTo>
                  <a:lnTo>
                    <a:pt x="631" y="288"/>
                  </a:lnTo>
                  <a:lnTo>
                    <a:pt x="626" y="311"/>
                  </a:lnTo>
                  <a:lnTo>
                    <a:pt x="671" y="348"/>
                  </a:lnTo>
                  <a:lnTo>
                    <a:pt x="631" y="384"/>
                  </a:lnTo>
                  <a:lnTo>
                    <a:pt x="669" y="418"/>
                  </a:lnTo>
                  <a:lnTo>
                    <a:pt x="697" y="469"/>
                  </a:lnTo>
                  <a:lnTo>
                    <a:pt x="712" y="503"/>
                  </a:lnTo>
                  <a:lnTo>
                    <a:pt x="708" y="593"/>
                  </a:lnTo>
                  <a:lnTo>
                    <a:pt x="686" y="667"/>
                  </a:lnTo>
                  <a:lnTo>
                    <a:pt x="642" y="684"/>
                  </a:lnTo>
                  <a:lnTo>
                    <a:pt x="644" y="744"/>
                  </a:lnTo>
                  <a:lnTo>
                    <a:pt x="644" y="801"/>
                  </a:lnTo>
                  <a:lnTo>
                    <a:pt x="621" y="887"/>
                  </a:lnTo>
                  <a:lnTo>
                    <a:pt x="588" y="938"/>
                  </a:lnTo>
                  <a:lnTo>
                    <a:pt x="535" y="928"/>
                  </a:lnTo>
                  <a:lnTo>
                    <a:pt x="485" y="972"/>
                  </a:lnTo>
                  <a:lnTo>
                    <a:pt x="430" y="955"/>
                  </a:lnTo>
                  <a:lnTo>
                    <a:pt x="381" y="944"/>
                  </a:lnTo>
                  <a:lnTo>
                    <a:pt x="365" y="983"/>
                  </a:lnTo>
                  <a:lnTo>
                    <a:pt x="339" y="1009"/>
                  </a:lnTo>
                  <a:lnTo>
                    <a:pt x="314" y="1040"/>
                  </a:lnTo>
                  <a:lnTo>
                    <a:pt x="291" y="1055"/>
                  </a:lnTo>
                  <a:lnTo>
                    <a:pt x="251" y="1006"/>
                  </a:lnTo>
                  <a:lnTo>
                    <a:pt x="267" y="961"/>
                  </a:lnTo>
                  <a:lnTo>
                    <a:pt x="229" y="972"/>
                  </a:lnTo>
                  <a:lnTo>
                    <a:pt x="159" y="978"/>
                  </a:lnTo>
                  <a:lnTo>
                    <a:pt x="88" y="978"/>
                  </a:lnTo>
                  <a:lnTo>
                    <a:pt x="36" y="1015"/>
                  </a:lnTo>
                  <a:lnTo>
                    <a:pt x="0" y="988"/>
                  </a:lnTo>
                  <a:lnTo>
                    <a:pt x="45" y="950"/>
                  </a:lnTo>
                  <a:lnTo>
                    <a:pt x="99" y="910"/>
                  </a:lnTo>
                  <a:lnTo>
                    <a:pt x="191" y="882"/>
                  </a:lnTo>
                  <a:lnTo>
                    <a:pt x="236" y="887"/>
                  </a:lnTo>
                  <a:lnTo>
                    <a:pt x="281" y="905"/>
                  </a:lnTo>
                  <a:lnTo>
                    <a:pt x="322" y="882"/>
                  </a:lnTo>
                  <a:lnTo>
                    <a:pt x="327" y="836"/>
                  </a:lnTo>
                  <a:lnTo>
                    <a:pt x="360" y="797"/>
                  </a:lnTo>
                  <a:lnTo>
                    <a:pt x="371" y="757"/>
                  </a:lnTo>
                  <a:lnTo>
                    <a:pt x="392" y="729"/>
                  </a:lnTo>
                  <a:lnTo>
                    <a:pt x="414" y="780"/>
                  </a:lnTo>
                  <a:lnTo>
                    <a:pt x="479" y="746"/>
                  </a:lnTo>
                  <a:lnTo>
                    <a:pt x="512" y="684"/>
                  </a:lnTo>
                  <a:lnTo>
                    <a:pt x="528" y="639"/>
                  </a:lnTo>
                  <a:lnTo>
                    <a:pt x="555" y="599"/>
                  </a:lnTo>
                  <a:lnTo>
                    <a:pt x="572" y="554"/>
                  </a:lnTo>
                  <a:lnTo>
                    <a:pt x="563" y="489"/>
                  </a:lnTo>
                  <a:lnTo>
                    <a:pt x="555" y="458"/>
                  </a:lnTo>
                  <a:lnTo>
                    <a:pt x="593" y="430"/>
                  </a:lnTo>
                  <a:lnTo>
                    <a:pt x="576" y="376"/>
                  </a:lnTo>
                  <a:lnTo>
                    <a:pt x="566" y="328"/>
                  </a:lnTo>
                  <a:lnTo>
                    <a:pt x="599" y="294"/>
                  </a:lnTo>
                  <a:lnTo>
                    <a:pt x="603" y="221"/>
                  </a:lnTo>
                  <a:lnTo>
                    <a:pt x="648" y="203"/>
                  </a:lnTo>
                  <a:lnTo>
                    <a:pt x="680" y="147"/>
                  </a:lnTo>
                  <a:lnTo>
                    <a:pt x="696" y="103"/>
                  </a:lnTo>
                  <a:lnTo>
                    <a:pt x="664" y="4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6" name="Freeform 98">
              <a:extLst>
                <a:ext uri="{FF2B5EF4-FFF2-40B4-BE49-F238E27FC236}">
                  <a16:creationId xmlns:a16="http://schemas.microsoft.com/office/drawing/2014/main" id="{2BE157C6-310A-35A6-74CB-828332F08201}"/>
                </a:ext>
              </a:extLst>
            </p:cNvPr>
            <p:cNvSpPr>
              <a:spLocks/>
            </p:cNvSpPr>
            <p:nvPr/>
          </p:nvSpPr>
          <p:spPr bwMode="auto">
            <a:xfrm>
              <a:off x="7792093" y="3177556"/>
              <a:ext cx="53785" cy="85276"/>
            </a:xfrm>
            <a:custGeom>
              <a:avLst/>
              <a:gdLst>
                <a:gd name="T0" fmla="*/ 2147483647 w 317"/>
                <a:gd name="T1" fmla="*/ 2147483647 h 456"/>
                <a:gd name="T2" fmla="*/ 2147483647 w 317"/>
                <a:gd name="T3" fmla="*/ 2147483647 h 456"/>
                <a:gd name="T4" fmla="*/ 2147483647 w 317"/>
                <a:gd name="T5" fmla="*/ 2147483647 h 456"/>
                <a:gd name="T6" fmla="*/ 2147483647 w 317"/>
                <a:gd name="T7" fmla="*/ 2147483647 h 456"/>
                <a:gd name="T8" fmla="*/ 2147483647 w 317"/>
                <a:gd name="T9" fmla="*/ 2147483647 h 456"/>
                <a:gd name="T10" fmla="*/ 2147483647 w 317"/>
                <a:gd name="T11" fmla="*/ 2147483647 h 456"/>
                <a:gd name="T12" fmla="*/ 2147483647 w 317"/>
                <a:gd name="T13" fmla="*/ 2147483647 h 456"/>
                <a:gd name="T14" fmla="*/ 2147483647 w 317"/>
                <a:gd name="T15" fmla="*/ 0 h 456"/>
                <a:gd name="T16" fmla="*/ 2147483647 w 317"/>
                <a:gd name="T17" fmla="*/ 2147483647 h 456"/>
                <a:gd name="T18" fmla="*/ 0 w 317"/>
                <a:gd name="T19" fmla="*/ 2147483647 h 456"/>
                <a:gd name="T20" fmla="*/ 2147483647 w 317"/>
                <a:gd name="T21" fmla="*/ 2147483647 h 456"/>
                <a:gd name="T22" fmla="*/ 0 w 317"/>
                <a:gd name="T23" fmla="*/ 2147483647 h 456"/>
                <a:gd name="T24" fmla="*/ 2147483647 w 317"/>
                <a:gd name="T25" fmla="*/ 2147483647 h 456"/>
                <a:gd name="T26" fmla="*/ 2147483647 w 317"/>
                <a:gd name="T27" fmla="*/ 2147483647 h 456"/>
                <a:gd name="T28" fmla="*/ 2147483647 w 317"/>
                <a:gd name="T29" fmla="*/ 2147483647 h 456"/>
                <a:gd name="T30" fmla="*/ 2147483647 w 317"/>
                <a:gd name="T31" fmla="*/ 2147483647 h 4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17"/>
                <a:gd name="T49" fmla="*/ 0 h 456"/>
                <a:gd name="T50" fmla="*/ 317 w 317"/>
                <a:gd name="T51" fmla="*/ 456 h 4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17" h="456">
                  <a:moveTo>
                    <a:pt x="177" y="456"/>
                  </a:moveTo>
                  <a:lnTo>
                    <a:pt x="257" y="432"/>
                  </a:lnTo>
                  <a:lnTo>
                    <a:pt x="281" y="344"/>
                  </a:lnTo>
                  <a:lnTo>
                    <a:pt x="317" y="240"/>
                  </a:lnTo>
                  <a:lnTo>
                    <a:pt x="313" y="152"/>
                  </a:lnTo>
                  <a:lnTo>
                    <a:pt x="272" y="58"/>
                  </a:lnTo>
                  <a:lnTo>
                    <a:pt x="201" y="40"/>
                  </a:lnTo>
                  <a:lnTo>
                    <a:pt x="145" y="0"/>
                  </a:lnTo>
                  <a:lnTo>
                    <a:pt x="73" y="40"/>
                  </a:lnTo>
                  <a:lnTo>
                    <a:pt x="0" y="58"/>
                  </a:lnTo>
                  <a:lnTo>
                    <a:pt x="33" y="128"/>
                  </a:lnTo>
                  <a:lnTo>
                    <a:pt x="0" y="194"/>
                  </a:lnTo>
                  <a:lnTo>
                    <a:pt x="90" y="194"/>
                  </a:lnTo>
                  <a:lnTo>
                    <a:pt x="137" y="296"/>
                  </a:lnTo>
                  <a:lnTo>
                    <a:pt x="97" y="400"/>
                  </a:lnTo>
                  <a:lnTo>
                    <a:pt x="177" y="45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7" name="Freeform 99">
              <a:extLst>
                <a:ext uri="{FF2B5EF4-FFF2-40B4-BE49-F238E27FC236}">
                  <a16:creationId xmlns:a16="http://schemas.microsoft.com/office/drawing/2014/main" id="{302A2444-B14E-B31B-D52C-61FA225E3737}"/>
                </a:ext>
              </a:extLst>
            </p:cNvPr>
            <p:cNvSpPr>
              <a:spLocks/>
            </p:cNvSpPr>
            <p:nvPr/>
          </p:nvSpPr>
          <p:spPr bwMode="auto">
            <a:xfrm>
              <a:off x="7866047" y="3168339"/>
              <a:ext cx="58265" cy="53008"/>
            </a:xfrm>
            <a:custGeom>
              <a:avLst/>
              <a:gdLst>
                <a:gd name="T0" fmla="*/ 2147483647 w 317"/>
                <a:gd name="T1" fmla="*/ 2147483647 h 272"/>
                <a:gd name="T2" fmla="*/ 2147483647 w 317"/>
                <a:gd name="T3" fmla="*/ 2147483647 h 272"/>
                <a:gd name="T4" fmla="*/ 2147483647 w 317"/>
                <a:gd name="T5" fmla="*/ 2147483647 h 272"/>
                <a:gd name="T6" fmla="*/ 2147483647 w 317"/>
                <a:gd name="T7" fmla="*/ 2147483647 h 272"/>
                <a:gd name="T8" fmla="*/ 2147483647 w 317"/>
                <a:gd name="T9" fmla="*/ 2147483647 h 272"/>
                <a:gd name="T10" fmla="*/ 2147483647 w 317"/>
                <a:gd name="T11" fmla="*/ 2147483647 h 272"/>
                <a:gd name="T12" fmla="*/ 2147483647 w 317"/>
                <a:gd name="T13" fmla="*/ 2147483647 h 272"/>
                <a:gd name="T14" fmla="*/ 2147483647 w 317"/>
                <a:gd name="T15" fmla="*/ 0 h 272"/>
                <a:gd name="T16" fmla="*/ 2147483647 w 317"/>
                <a:gd name="T17" fmla="*/ 2147483647 h 272"/>
                <a:gd name="T18" fmla="*/ 2147483647 w 317"/>
                <a:gd name="T19" fmla="*/ 2147483647 h 272"/>
                <a:gd name="T20" fmla="*/ 0 w 317"/>
                <a:gd name="T21" fmla="*/ 2147483647 h 272"/>
                <a:gd name="T22" fmla="*/ 2147483647 w 317"/>
                <a:gd name="T23" fmla="*/ 2147483647 h 272"/>
                <a:gd name="T24" fmla="*/ 0 w 317"/>
                <a:gd name="T25" fmla="*/ 2147483647 h 272"/>
                <a:gd name="T26" fmla="*/ 2147483647 w 317"/>
                <a:gd name="T27" fmla="*/ 2147483647 h 272"/>
                <a:gd name="T28" fmla="*/ 2147483647 w 317"/>
                <a:gd name="T29" fmla="*/ 2147483647 h 2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
                <a:gd name="T46" fmla="*/ 0 h 272"/>
                <a:gd name="T47" fmla="*/ 317 w 317"/>
                <a:gd name="T48" fmla="*/ 272 h 2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 h="272">
                  <a:moveTo>
                    <a:pt x="136" y="272"/>
                  </a:moveTo>
                  <a:lnTo>
                    <a:pt x="136" y="226"/>
                  </a:lnTo>
                  <a:lnTo>
                    <a:pt x="136" y="136"/>
                  </a:lnTo>
                  <a:lnTo>
                    <a:pt x="230" y="144"/>
                  </a:lnTo>
                  <a:lnTo>
                    <a:pt x="286" y="136"/>
                  </a:lnTo>
                  <a:lnTo>
                    <a:pt x="317" y="45"/>
                  </a:lnTo>
                  <a:lnTo>
                    <a:pt x="262" y="16"/>
                  </a:lnTo>
                  <a:lnTo>
                    <a:pt x="181" y="0"/>
                  </a:lnTo>
                  <a:lnTo>
                    <a:pt x="126" y="48"/>
                  </a:lnTo>
                  <a:lnTo>
                    <a:pt x="54" y="32"/>
                  </a:lnTo>
                  <a:lnTo>
                    <a:pt x="0" y="90"/>
                  </a:lnTo>
                  <a:lnTo>
                    <a:pt x="38" y="144"/>
                  </a:lnTo>
                  <a:lnTo>
                    <a:pt x="0" y="226"/>
                  </a:lnTo>
                  <a:lnTo>
                    <a:pt x="45" y="272"/>
                  </a:lnTo>
                  <a:lnTo>
                    <a:pt x="136" y="27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8" name="Freeform 100">
              <a:extLst>
                <a:ext uri="{FF2B5EF4-FFF2-40B4-BE49-F238E27FC236}">
                  <a16:creationId xmlns:a16="http://schemas.microsoft.com/office/drawing/2014/main" id="{7BF4EDCC-E3B4-16DA-25D7-DE9630C2992F}"/>
                </a:ext>
              </a:extLst>
            </p:cNvPr>
            <p:cNvSpPr>
              <a:spLocks/>
            </p:cNvSpPr>
            <p:nvPr/>
          </p:nvSpPr>
          <p:spPr bwMode="auto">
            <a:xfrm>
              <a:off x="5772944" y="856657"/>
              <a:ext cx="481817" cy="622287"/>
            </a:xfrm>
            <a:custGeom>
              <a:avLst/>
              <a:gdLst>
                <a:gd name="T0" fmla="*/ 2147483647 w 1252"/>
                <a:gd name="T1" fmla="*/ 2147483647 h 1584"/>
                <a:gd name="T2" fmla="*/ 2147483647 w 1252"/>
                <a:gd name="T3" fmla="*/ 2147483647 h 1584"/>
                <a:gd name="T4" fmla="*/ 2147483647 w 1252"/>
                <a:gd name="T5" fmla="*/ 2147483647 h 1584"/>
                <a:gd name="T6" fmla="*/ 2147483647 w 1252"/>
                <a:gd name="T7" fmla="*/ 2147483647 h 1584"/>
                <a:gd name="T8" fmla="*/ 2147483647 w 1252"/>
                <a:gd name="T9" fmla="*/ 2147483647 h 1584"/>
                <a:gd name="T10" fmla="*/ 2147483647 w 1252"/>
                <a:gd name="T11" fmla="*/ 2147483647 h 1584"/>
                <a:gd name="T12" fmla="*/ 2147483647 w 1252"/>
                <a:gd name="T13" fmla="*/ 2147483647 h 1584"/>
                <a:gd name="T14" fmla="*/ 2147483647 w 1252"/>
                <a:gd name="T15" fmla="*/ 2147483647 h 1584"/>
                <a:gd name="T16" fmla="*/ 2147483647 w 1252"/>
                <a:gd name="T17" fmla="*/ 2147483647 h 1584"/>
                <a:gd name="T18" fmla="*/ 2147483647 w 1252"/>
                <a:gd name="T19" fmla="*/ 2147483647 h 1584"/>
                <a:gd name="T20" fmla="*/ 2147483647 w 1252"/>
                <a:gd name="T21" fmla="*/ 2147483647 h 1584"/>
                <a:gd name="T22" fmla="*/ 2147483647 w 1252"/>
                <a:gd name="T23" fmla="*/ 2147483647 h 1584"/>
                <a:gd name="T24" fmla="*/ 2147483647 w 1252"/>
                <a:gd name="T25" fmla="*/ 2147483647 h 1584"/>
                <a:gd name="T26" fmla="*/ 2147483647 w 1252"/>
                <a:gd name="T27" fmla="*/ 2147483647 h 1584"/>
                <a:gd name="T28" fmla="*/ 2147483647 w 1252"/>
                <a:gd name="T29" fmla="*/ 2147483647 h 1584"/>
                <a:gd name="T30" fmla="*/ 2147483647 w 1252"/>
                <a:gd name="T31" fmla="*/ 2147483647 h 1584"/>
                <a:gd name="T32" fmla="*/ 2147483647 w 1252"/>
                <a:gd name="T33" fmla="*/ 2147483647 h 1584"/>
                <a:gd name="T34" fmla="*/ 2147483647 w 1252"/>
                <a:gd name="T35" fmla="*/ 2147483647 h 1584"/>
                <a:gd name="T36" fmla="*/ 2147483647 w 1252"/>
                <a:gd name="T37" fmla="*/ 2147483647 h 1584"/>
                <a:gd name="T38" fmla="*/ 0 w 1252"/>
                <a:gd name="T39" fmla="*/ 2147483647 h 1584"/>
                <a:gd name="T40" fmla="*/ 2147483647 w 1252"/>
                <a:gd name="T41" fmla="*/ 2147483647 h 1584"/>
                <a:gd name="T42" fmla="*/ 2147483647 w 1252"/>
                <a:gd name="T43" fmla="*/ 2147483647 h 1584"/>
                <a:gd name="T44" fmla="*/ 2147483647 w 1252"/>
                <a:gd name="T45" fmla="*/ 2147483647 h 1584"/>
                <a:gd name="T46" fmla="*/ 2147483647 w 1252"/>
                <a:gd name="T47" fmla="*/ 2147483647 h 1584"/>
                <a:gd name="T48" fmla="*/ 2147483647 w 1252"/>
                <a:gd name="T49" fmla="*/ 2147483647 h 1584"/>
                <a:gd name="T50" fmla="*/ 2147483647 w 1252"/>
                <a:gd name="T51" fmla="*/ 2147483647 h 1584"/>
                <a:gd name="T52" fmla="*/ 2147483647 w 1252"/>
                <a:gd name="T53" fmla="*/ 2147483647 h 1584"/>
                <a:gd name="T54" fmla="*/ 2147483647 w 1252"/>
                <a:gd name="T55" fmla="*/ 2147483647 h 1584"/>
                <a:gd name="T56" fmla="*/ 2147483647 w 1252"/>
                <a:gd name="T57" fmla="*/ 2147483647 h 1584"/>
                <a:gd name="T58" fmla="*/ 2147483647 w 1252"/>
                <a:gd name="T59" fmla="*/ 2147483647 h 1584"/>
                <a:gd name="T60" fmla="*/ 2147483647 w 1252"/>
                <a:gd name="T61" fmla="*/ 2147483647 h 1584"/>
                <a:gd name="T62" fmla="*/ 2147483647 w 1252"/>
                <a:gd name="T63" fmla="*/ 2147483647 h 1584"/>
                <a:gd name="T64" fmla="*/ 2147483647 w 1252"/>
                <a:gd name="T65" fmla="*/ 2147483647 h 1584"/>
                <a:gd name="T66" fmla="*/ 2147483647 w 1252"/>
                <a:gd name="T67" fmla="*/ 2147483647 h 1584"/>
                <a:gd name="T68" fmla="*/ 2147483647 w 1252"/>
                <a:gd name="T69" fmla="*/ 2147483647 h 1584"/>
                <a:gd name="T70" fmla="*/ 2147483647 w 1252"/>
                <a:gd name="T71" fmla="*/ 2147483647 h 1584"/>
                <a:gd name="T72" fmla="*/ 2147483647 w 1252"/>
                <a:gd name="T73" fmla="*/ 2147483647 h 1584"/>
                <a:gd name="T74" fmla="*/ 2147483647 w 1252"/>
                <a:gd name="T75" fmla="*/ 2147483647 h 1584"/>
                <a:gd name="T76" fmla="*/ 2147483647 w 1252"/>
                <a:gd name="T77" fmla="*/ 2147483647 h 1584"/>
                <a:gd name="T78" fmla="*/ 2147483647 w 1252"/>
                <a:gd name="T79" fmla="*/ 2147483647 h 1584"/>
                <a:gd name="T80" fmla="*/ 2147483647 w 1252"/>
                <a:gd name="T81" fmla="*/ 2147483647 h 1584"/>
                <a:gd name="T82" fmla="*/ 2147483647 w 1252"/>
                <a:gd name="T83" fmla="*/ 0 h 1584"/>
                <a:gd name="T84" fmla="*/ 2147483647 w 1252"/>
                <a:gd name="T85" fmla="*/ 2147483647 h 1584"/>
                <a:gd name="T86" fmla="*/ 2147483647 w 1252"/>
                <a:gd name="T87" fmla="*/ 2147483647 h 1584"/>
                <a:gd name="T88" fmla="*/ 2147483647 w 1252"/>
                <a:gd name="T89" fmla="*/ 2147483647 h 1584"/>
                <a:gd name="T90" fmla="*/ 2147483647 w 1252"/>
                <a:gd name="T91" fmla="*/ 2147483647 h 1584"/>
                <a:gd name="T92" fmla="*/ 2147483647 w 1252"/>
                <a:gd name="T93" fmla="*/ 2147483647 h 15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52"/>
                <a:gd name="T142" fmla="*/ 0 h 1584"/>
                <a:gd name="T143" fmla="*/ 1252 w 1252"/>
                <a:gd name="T144" fmla="*/ 1584 h 15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52" h="1584">
                  <a:moveTo>
                    <a:pt x="1191" y="216"/>
                  </a:moveTo>
                  <a:lnTo>
                    <a:pt x="1057" y="300"/>
                  </a:lnTo>
                  <a:lnTo>
                    <a:pt x="883" y="391"/>
                  </a:lnTo>
                  <a:lnTo>
                    <a:pt x="797" y="460"/>
                  </a:lnTo>
                  <a:lnTo>
                    <a:pt x="683" y="511"/>
                  </a:lnTo>
                  <a:lnTo>
                    <a:pt x="655" y="634"/>
                  </a:lnTo>
                  <a:lnTo>
                    <a:pt x="569" y="666"/>
                  </a:lnTo>
                  <a:lnTo>
                    <a:pt x="491" y="818"/>
                  </a:lnTo>
                  <a:lnTo>
                    <a:pt x="448" y="944"/>
                  </a:lnTo>
                  <a:lnTo>
                    <a:pt x="370" y="1039"/>
                  </a:lnTo>
                  <a:lnTo>
                    <a:pt x="327" y="1164"/>
                  </a:lnTo>
                  <a:lnTo>
                    <a:pt x="341" y="1341"/>
                  </a:lnTo>
                  <a:lnTo>
                    <a:pt x="391" y="1429"/>
                  </a:lnTo>
                  <a:lnTo>
                    <a:pt x="491" y="1503"/>
                  </a:lnTo>
                  <a:lnTo>
                    <a:pt x="427" y="1584"/>
                  </a:lnTo>
                  <a:lnTo>
                    <a:pt x="334" y="1540"/>
                  </a:lnTo>
                  <a:lnTo>
                    <a:pt x="220" y="1540"/>
                  </a:lnTo>
                  <a:lnTo>
                    <a:pt x="156" y="1451"/>
                  </a:lnTo>
                  <a:lnTo>
                    <a:pt x="99" y="1378"/>
                  </a:lnTo>
                  <a:lnTo>
                    <a:pt x="0" y="1301"/>
                  </a:lnTo>
                  <a:lnTo>
                    <a:pt x="93" y="1243"/>
                  </a:lnTo>
                  <a:lnTo>
                    <a:pt x="135" y="1224"/>
                  </a:lnTo>
                  <a:lnTo>
                    <a:pt x="154" y="1150"/>
                  </a:lnTo>
                  <a:lnTo>
                    <a:pt x="121" y="1080"/>
                  </a:lnTo>
                  <a:lnTo>
                    <a:pt x="171" y="1045"/>
                  </a:lnTo>
                  <a:lnTo>
                    <a:pt x="192" y="967"/>
                  </a:lnTo>
                  <a:lnTo>
                    <a:pt x="263" y="909"/>
                  </a:lnTo>
                  <a:lnTo>
                    <a:pt x="216" y="864"/>
                  </a:lnTo>
                  <a:lnTo>
                    <a:pt x="241" y="798"/>
                  </a:lnTo>
                  <a:lnTo>
                    <a:pt x="306" y="739"/>
                  </a:lnTo>
                  <a:lnTo>
                    <a:pt x="342" y="660"/>
                  </a:lnTo>
                  <a:lnTo>
                    <a:pt x="334" y="577"/>
                  </a:lnTo>
                  <a:lnTo>
                    <a:pt x="327" y="518"/>
                  </a:lnTo>
                  <a:lnTo>
                    <a:pt x="412" y="430"/>
                  </a:lnTo>
                  <a:lnTo>
                    <a:pt x="499" y="397"/>
                  </a:lnTo>
                  <a:lnTo>
                    <a:pt x="568" y="319"/>
                  </a:lnTo>
                  <a:lnTo>
                    <a:pt x="705" y="234"/>
                  </a:lnTo>
                  <a:lnTo>
                    <a:pt x="747" y="186"/>
                  </a:lnTo>
                  <a:lnTo>
                    <a:pt x="808" y="234"/>
                  </a:lnTo>
                  <a:lnTo>
                    <a:pt x="933" y="172"/>
                  </a:lnTo>
                  <a:lnTo>
                    <a:pt x="1018" y="127"/>
                  </a:lnTo>
                  <a:lnTo>
                    <a:pt x="1131" y="0"/>
                  </a:lnTo>
                  <a:lnTo>
                    <a:pt x="1211" y="3"/>
                  </a:lnTo>
                  <a:lnTo>
                    <a:pt x="1252" y="48"/>
                  </a:lnTo>
                  <a:lnTo>
                    <a:pt x="1248" y="108"/>
                  </a:lnTo>
                  <a:lnTo>
                    <a:pt x="1228" y="159"/>
                  </a:lnTo>
                  <a:lnTo>
                    <a:pt x="1191" y="21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09" name="Freeform 101">
              <a:extLst>
                <a:ext uri="{FF2B5EF4-FFF2-40B4-BE49-F238E27FC236}">
                  <a16:creationId xmlns:a16="http://schemas.microsoft.com/office/drawing/2014/main" id="{1C623DF1-A307-966D-2A15-59D002ECAA4A}"/>
                </a:ext>
              </a:extLst>
            </p:cNvPr>
            <p:cNvSpPr>
              <a:spLocks/>
            </p:cNvSpPr>
            <p:nvPr/>
          </p:nvSpPr>
          <p:spPr bwMode="auto">
            <a:xfrm>
              <a:off x="5028929" y="1506601"/>
              <a:ext cx="259957" cy="643029"/>
            </a:xfrm>
            <a:custGeom>
              <a:avLst/>
              <a:gdLst>
                <a:gd name="T0" fmla="*/ 2147483647 w 681"/>
                <a:gd name="T1" fmla="*/ 2147483647 h 1634"/>
                <a:gd name="T2" fmla="*/ 2147483647 w 681"/>
                <a:gd name="T3" fmla="*/ 2147483647 h 1634"/>
                <a:gd name="T4" fmla="*/ 2147483647 w 681"/>
                <a:gd name="T5" fmla="*/ 2147483647 h 1634"/>
                <a:gd name="T6" fmla="*/ 2147483647 w 681"/>
                <a:gd name="T7" fmla="*/ 2147483647 h 1634"/>
                <a:gd name="T8" fmla="*/ 2147483647 w 681"/>
                <a:gd name="T9" fmla="*/ 2147483647 h 1634"/>
                <a:gd name="T10" fmla="*/ 2147483647 w 681"/>
                <a:gd name="T11" fmla="*/ 2147483647 h 1634"/>
                <a:gd name="T12" fmla="*/ 2147483647 w 681"/>
                <a:gd name="T13" fmla="*/ 2147483647 h 1634"/>
                <a:gd name="T14" fmla="*/ 2147483647 w 681"/>
                <a:gd name="T15" fmla="*/ 2147483647 h 1634"/>
                <a:gd name="T16" fmla="*/ 2147483647 w 681"/>
                <a:gd name="T17" fmla="*/ 2147483647 h 1634"/>
                <a:gd name="T18" fmla="*/ 2147483647 w 681"/>
                <a:gd name="T19" fmla="*/ 2147483647 h 1634"/>
                <a:gd name="T20" fmla="*/ 2147483647 w 681"/>
                <a:gd name="T21" fmla="*/ 2147483647 h 1634"/>
                <a:gd name="T22" fmla="*/ 2147483647 w 681"/>
                <a:gd name="T23" fmla="*/ 2147483647 h 1634"/>
                <a:gd name="T24" fmla="*/ 2147483647 w 681"/>
                <a:gd name="T25" fmla="*/ 2147483647 h 1634"/>
                <a:gd name="T26" fmla="*/ 2147483647 w 681"/>
                <a:gd name="T27" fmla="*/ 2147483647 h 1634"/>
                <a:gd name="T28" fmla="*/ 2147483647 w 681"/>
                <a:gd name="T29" fmla="*/ 2147483647 h 1634"/>
                <a:gd name="T30" fmla="*/ 2147483647 w 681"/>
                <a:gd name="T31" fmla="*/ 2147483647 h 1634"/>
                <a:gd name="T32" fmla="*/ 2147483647 w 681"/>
                <a:gd name="T33" fmla="*/ 2147483647 h 1634"/>
                <a:gd name="T34" fmla="*/ 2147483647 w 681"/>
                <a:gd name="T35" fmla="*/ 2147483647 h 1634"/>
                <a:gd name="T36" fmla="*/ 2147483647 w 681"/>
                <a:gd name="T37" fmla="*/ 2147483647 h 1634"/>
                <a:gd name="T38" fmla="*/ 2147483647 w 681"/>
                <a:gd name="T39" fmla="*/ 2147483647 h 1634"/>
                <a:gd name="T40" fmla="*/ 2147483647 w 681"/>
                <a:gd name="T41" fmla="*/ 2147483647 h 1634"/>
                <a:gd name="T42" fmla="*/ 2147483647 w 681"/>
                <a:gd name="T43" fmla="*/ 2147483647 h 1634"/>
                <a:gd name="T44" fmla="*/ 2147483647 w 681"/>
                <a:gd name="T45" fmla="*/ 2147483647 h 1634"/>
                <a:gd name="T46" fmla="*/ 2147483647 w 681"/>
                <a:gd name="T47" fmla="*/ 2147483647 h 1634"/>
                <a:gd name="T48" fmla="*/ 2147483647 w 681"/>
                <a:gd name="T49" fmla="*/ 2147483647 h 1634"/>
                <a:gd name="T50" fmla="*/ 2147483647 w 681"/>
                <a:gd name="T51" fmla="*/ 2147483647 h 1634"/>
                <a:gd name="T52" fmla="*/ 2147483647 w 681"/>
                <a:gd name="T53" fmla="*/ 2147483647 h 1634"/>
                <a:gd name="T54" fmla="*/ 2147483647 w 681"/>
                <a:gd name="T55" fmla="*/ 2147483647 h 1634"/>
                <a:gd name="T56" fmla="*/ 2147483647 w 681"/>
                <a:gd name="T57" fmla="*/ 2147483647 h 1634"/>
                <a:gd name="T58" fmla="*/ 2147483647 w 681"/>
                <a:gd name="T59" fmla="*/ 2147483647 h 1634"/>
                <a:gd name="T60" fmla="*/ 2147483647 w 681"/>
                <a:gd name="T61" fmla="*/ 2147483647 h 1634"/>
                <a:gd name="T62" fmla="*/ 2147483647 w 681"/>
                <a:gd name="T63" fmla="*/ 2147483647 h 1634"/>
                <a:gd name="T64" fmla="*/ 2147483647 w 681"/>
                <a:gd name="T65" fmla="*/ 2147483647 h 1634"/>
                <a:gd name="T66" fmla="*/ 2147483647 w 681"/>
                <a:gd name="T67" fmla="*/ 2147483647 h 1634"/>
                <a:gd name="T68" fmla="*/ 2147483647 w 681"/>
                <a:gd name="T69" fmla="*/ 2147483647 h 1634"/>
                <a:gd name="T70" fmla="*/ 2147483647 w 681"/>
                <a:gd name="T71" fmla="*/ 0 h 1634"/>
                <a:gd name="T72" fmla="*/ 2147483647 w 681"/>
                <a:gd name="T73" fmla="*/ 2147483647 h 1634"/>
                <a:gd name="T74" fmla="*/ 2147483647 w 681"/>
                <a:gd name="T75" fmla="*/ 2147483647 h 1634"/>
                <a:gd name="T76" fmla="*/ 2147483647 w 681"/>
                <a:gd name="T77" fmla="*/ 2147483647 h 1634"/>
                <a:gd name="T78" fmla="*/ 2147483647 w 681"/>
                <a:gd name="T79" fmla="*/ 2147483647 h 163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1"/>
                <a:gd name="T121" fmla="*/ 0 h 1634"/>
                <a:gd name="T122" fmla="*/ 681 w 681"/>
                <a:gd name="T123" fmla="*/ 1634 h 163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1" h="1634">
                  <a:moveTo>
                    <a:pt x="248" y="280"/>
                  </a:moveTo>
                  <a:lnTo>
                    <a:pt x="210" y="245"/>
                  </a:lnTo>
                  <a:lnTo>
                    <a:pt x="179" y="238"/>
                  </a:lnTo>
                  <a:lnTo>
                    <a:pt x="138" y="260"/>
                  </a:lnTo>
                  <a:lnTo>
                    <a:pt x="95" y="316"/>
                  </a:lnTo>
                  <a:lnTo>
                    <a:pt x="138" y="356"/>
                  </a:lnTo>
                  <a:lnTo>
                    <a:pt x="179" y="404"/>
                  </a:lnTo>
                  <a:lnTo>
                    <a:pt x="183" y="437"/>
                  </a:lnTo>
                  <a:lnTo>
                    <a:pt x="186" y="475"/>
                  </a:lnTo>
                  <a:lnTo>
                    <a:pt x="198" y="521"/>
                  </a:lnTo>
                  <a:lnTo>
                    <a:pt x="218" y="575"/>
                  </a:lnTo>
                  <a:lnTo>
                    <a:pt x="221" y="622"/>
                  </a:lnTo>
                  <a:lnTo>
                    <a:pt x="216" y="656"/>
                  </a:lnTo>
                  <a:lnTo>
                    <a:pt x="194" y="677"/>
                  </a:lnTo>
                  <a:lnTo>
                    <a:pt x="192" y="715"/>
                  </a:lnTo>
                  <a:lnTo>
                    <a:pt x="194" y="779"/>
                  </a:lnTo>
                  <a:lnTo>
                    <a:pt x="225" y="791"/>
                  </a:lnTo>
                  <a:lnTo>
                    <a:pt x="264" y="812"/>
                  </a:lnTo>
                  <a:lnTo>
                    <a:pt x="288" y="851"/>
                  </a:lnTo>
                  <a:lnTo>
                    <a:pt x="301" y="881"/>
                  </a:lnTo>
                  <a:lnTo>
                    <a:pt x="261" y="909"/>
                  </a:lnTo>
                  <a:lnTo>
                    <a:pt x="251" y="949"/>
                  </a:lnTo>
                  <a:lnTo>
                    <a:pt x="219" y="979"/>
                  </a:lnTo>
                  <a:lnTo>
                    <a:pt x="170" y="1040"/>
                  </a:lnTo>
                  <a:lnTo>
                    <a:pt x="134" y="1099"/>
                  </a:lnTo>
                  <a:lnTo>
                    <a:pt x="104" y="1093"/>
                  </a:lnTo>
                  <a:lnTo>
                    <a:pt x="80" y="1115"/>
                  </a:lnTo>
                  <a:lnTo>
                    <a:pt x="83" y="1148"/>
                  </a:lnTo>
                  <a:lnTo>
                    <a:pt x="39" y="1175"/>
                  </a:lnTo>
                  <a:lnTo>
                    <a:pt x="9" y="1226"/>
                  </a:lnTo>
                  <a:lnTo>
                    <a:pt x="0" y="1301"/>
                  </a:lnTo>
                  <a:lnTo>
                    <a:pt x="24" y="1361"/>
                  </a:lnTo>
                  <a:lnTo>
                    <a:pt x="21" y="1397"/>
                  </a:lnTo>
                  <a:lnTo>
                    <a:pt x="15" y="1445"/>
                  </a:lnTo>
                  <a:lnTo>
                    <a:pt x="12" y="1484"/>
                  </a:lnTo>
                  <a:lnTo>
                    <a:pt x="18" y="1535"/>
                  </a:lnTo>
                  <a:lnTo>
                    <a:pt x="33" y="1565"/>
                  </a:lnTo>
                  <a:lnTo>
                    <a:pt x="63" y="1571"/>
                  </a:lnTo>
                  <a:lnTo>
                    <a:pt x="78" y="1598"/>
                  </a:lnTo>
                  <a:lnTo>
                    <a:pt x="105" y="1613"/>
                  </a:lnTo>
                  <a:lnTo>
                    <a:pt x="120" y="1628"/>
                  </a:lnTo>
                  <a:lnTo>
                    <a:pt x="150" y="1634"/>
                  </a:lnTo>
                  <a:lnTo>
                    <a:pt x="188" y="1625"/>
                  </a:lnTo>
                  <a:lnTo>
                    <a:pt x="235" y="1617"/>
                  </a:lnTo>
                  <a:lnTo>
                    <a:pt x="288" y="1617"/>
                  </a:lnTo>
                  <a:lnTo>
                    <a:pt x="329" y="1594"/>
                  </a:lnTo>
                  <a:lnTo>
                    <a:pt x="386" y="1587"/>
                  </a:lnTo>
                  <a:lnTo>
                    <a:pt x="425" y="1558"/>
                  </a:lnTo>
                  <a:lnTo>
                    <a:pt x="481" y="1558"/>
                  </a:lnTo>
                  <a:lnTo>
                    <a:pt x="507" y="1502"/>
                  </a:lnTo>
                  <a:lnTo>
                    <a:pt x="570" y="1406"/>
                  </a:lnTo>
                  <a:lnTo>
                    <a:pt x="612" y="1328"/>
                  </a:lnTo>
                  <a:lnTo>
                    <a:pt x="660" y="1274"/>
                  </a:lnTo>
                  <a:lnTo>
                    <a:pt x="681" y="1199"/>
                  </a:lnTo>
                  <a:lnTo>
                    <a:pt x="642" y="1154"/>
                  </a:lnTo>
                  <a:lnTo>
                    <a:pt x="606" y="1124"/>
                  </a:lnTo>
                  <a:lnTo>
                    <a:pt x="595" y="1092"/>
                  </a:lnTo>
                  <a:lnTo>
                    <a:pt x="624" y="1034"/>
                  </a:lnTo>
                  <a:lnTo>
                    <a:pt x="581" y="917"/>
                  </a:lnTo>
                  <a:lnTo>
                    <a:pt x="573" y="821"/>
                  </a:lnTo>
                  <a:lnTo>
                    <a:pt x="591" y="748"/>
                  </a:lnTo>
                  <a:lnTo>
                    <a:pt x="538" y="640"/>
                  </a:lnTo>
                  <a:lnTo>
                    <a:pt x="578" y="457"/>
                  </a:lnTo>
                  <a:lnTo>
                    <a:pt x="507" y="367"/>
                  </a:lnTo>
                  <a:lnTo>
                    <a:pt x="510" y="305"/>
                  </a:lnTo>
                  <a:lnTo>
                    <a:pt x="527" y="188"/>
                  </a:lnTo>
                  <a:lnTo>
                    <a:pt x="548" y="139"/>
                  </a:lnTo>
                  <a:lnTo>
                    <a:pt x="521" y="89"/>
                  </a:lnTo>
                  <a:lnTo>
                    <a:pt x="501" y="46"/>
                  </a:lnTo>
                  <a:lnTo>
                    <a:pt x="455" y="14"/>
                  </a:lnTo>
                  <a:lnTo>
                    <a:pt x="422" y="2"/>
                  </a:lnTo>
                  <a:lnTo>
                    <a:pt x="401" y="0"/>
                  </a:lnTo>
                  <a:lnTo>
                    <a:pt x="354" y="19"/>
                  </a:lnTo>
                  <a:lnTo>
                    <a:pt x="333" y="65"/>
                  </a:lnTo>
                  <a:lnTo>
                    <a:pt x="333" y="109"/>
                  </a:lnTo>
                  <a:lnTo>
                    <a:pt x="323" y="136"/>
                  </a:lnTo>
                  <a:lnTo>
                    <a:pt x="309" y="170"/>
                  </a:lnTo>
                  <a:lnTo>
                    <a:pt x="308" y="191"/>
                  </a:lnTo>
                  <a:lnTo>
                    <a:pt x="279" y="235"/>
                  </a:lnTo>
                  <a:lnTo>
                    <a:pt x="248" y="28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0" name="Freeform 102">
              <a:extLst>
                <a:ext uri="{FF2B5EF4-FFF2-40B4-BE49-F238E27FC236}">
                  <a16:creationId xmlns:a16="http://schemas.microsoft.com/office/drawing/2014/main" id="{0E78B87C-A2CA-7C18-7AA4-C02499D5A2EC}"/>
                </a:ext>
              </a:extLst>
            </p:cNvPr>
            <p:cNvSpPr>
              <a:spLocks/>
            </p:cNvSpPr>
            <p:nvPr/>
          </p:nvSpPr>
          <p:spPr bwMode="auto">
            <a:xfrm>
              <a:off x="4768972" y="1566526"/>
              <a:ext cx="345115" cy="815887"/>
            </a:xfrm>
            <a:custGeom>
              <a:avLst/>
              <a:gdLst>
                <a:gd name="T0" fmla="*/ 2147483647 w 899"/>
                <a:gd name="T1" fmla="*/ 2147483647 h 2074"/>
                <a:gd name="T2" fmla="*/ 2147483647 w 899"/>
                <a:gd name="T3" fmla="*/ 2147483647 h 2074"/>
                <a:gd name="T4" fmla="*/ 2147483647 w 899"/>
                <a:gd name="T5" fmla="*/ 2147483647 h 2074"/>
                <a:gd name="T6" fmla="*/ 2147483647 w 899"/>
                <a:gd name="T7" fmla="*/ 2147483647 h 2074"/>
                <a:gd name="T8" fmla="*/ 2147483647 w 899"/>
                <a:gd name="T9" fmla="*/ 2147483647 h 2074"/>
                <a:gd name="T10" fmla="*/ 2147483647 w 899"/>
                <a:gd name="T11" fmla="*/ 2147483647 h 2074"/>
                <a:gd name="T12" fmla="*/ 2147483647 w 899"/>
                <a:gd name="T13" fmla="*/ 2147483647 h 2074"/>
                <a:gd name="T14" fmla="*/ 2147483647 w 899"/>
                <a:gd name="T15" fmla="*/ 2147483647 h 2074"/>
                <a:gd name="T16" fmla="*/ 2147483647 w 899"/>
                <a:gd name="T17" fmla="*/ 2147483647 h 2074"/>
                <a:gd name="T18" fmla="*/ 2147483647 w 899"/>
                <a:gd name="T19" fmla="*/ 2147483647 h 2074"/>
                <a:gd name="T20" fmla="*/ 2147483647 w 899"/>
                <a:gd name="T21" fmla="*/ 2147483647 h 2074"/>
                <a:gd name="T22" fmla="*/ 2147483647 w 899"/>
                <a:gd name="T23" fmla="*/ 2147483647 h 2074"/>
                <a:gd name="T24" fmla="*/ 2147483647 w 899"/>
                <a:gd name="T25" fmla="*/ 2147483647 h 2074"/>
                <a:gd name="T26" fmla="*/ 2147483647 w 899"/>
                <a:gd name="T27" fmla="*/ 2147483647 h 2074"/>
                <a:gd name="T28" fmla="*/ 2147483647 w 899"/>
                <a:gd name="T29" fmla="*/ 2147483647 h 2074"/>
                <a:gd name="T30" fmla="*/ 2147483647 w 899"/>
                <a:gd name="T31" fmla="*/ 2147483647 h 2074"/>
                <a:gd name="T32" fmla="*/ 2147483647 w 899"/>
                <a:gd name="T33" fmla="*/ 2147483647 h 2074"/>
                <a:gd name="T34" fmla="*/ 2147483647 w 899"/>
                <a:gd name="T35" fmla="*/ 2147483647 h 2074"/>
                <a:gd name="T36" fmla="*/ 2147483647 w 899"/>
                <a:gd name="T37" fmla="*/ 2147483647 h 2074"/>
                <a:gd name="T38" fmla="*/ 2147483647 w 899"/>
                <a:gd name="T39" fmla="*/ 2147483647 h 2074"/>
                <a:gd name="T40" fmla="*/ 2147483647 w 899"/>
                <a:gd name="T41" fmla="*/ 2147483647 h 2074"/>
                <a:gd name="T42" fmla="*/ 2147483647 w 899"/>
                <a:gd name="T43" fmla="*/ 2147483647 h 2074"/>
                <a:gd name="T44" fmla="*/ 2147483647 w 899"/>
                <a:gd name="T45" fmla="*/ 2147483647 h 2074"/>
                <a:gd name="T46" fmla="*/ 2147483647 w 899"/>
                <a:gd name="T47" fmla="*/ 2147483647 h 2074"/>
                <a:gd name="T48" fmla="*/ 2147483647 w 899"/>
                <a:gd name="T49" fmla="*/ 2147483647 h 2074"/>
                <a:gd name="T50" fmla="*/ 2147483647 w 899"/>
                <a:gd name="T51" fmla="*/ 2147483647 h 2074"/>
                <a:gd name="T52" fmla="*/ 2147483647 w 899"/>
                <a:gd name="T53" fmla="*/ 2147483647 h 2074"/>
                <a:gd name="T54" fmla="*/ 2147483647 w 899"/>
                <a:gd name="T55" fmla="*/ 2147483647 h 2074"/>
                <a:gd name="T56" fmla="*/ 2147483647 w 899"/>
                <a:gd name="T57" fmla="*/ 2147483647 h 2074"/>
                <a:gd name="T58" fmla="*/ 2147483647 w 899"/>
                <a:gd name="T59" fmla="*/ 2147483647 h 2074"/>
                <a:gd name="T60" fmla="*/ 2147483647 w 899"/>
                <a:gd name="T61" fmla="*/ 2147483647 h 2074"/>
                <a:gd name="T62" fmla="*/ 2147483647 w 899"/>
                <a:gd name="T63" fmla="*/ 2147483647 h 2074"/>
                <a:gd name="T64" fmla="*/ 2147483647 w 899"/>
                <a:gd name="T65" fmla="*/ 2147483647 h 2074"/>
                <a:gd name="T66" fmla="*/ 2147483647 w 899"/>
                <a:gd name="T67" fmla="*/ 2147483647 h 2074"/>
                <a:gd name="T68" fmla="*/ 2147483647 w 899"/>
                <a:gd name="T69" fmla="*/ 2147483647 h 2074"/>
                <a:gd name="T70" fmla="*/ 2147483647 w 899"/>
                <a:gd name="T71" fmla="*/ 2147483647 h 2074"/>
                <a:gd name="T72" fmla="*/ 2147483647 w 899"/>
                <a:gd name="T73" fmla="*/ 2147483647 h 2074"/>
                <a:gd name="T74" fmla="*/ 2147483647 w 899"/>
                <a:gd name="T75" fmla="*/ 2147483647 h 2074"/>
                <a:gd name="T76" fmla="*/ 2147483647 w 899"/>
                <a:gd name="T77" fmla="*/ 2147483647 h 2074"/>
                <a:gd name="T78" fmla="*/ 2147483647 w 899"/>
                <a:gd name="T79" fmla="*/ 2147483647 h 2074"/>
                <a:gd name="T80" fmla="*/ 2147483647 w 899"/>
                <a:gd name="T81" fmla="*/ 2147483647 h 2074"/>
                <a:gd name="T82" fmla="*/ 2147483647 w 899"/>
                <a:gd name="T83" fmla="*/ 2147483647 h 2074"/>
                <a:gd name="T84" fmla="*/ 2147483647 w 899"/>
                <a:gd name="T85" fmla="*/ 2147483647 h 2074"/>
                <a:gd name="T86" fmla="*/ 2147483647 w 899"/>
                <a:gd name="T87" fmla="*/ 2147483647 h 2074"/>
                <a:gd name="T88" fmla="*/ 2147483647 w 899"/>
                <a:gd name="T89" fmla="*/ 2147483647 h 2074"/>
                <a:gd name="T90" fmla="*/ 2147483647 w 899"/>
                <a:gd name="T91" fmla="*/ 2147483647 h 2074"/>
                <a:gd name="T92" fmla="*/ 2147483647 w 899"/>
                <a:gd name="T93" fmla="*/ 2147483647 h 20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99"/>
                <a:gd name="T142" fmla="*/ 0 h 2074"/>
                <a:gd name="T143" fmla="*/ 899 w 899"/>
                <a:gd name="T144" fmla="*/ 2074 h 20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99" h="2074">
                  <a:moveTo>
                    <a:pt x="746" y="59"/>
                  </a:moveTo>
                  <a:lnTo>
                    <a:pt x="770" y="101"/>
                  </a:lnTo>
                  <a:lnTo>
                    <a:pt x="818" y="107"/>
                  </a:lnTo>
                  <a:lnTo>
                    <a:pt x="769" y="163"/>
                  </a:lnTo>
                  <a:lnTo>
                    <a:pt x="808" y="197"/>
                  </a:lnTo>
                  <a:lnTo>
                    <a:pt x="835" y="229"/>
                  </a:lnTo>
                  <a:lnTo>
                    <a:pt x="854" y="251"/>
                  </a:lnTo>
                  <a:lnTo>
                    <a:pt x="860" y="283"/>
                  </a:lnTo>
                  <a:lnTo>
                    <a:pt x="860" y="298"/>
                  </a:lnTo>
                  <a:lnTo>
                    <a:pt x="863" y="322"/>
                  </a:lnTo>
                  <a:lnTo>
                    <a:pt x="872" y="358"/>
                  </a:lnTo>
                  <a:lnTo>
                    <a:pt x="883" y="392"/>
                  </a:lnTo>
                  <a:lnTo>
                    <a:pt x="896" y="428"/>
                  </a:lnTo>
                  <a:lnTo>
                    <a:pt x="899" y="464"/>
                  </a:lnTo>
                  <a:lnTo>
                    <a:pt x="892" y="503"/>
                  </a:lnTo>
                  <a:lnTo>
                    <a:pt x="871" y="523"/>
                  </a:lnTo>
                  <a:lnTo>
                    <a:pt x="869" y="559"/>
                  </a:lnTo>
                  <a:lnTo>
                    <a:pt x="871" y="587"/>
                  </a:lnTo>
                  <a:lnTo>
                    <a:pt x="872" y="622"/>
                  </a:lnTo>
                  <a:lnTo>
                    <a:pt x="844" y="626"/>
                  </a:lnTo>
                  <a:lnTo>
                    <a:pt x="808" y="631"/>
                  </a:lnTo>
                  <a:lnTo>
                    <a:pt x="779" y="635"/>
                  </a:lnTo>
                  <a:lnTo>
                    <a:pt x="757" y="651"/>
                  </a:lnTo>
                  <a:lnTo>
                    <a:pt x="722" y="692"/>
                  </a:lnTo>
                  <a:lnTo>
                    <a:pt x="701" y="740"/>
                  </a:lnTo>
                  <a:lnTo>
                    <a:pt x="682" y="790"/>
                  </a:lnTo>
                  <a:lnTo>
                    <a:pt x="717" y="825"/>
                  </a:lnTo>
                  <a:lnTo>
                    <a:pt x="694" y="861"/>
                  </a:lnTo>
                  <a:lnTo>
                    <a:pt x="650" y="885"/>
                  </a:lnTo>
                  <a:lnTo>
                    <a:pt x="615" y="907"/>
                  </a:lnTo>
                  <a:lnTo>
                    <a:pt x="573" y="930"/>
                  </a:lnTo>
                  <a:lnTo>
                    <a:pt x="565" y="963"/>
                  </a:lnTo>
                  <a:lnTo>
                    <a:pt x="532" y="983"/>
                  </a:lnTo>
                  <a:lnTo>
                    <a:pt x="516" y="1018"/>
                  </a:lnTo>
                  <a:lnTo>
                    <a:pt x="483" y="1044"/>
                  </a:lnTo>
                  <a:lnTo>
                    <a:pt x="478" y="1088"/>
                  </a:lnTo>
                  <a:lnTo>
                    <a:pt x="472" y="1130"/>
                  </a:lnTo>
                  <a:lnTo>
                    <a:pt x="456" y="1173"/>
                  </a:lnTo>
                  <a:lnTo>
                    <a:pt x="452" y="1224"/>
                  </a:lnTo>
                  <a:lnTo>
                    <a:pt x="416" y="1233"/>
                  </a:lnTo>
                  <a:lnTo>
                    <a:pt x="424" y="1277"/>
                  </a:lnTo>
                  <a:lnTo>
                    <a:pt x="424" y="1317"/>
                  </a:lnTo>
                  <a:lnTo>
                    <a:pt x="432" y="1369"/>
                  </a:lnTo>
                  <a:lnTo>
                    <a:pt x="468" y="1373"/>
                  </a:lnTo>
                  <a:lnTo>
                    <a:pt x="492" y="1397"/>
                  </a:lnTo>
                  <a:lnTo>
                    <a:pt x="512" y="1429"/>
                  </a:lnTo>
                  <a:lnTo>
                    <a:pt x="540" y="1457"/>
                  </a:lnTo>
                  <a:lnTo>
                    <a:pt x="539" y="1482"/>
                  </a:lnTo>
                  <a:lnTo>
                    <a:pt x="524" y="1507"/>
                  </a:lnTo>
                  <a:lnTo>
                    <a:pt x="504" y="1559"/>
                  </a:lnTo>
                  <a:lnTo>
                    <a:pt x="503" y="1600"/>
                  </a:lnTo>
                  <a:lnTo>
                    <a:pt x="475" y="1603"/>
                  </a:lnTo>
                  <a:lnTo>
                    <a:pt x="455" y="1606"/>
                  </a:lnTo>
                  <a:lnTo>
                    <a:pt x="422" y="1627"/>
                  </a:lnTo>
                  <a:lnTo>
                    <a:pt x="403" y="1648"/>
                  </a:lnTo>
                  <a:lnTo>
                    <a:pt x="393" y="1687"/>
                  </a:lnTo>
                  <a:lnTo>
                    <a:pt x="383" y="1722"/>
                  </a:lnTo>
                  <a:lnTo>
                    <a:pt x="374" y="1746"/>
                  </a:lnTo>
                  <a:lnTo>
                    <a:pt x="389" y="1779"/>
                  </a:lnTo>
                  <a:lnTo>
                    <a:pt x="382" y="1810"/>
                  </a:lnTo>
                  <a:lnTo>
                    <a:pt x="368" y="1863"/>
                  </a:lnTo>
                  <a:lnTo>
                    <a:pt x="356" y="1898"/>
                  </a:lnTo>
                  <a:lnTo>
                    <a:pt x="348" y="1941"/>
                  </a:lnTo>
                  <a:lnTo>
                    <a:pt x="328" y="1979"/>
                  </a:lnTo>
                  <a:lnTo>
                    <a:pt x="289" y="1972"/>
                  </a:lnTo>
                  <a:lnTo>
                    <a:pt x="251" y="1981"/>
                  </a:lnTo>
                  <a:lnTo>
                    <a:pt x="222" y="1992"/>
                  </a:lnTo>
                  <a:lnTo>
                    <a:pt x="193" y="2017"/>
                  </a:lnTo>
                  <a:lnTo>
                    <a:pt x="197" y="2046"/>
                  </a:lnTo>
                  <a:lnTo>
                    <a:pt x="192" y="2067"/>
                  </a:lnTo>
                  <a:lnTo>
                    <a:pt x="158" y="2074"/>
                  </a:lnTo>
                  <a:lnTo>
                    <a:pt x="108" y="2069"/>
                  </a:lnTo>
                  <a:lnTo>
                    <a:pt x="113" y="2025"/>
                  </a:lnTo>
                  <a:lnTo>
                    <a:pt x="99" y="1987"/>
                  </a:lnTo>
                  <a:lnTo>
                    <a:pt x="75" y="1959"/>
                  </a:lnTo>
                  <a:lnTo>
                    <a:pt x="92" y="1935"/>
                  </a:lnTo>
                  <a:lnTo>
                    <a:pt x="107" y="1905"/>
                  </a:lnTo>
                  <a:lnTo>
                    <a:pt x="86" y="1871"/>
                  </a:lnTo>
                  <a:lnTo>
                    <a:pt x="69" y="1832"/>
                  </a:lnTo>
                  <a:lnTo>
                    <a:pt x="41" y="1760"/>
                  </a:lnTo>
                  <a:lnTo>
                    <a:pt x="37" y="1702"/>
                  </a:lnTo>
                  <a:lnTo>
                    <a:pt x="44" y="1676"/>
                  </a:lnTo>
                  <a:lnTo>
                    <a:pt x="21" y="1642"/>
                  </a:lnTo>
                  <a:lnTo>
                    <a:pt x="13" y="1605"/>
                  </a:lnTo>
                  <a:lnTo>
                    <a:pt x="0" y="1534"/>
                  </a:lnTo>
                  <a:lnTo>
                    <a:pt x="21" y="1525"/>
                  </a:lnTo>
                  <a:lnTo>
                    <a:pt x="30" y="1570"/>
                  </a:lnTo>
                  <a:lnTo>
                    <a:pt x="49" y="1548"/>
                  </a:lnTo>
                  <a:lnTo>
                    <a:pt x="54" y="1511"/>
                  </a:lnTo>
                  <a:lnTo>
                    <a:pt x="67" y="1484"/>
                  </a:lnTo>
                  <a:lnTo>
                    <a:pt x="51" y="1458"/>
                  </a:lnTo>
                  <a:lnTo>
                    <a:pt x="71" y="1427"/>
                  </a:lnTo>
                  <a:lnTo>
                    <a:pt x="94" y="1400"/>
                  </a:lnTo>
                  <a:lnTo>
                    <a:pt x="111" y="1371"/>
                  </a:lnTo>
                  <a:lnTo>
                    <a:pt x="113" y="1345"/>
                  </a:lnTo>
                  <a:lnTo>
                    <a:pt x="129" y="1320"/>
                  </a:lnTo>
                  <a:lnTo>
                    <a:pt x="111" y="1290"/>
                  </a:lnTo>
                  <a:lnTo>
                    <a:pt x="109" y="1243"/>
                  </a:lnTo>
                  <a:lnTo>
                    <a:pt x="131" y="1237"/>
                  </a:lnTo>
                  <a:lnTo>
                    <a:pt x="153" y="1195"/>
                  </a:lnTo>
                  <a:lnTo>
                    <a:pt x="133" y="1157"/>
                  </a:lnTo>
                  <a:lnTo>
                    <a:pt x="112" y="1126"/>
                  </a:lnTo>
                  <a:lnTo>
                    <a:pt x="107" y="1092"/>
                  </a:lnTo>
                  <a:lnTo>
                    <a:pt x="109" y="1048"/>
                  </a:lnTo>
                  <a:lnTo>
                    <a:pt x="108" y="1008"/>
                  </a:lnTo>
                  <a:lnTo>
                    <a:pt x="110" y="971"/>
                  </a:lnTo>
                  <a:lnTo>
                    <a:pt x="123" y="928"/>
                  </a:lnTo>
                  <a:lnTo>
                    <a:pt x="114" y="886"/>
                  </a:lnTo>
                  <a:lnTo>
                    <a:pt x="128" y="829"/>
                  </a:lnTo>
                  <a:lnTo>
                    <a:pt x="155" y="788"/>
                  </a:lnTo>
                  <a:lnTo>
                    <a:pt x="185" y="754"/>
                  </a:lnTo>
                  <a:lnTo>
                    <a:pt x="222" y="747"/>
                  </a:lnTo>
                  <a:lnTo>
                    <a:pt x="249" y="756"/>
                  </a:lnTo>
                  <a:lnTo>
                    <a:pt x="265" y="744"/>
                  </a:lnTo>
                  <a:lnTo>
                    <a:pt x="274" y="718"/>
                  </a:lnTo>
                  <a:lnTo>
                    <a:pt x="267" y="690"/>
                  </a:lnTo>
                  <a:lnTo>
                    <a:pt x="254" y="671"/>
                  </a:lnTo>
                  <a:lnTo>
                    <a:pt x="258" y="637"/>
                  </a:lnTo>
                  <a:lnTo>
                    <a:pt x="291" y="587"/>
                  </a:lnTo>
                  <a:lnTo>
                    <a:pt x="310" y="535"/>
                  </a:lnTo>
                  <a:lnTo>
                    <a:pt x="319" y="479"/>
                  </a:lnTo>
                  <a:lnTo>
                    <a:pt x="316" y="419"/>
                  </a:lnTo>
                  <a:lnTo>
                    <a:pt x="358" y="410"/>
                  </a:lnTo>
                  <a:lnTo>
                    <a:pt x="380" y="352"/>
                  </a:lnTo>
                  <a:lnTo>
                    <a:pt x="411" y="322"/>
                  </a:lnTo>
                  <a:lnTo>
                    <a:pt x="424" y="287"/>
                  </a:lnTo>
                  <a:lnTo>
                    <a:pt x="452" y="248"/>
                  </a:lnTo>
                  <a:lnTo>
                    <a:pt x="433" y="191"/>
                  </a:lnTo>
                  <a:lnTo>
                    <a:pt x="459" y="152"/>
                  </a:lnTo>
                  <a:lnTo>
                    <a:pt x="485" y="106"/>
                  </a:lnTo>
                  <a:lnTo>
                    <a:pt x="519" y="83"/>
                  </a:lnTo>
                  <a:lnTo>
                    <a:pt x="538" y="101"/>
                  </a:lnTo>
                  <a:lnTo>
                    <a:pt x="563" y="106"/>
                  </a:lnTo>
                  <a:lnTo>
                    <a:pt x="571" y="64"/>
                  </a:lnTo>
                  <a:lnTo>
                    <a:pt x="575" y="36"/>
                  </a:lnTo>
                  <a:lnTo>
                    <a:pt x="575" y="7"/>
                  </a:lnTo>
                  <a:lnTo>
                    <a:pt x="609" y="0"/>
                  </a:lnTo>
                  <a:lnTo>
                    <a:pt x="638" y="17"/>
                  </a:lnTo>
                  <a:lnTo>
                    <a:pt x="661" y="25"/>
                  </a:lnTo>
                  <a:lnTo>
                    <a:pt x="684" y="50"/>
                  </a:lnTo>
                  <a:lnTo>
                    <a:pt x="711" y="37"/>
                  </a:lnTo>
                  <a:lnTo>
                    <a:pt x="746" y="5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1" name="Freeform 103">
              <a:extLst>
                <a:ext uri="{FF2B5EF4-FFF2-40B4-BE49-F238E27FC236}">
                  <a16:creationId xmlns:a16="http://schemas.microsoft.com/office/drawing/2014/main" id="{61B150CF-4C46-F489-1A11-A66C318336EC}"/>
                </a:ext>
              </a:extLst>
            </p:cNvPr>
            <p:cNvSpPr>
              <a:spLocks/>
            </p:cNvSpPr>
            <p:nvPr/>
          </p:nvSpPr>
          <p:spPr bwMode="auto">
            <a:xfrm>
              <a:off x="4612102" y="1414411"/>
              <a:ext cx="665579" cy="825105"/>
            </a:xfrm>
            <a:custGeom>
              <a:avLst/>
              <a:gdLst>
                <a:gd name="T0" fmla="*/ 327 w 2762250"/>
                <a:gd name="T1" fmla="*/ 70 h 3324225"/>
                <a:gd name="T2" fmla="*/ 307 w 2762250"/>
                <a:gd name="T3" fmla="*/ 119 h 3324225"/>
                <a:gd name="T4" fmla="*/ 266 w 2762250"/>
                <a:gd name="T5" fmla="*/ 102 h 3324225"/>
                <a:gd name="T6" fmla="*/ 234 w 2762250"/>
                <a:gd name="T7" fmla="*/ 89 h 3324225"/>
                <a:gd name="T8" fmla="*/ 214 w 2762250"/>
                <a:gd name="T9" fmla="*/ 109 h 3324225"/>
                <a:gd name="T10" fmla="*/ 193 w 2762250"/>
                <a:gd name="T11" fmla="*/ 156 h 3324225"/>
                <a:gd name="T12" fmla="*/ 168 w 2762250"/>
                <a:gd name="T13" fmla="*/ 200 h 3324225"/>
                <a:gd name="T14" fmla="*/ 157 w 2762250"/>
                <a:gd name="T15" fmla="*/ 249 h 3324225"/>
                <a:gd name="T16" fmla="*/ 138 w 2762250"/>
                <a:gd name="T17" fmla="*/ 264 h 3324225"/>
                <a:gd name="T18" fmla="*/ 121 w 2762250"/>
                <a:gd name="T19" fmla="*/ 314 h 3324225"/>
                <a:gd name="T20" fmla="*/ 125 w 2762250"/>
                <a:gd name="T21" fmla="*/ 357 h 3324225"/>
                <a:gd name="T22" fmla="*/ 124 w 2762250"/>
                <a:gd name="T23" fmla="*/ 394 h 3324225"/>
                <a:gd name="T24" fmla="*/ 107 w 2762250"/>
                <a:gd name="T25" fmla="*/ 427 h 3324225"/>
                <a:gd name="T26" fmla="*/ 99 w 2762250"/>
                <a:gd name="T27" fmla="*/ 443 h 3324225"/>
                <a:gd name="T28" fmla="*/ 65 w 2762250"/>
                <a:gd name="T29" fmla="*/ 467 h 3324225"/>
                <a:gd name="T30" fmla="*/ 23 w 2762250"/>
                <a:gd name="T31" fmla="*/ 480 h 3324225"/>
                <a:gd name="T32" fmla="*/ 1 w 2762250"/>
                <a:gd name="T33" fmla="*/ 436 h 3324225"/>
                <a:gd name="T34" fmla="*/ 20 w 2762250"/>
                <a:gd name="T35" fmla="*/ 422 h 3324225"/>
                <a:gd name="T36" fmla="*/ 0 w 2762250"/>
                <a:gd name="T37" fmla="*/ 413 h 3324225"/>
                <a:gd name="T38" fmla="*/ 16 w 2762250"/>
                <a:gd name="T39" fmla="*/ 402 h 3324225"/>
                <a:gd name="T40" fmla="*/ 10 w 2762250"/>
                <a:gd name="T41" fmla="*/ 398 h 3324225"/>
                <a:gd name="T42" fmla="*/ 1 w 2762250"/>
                <a:gd name="T43" fmla="*/ 369 h 3324225"/>
                <a:gd name="T44" fmla="*/ 32 w 2762250"/>
                <a:gd name="T45" fmla="*/ 367 h 3324225"/>
                <a:gd name="T46" fmla="*/ 6 w 2762250"/>
                <a:gd name="T47" fmla="*/ 350 h 3324225"/>
                <a:gd name="T48" fmla="*/ 16 w 2762250"/>
                <a:gd name="T49" fmla="*/ 335 h 3324225"/>
                <a:gd name="T50" fmla="*/ 34 w 2762250"/>
                <a:gd name="T51" fmla="*/ 316 h 3324225"/>
                <a:gd name="T52" fmla="*/ 40 w 2762250"/>
                <a:gd name="T53" fmla="*/ 307 h 3324225"/>
                <a:gd name="T54" fmla="*/ 63 w 2762250"/>
                <a:gd name="T55" fmla="*/ 306 h 3324225"/>
                <a:gd name="T56" fmla="*/ 80 w 2762250"/>
                <a:gd name="T57" fmla="*/ 279 h 3324225"/>
                <a:gd name="T58" fmla="*/ 107 w 2762250"/>
                <a:gd name="T59" fmla="*/ 276 h 3324225"/>
                <a:gd name="T60" fmla="*/ 98 w 2762250"/>
                <a:gd name="T61" fmla="*/ 276 h 3324225"/>
                <a:gd name="T62" fmla="*/ 97 w 2762250"/>
                <a:gd name="T63" fmla="*/ 253 h 3324225"/>
                <a:gd name="T64" fmla="*/ 115 w 2762250"/>
                <a:gd name="T65" fmla="*/ 240 h 3324225"/>
                <a:gd name="T66" fmla="*/ 137 w 2762250"/>
                <a:gd name="T67" fmla="*/ 219 h 3324225"/>
                <a:gd name="T68" fmla="*/ 137 w 2762250"/>
                <a:gd name="T69" fmla="*/ 194 h 3324225"/>
                <a:gd name="T70" fmla="*/ 154 w 2762250"/>
                <a:gd name="T71" fmla="*/ 156 h 3324225"/>
                <a:gd name="T72" fmla="*/ 178 w 2762250"/>
                <a:gd name="T73" fmla="*/ 124 h 3324225"/>
                <a:gd name="T74" fmla="*/ 187 w 2762250"/>
                <a:gd name="T75" fmla="*/ 104 h 3324225"/>
                <a:gd name="T76" fmla="*/ 190 w 2762250"/>
                <a:gd name="T77" fmla="*/ 89 h 3324225"/>
                <a:gd name="T78" fmla="*/ 220 w 2762250"/>
                <a:gd name="T79" fmla="*/ 77 h 3324225"/>
                <a:gd name="T80" fmla="*/ 226 w 2762250"/>
                <a:gd name="T81" fmla="*/ 64 h 3324225"/>
                <a:gd name="T82" fmla="*/ 263 w 2762250"/>
                <a:gd name="T83" fmla="*/ 63 h 3324225"/>
                <a:gd name="T84" fmla="*/ 275 w 2762250"/>
                <a:gd name="T85" fmla="*/ 44 h 3324225"/>
                <a:gd name="T86" fmla="*/ 272 w 2762250"/>
                <a:gd name="T87" fmla="*/ 34 h 3324225"/>
                <a:gd name="T88" fmla="*/ 302 w 2762250"/>
                <a:gd name="T89" fmla="*/ 34 h 3324225"/>
                <a:gd name="T90" fmla="*/ 313 w 2762250"/>
                <a:gd name="T91" fmla="*/ 11 h 3324225"/>
                <a:gd name="T92" fmla="*/ 316 w 2762250"/>
                <a:gd name="T93" fmla="*/ 31 h 3324225"/>
                <a:gd name="T94" fmla="*/ 335 w 2762250"/>
                <a:gd name="T95" fmla="*/ 17 h 3324225"/>
                <a:gd name="T96" fmla="*/ 345 w 2762250"/>
                <a:gd name="T97" fmla="*/ 11 h 3324225"/>
                <a:gd name="T98" fmla="*/ 364 w 2762250"/>
                <a:gd name="T99" fmla="*/ 13 h 3324225"/>
                <a:gd name="T100" fmla="*/ 365 w 2762250"/>
                <a:gd name="T101" fmla="*/ 23 h 3324225"/>
                <a:gd name="T102" fmla="*/ 385 w 2762250"/>
                <a:gd name="T103" fmla="*/ 25 h 3324225"/>
                <a:gd name="T104" fmla="*/ 399 w 2762250"/>
                <a:gd name="T105" fmla="*/ 47 h 3324225"/>
                <a:gd name="T106" fmla="*/ 377 w 2762250"/>
                <a:gd name="T107" fmla="*/ 51 h 3324225"/>
                <a:gd name="T108" fmla="*/ 366 w 2762250"/>
                <a:gd name="T109" fmla="*/ 65 h 33242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62250"/>
                <a:gd name="T166" fmla="*/ 0 h 3324225"/>
                <a:gd name="T167" fmla="*/ 2762250 w 2762250"/>
                <a:gd name="T168" fmla="*/ 3324225 h 33242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62250" h="3324225">
                  <a:moveTo>
                    <a:pt x="2462213" y="395288"/>
                  </a:moveTo>
                  <a:lnTo>
                    <a:pt x="2401888" y="369888"/>
                  </a:lnTo>
                  <a:lnTo>
                    <a:pt x="2365375" y="369888"/>
                  </a:lnTo>
                  <a:lnTo>
                    <a:pt x="2295525" y="395288"/>
                  </a:lnTo>
                  <a:lnTo>
                    <a:pt x="2259013" y="476250"/>
                  </a:lnTo>
                  <a:lnTo>
                    <a:pt x="2257425" y="547688"/>
                  </a:lnTo>
                  <a:lnTo>
                    <a:pt x="2219325" y="636588"/>
                  </a:lnTo>
                  <a:lnTo>
                    <a:pt x="2220913" y="674688"/>
                  </a:lnTo>
                  <a:lnTo>
                    <a:pt x="2178050" y="728663"/>
                  </a:lnTo>
                  <a:lnTo>
                    <a:pt x="2120900" y="812800"/>
                  </a:lnTo>
                  <a:lnTo>
                    <a:pt x="2068513" y="757238"/>
                  </a:lnTo>
                  <a:lnTo>
                    <a:pt x="2014538" y="742950"/>
                  </a:lnTo>
                  <a:lnTo>
                    <a:pt x="1943100" y="781050"/>
                  </a:lnTo>
                  <a:lnTo>
                    <a:pt x="1873250" y="771525"/>
                  </a:lnTo>
                  <a:lnTo>
                    <a:pt x="1835150" y="700088"/>
                  </a:lnTo>
                  <a:lnTo>
                    <a:pt x="1784350" y="669925"/>
                  </a:lnTo>
                  <a:lnTo>
                    <a:pt x="1739900" y="688975"/>
                  </a:lnTo>
                  <a:lnTo>
                    <a:pt x="1704975" y="649288"/>
                  </a:lnTo>
                  <a:lnTo>
                    <a:pt x="1668463" y="638175"/>
                  </a:lnTo>
                  <a:lnTo>
                    <a:pt x="1617663" y="611188"/>
                  </a:lnTo>
                  <a:lnTo>
                    <a:pt x="1570038" y="622300"/>
                  </a:lnTo>
                  <a:lnTo>
                    <a:pt x="1570038" y="668338"/>
                  </a:lnTo>
                  <a:lnTo>
                    <a:pt x="1547813" y="779463"/>
                  </a:lnTo>
                  <a:lnTo>
                    <a:pt x="1509713" y="769938"/>
                  </a:lnTo>
                  <a:lnTo>
                    <a:pt x="1479550" y="742950"/>
                  </a:lnTo>
                  <a:lnTo>
                    <a:pt x="1423988" y="779463"/>
                  </a:lnTo>
                  <a:lnTo>
                    <a:pt x="1385888" y="849313"/>
                  </a:lnTo>
                  <a:lnTo>
                    <a:pt x="1344613" y="917575"/>
                  </a:lnTo>
                  <a:lnTo>
                    <a:pt x="1373188" y="1003300"/>
                  </a:lnTo>
                  <a:lnTo>
                    <a:pt x="1330325" y="1066800"/>
                  </a:lnTo>
                  <a:lnTo>
                    <a:pt x="1308100" y="1120775"/>
                  </a:lnTo>
                  <a:lnTo>
                    <a:pt x="1260475" y="1173163"/>
                  </a:lnTo>
                  <a:lnTo>
                    <a:pt x="1225550" y="1263650"/>
                  </a:lnTo>
                  <a:lnTo>
                    <a:pt x="1158875" y="1276350"/>
                  </a:lnTo>
                  <a:lnTo>
                    <a:pt x="1162050" y="1370013"/>
                  </a:lnTo>
                  <a:lnTo>
                    <a:pt x="1149350" y="1457325"/>
                  </a:lnTo>
                  <a:lnTo>
                    <a:pt x="1114425" y="1547813"/>
                  </a:lnTo>
                  <a:lnTo>
                    <a:pt x="1066800" y="1622425"/>
                  </a:lnTo>
                  <a:lnTo>
                    <a:pt x="1058863" y="1676400"/>
                  </a:lnTo>
                  <a:lnTo>
                    <a:pt x="1082675" y="1708150"/>
                  </a:lnTo>
                  <a:lnTo>
                    <a:pt x="1092200" y="1751013"/>
                  </a:lnTo>
                  <a:lnTo>
                    <a:pt x="1077913" y="1792288"/>
                  </a:lnTo>
                  <a:lnTo>
                    <a:pt x="1052513" y="1809750"/>
                  </a:lnTo>
                  <a:lnTo>
                    <a:pt x="1008063" y="1793875"/>
                  </a:lnTo>
                  <a:lnTo>
                    <a:pt x="950913" y="1806575"/>
                  </a:lnTo>
                  <a:lnTo>
                    <a:pt x="901700" y="1860550"/>
                  </a:lnTo>
                  <a:lnTo>
                    <a:pt x="858838" y="1925638"/>
                  </a:lnTo>
                  <a:lnTo>
                    <a:pt x="838200" y="2016125"/>
                  </a:lnTo>
                  <a:lnTo>
                    <a:pt x="850900" y="2084388"/>
                  </a:lnTo>
                  <a:lnTo>
                    <a:pt x="833438" y="2151063"/>
                  </a:lnTo>
                  <a:lnTo>
                    <a:pt x="828675" y="2216150"/>
                  </a:lnTo>
                  <a:lnTo>
                    <a:pt x="830263" y="2274888"/>
                  </a:lnTo>
                  <a:lnTo>
                    <a:pt x="828675" y="2344738"/>
                  </a:lnTo>
                  <a:lnTo>
                    <a:pt x="835025" y="2400300"/>
                  </a:lnTo>
                  <a:lnTo>
                    <a:pt x="865188" y="2446338"/>
                  </a:lnTo>
                  <a:lnTo>
                    <a:pt x="900113" y="2508250"/>
                  </a:lnTo>
                  <a:lnTo>
                    <a:pt x="865188" y="2573338"/>
                  </a:lnTo>
                  <a:lnTo>
                    <a:pt x="828675" y="2582863"/>
                  </a:lnTo>
                  <a:lnTo>
                    <a:pt x="836613" y="2660650"/>
                  </a:lnTo>
                  <a:lnTo>
                    <a:pt x="858838" y="2700338"/>
                  </a:lnTo>
                  <a:lnTo>
                    <a:pt x="838200" y="2746375"/>
                  </a:lnTo>
                  <a:lnTo>
                    <a:pt x="835025" y="2787650"/>
                  </a:lnTo>
                  <a:lnTo>
                    <a:pt x="804863" y="2833688"/>
                  </a:lnTo>
                  <a:lnTo>
                    <a:pt x="768350" y="2876550"/>
                  </a:lnTo>
                  <a:lnTo>
                    <a:pt x="738188" y="2925763"/>
                  </a:lnTo>
                  <a:lnTo>
                    <a:pt x="759954" y="2960937"/>
                  </a:lnTo>
                  <a:lnTo>
                    <a:pt x="742950" y="3008313"/>
                  </a:lnTo>
                  <a:lnTo>
                    <a:pt x="733425" y="3068638"/>
                  </a:lnTo>
                  <a:lnTo>
                    <a:pt x="706438" y="3103563"/>
                  </a:lnTo>
                  <a:lnTo>
                    <a:pt x="686135" y="3032375"/>
                  </a:lnTo>
                  <a:lnTo>
                    <a:pt x="652798" y="3049043"/>
                  </a:lnTo>
                  <a:lnTo>
                    <a:pt x="636588" y="3070225"/>
                  </a:lnTo>
                  <a:lnTo>
                    <a:pt x="585788" y="3114675"/>
                  </a:lnTo>
                  <a:lnTo>
                    <a:pt x="515938" y="3152775"/>
                  </a:lnTo>
                  <a:lnTo>
                    <a:pt x="446088" y="3197225"/>
                  </a:lnTo>
                  <a:lnTo>
                    <a:pt x="407988" y="3228975"/>
                  </a:lnTo>
                  <a:lnTo>
                    <a:pt x="382588" y="3279775"/>
                  </a:lnTo>
                  <a:lnTo>
                    <a:pt x="325438" y="3317875"/>
                  </a:lnTo>
                  <a:lnTo>
                    <a:pt x="242888" y="3324225"/>
                  </a:lnTo>
                  <a:lnTo>
                    <a:pt x="160338" y="3286125"/>
                  </a:lnTo>
                  <a:lnTo>
                    <a:pt x="109538" y="3241675"/>
                  </a:lnTo>
                  <a:lnTo>
                    <a:pt x="79375" y="3163888"/>
                  </a:lnTo>
                  <a:lnTo>
                    <a:pt x="11113" y="3087688"/>
                  </a:lnTo>
                  <a:lnTo>
                    <a:pt x="7938" y="3033713"/>
                  </a:lnTo>
                  <a:lnTo>
                    <a:pt x="9525" y="2984500"/>
                  </a:lnTo>
                  <a:lnTo>
                    <a:pt x="47625" y="2979738"/>
                  </a:lnTo>
                  <a:lnTo>
                    <a:pt x="77788" y="3024188"/>
                  </a:lnTo>
                  <a:lnTo>
                    <a:pt x="76200" y="2959100"/>
                  </a:lnTo>
                  <a:lnTo>
                    <a:pt x="104775" y="2925763"/>
                  </a:lnTo>
                  <a:lnTo>
                    <a:pt x="134938" y="2889250"/>
                  </a:lnTo>
                  <a:lnTo>
                    <a:pt x="123825" y="2854325"/>
                  </a:lnTo>
                  <a:lnTo>
                    <a:pt x="93663" y="2879725"/>
                  </a:lnTo>
                  <a:lnTo>
                    <a:pt x="60325" y="2886075"/>
                  </a:lnTo>
                  <a:lnTo>
                    <a:pt x="9525" y="2898775"/>
                  </a:lnTo>
                  <a:lnTo>
                    <a:pt x="0" y="2825750"/>
                  </a:lnTo>
                  <a:lnTo>
                    <a:pt x="26988" y="2820988"/>
                  </a:lnTo>
                  <a:lnTo>
                    <a:pt x="61913" y="2832100"/>
                  </a:lnTo>
                  <a:lnTo>
                    <a:pt x="93663" y="2817813"/>
                  </a:lnTo>
                  <a:lnTo>
                    <a:pt x="65088" y="2782888"/>
                  </a:lnTo>
                  <a:lnTo>
                    <a:pt x="111125" y="2752725"/>
                  </a:lnTo>
                  <a:lnTo>
                    <a:pt x="141288" y="2711450"/>
                  </a:lnTo>
                  <a:lnTo>
                    <a:pt x="203200" y="2665413"/>
                  </a:lnTo>
                  <a:lnTo>
                    <a:pt x="161925" y="2652713"/>
                  </a:lnTo>
                  <a:lnTo>
                    <a:pt x="112713" y="2679700"/>
                  </a:lnTo>
                  <a:lnTo>
                    <a:pt x="69850" y="2722563"/>
                  </a:lnTo>
                  <a:lnTo>
                    <a:pt x="47625" y="2690813"/>
                  </a:lnTo>
                  <a:lnTo>
                    <a:pt x="7938" y="2671763"/>
                  </a:lnTo>
                  <a:lnTo>
                    <a:pt x="23813" y="2620963"/>
                  </a:lnTo>
                  <a:lnTo>
                    <a:pt x="36513" y="2573338"/>
                  </a:lnTo>
                  <a:lnTo>
                    <a:pt x="4763" y="2528888"/>
                  </a:lnTo>
                  <a:lnTo>
                    <a:pt x="11113" y="2489200"/>
                  </a:lnTo>
                  <a:lnTo>
                    <a:pt x="68263" y="2506663"/>
                  </a:lnTo>
                  <a:lnTo>
                    <a:pt x="117475" y="2505075"/>
                  </a:lnTo>
                  <a:lnTo>
                    <a:pt x="171450" y="2524125"/>
                  </a:lnTo>
                  <a:lnTo>
                    <a:pt x="220663" y="2513013"/>
                  </a:lnTo>
                  <a:lnTo>
                    <a:pt x="249238" y="2516188"/>
                  </a:lnTo>
                  <a:lnTo>
                    <a:pt x="295275" y="2451100"/>
                  </a:lnTo>
                  <a:lnTo>
                    <a:pt x="104775" y="2463800"/>
                  </a:lnTo>
                  <a:lnTo>
                    <a:pt x="22225" y="2433638"/>
                  </a:lnTo>
                  <a:lnTo>
                    <a:pt x="41275" y="2397125"/>
                  </a:lnTo>
                  <a:lnTo>
                    <a:pt x="55563" y="2352675"/>
                  </a:lnTo>
                  <a:lnTo>
                    <a:pt x="38100" y="2263775"/>
                  </a:lnTo>
                  <a:lnTo>
                    <a:pt x="60325" y="2249488"/>
                  </a:lnTo>
                  <a:lnTo>
                    <a:pt x="85725" y="2306638"/>
                  </a:lnTo>
                  <a:lnTo>
                    <a:pt x="109538" y="2295525"/>
                  </a:lnTo>
                  <a:lnTo>
                    <a:pt x="87313" y="2236788"/>
                  </a:lnTo>
                  <a:lnTo>
                    <a:pt x="111125" y="2212975"/>
                  </a:lnTo>
                  <a:lnTo>
                    <a:pt x="165100" y="2244725"/>
                  </a:lnTo>
                  <a:lnTo>
                    <a:pt x="201613" y="2193925"/>
                  </a:lnTo>
                  <a:lnTo>
                    <a:pt x="236538" y="2162175"/>
                  </a:lnTo>
                  <a:lnTo>
                    <a:pt x="246063" y="2116138"/>
                  </a:lnTo>
                  <a:lnTo>
                    <a:pt x="293688" y="2151063"/>
                  </a:lnTo>
                  <a:lnTo>
                    <a:pt x="328613" y="2152650"/>
                  </a:lnTo>
                  <a:lnTo>
                    <a:pt x="341313" y="2117725"/>
                  </a:lnTo>
                  <a:lnTo>
                    <a:pt x="279400" y="2098675"/>
                  </a:lnTo>
                  <a:lnTo>
                    <a:pt x="263525" y="2035175"/>
                  </a:lnTo>
                  <a:lnTo>
                    <a:pt x="306388" y="2063750"/>
                  </a:lnTo>
                  <a:lnTo>
                    <a:pt x="387350" y="2051050"/>
                  </a:lnTo>
                  <a:lnTo>
                    <a:pt x="393700" y="2097088"/>
                  </a:lnTo>
                  <a:lnTo>
                    <a:pt x="433388" y="2093913"/>
                  </a:lnTo>
                  <a:lnTo>
                    <a:pt x="434975" y="2024063"/>
                  </a:lnTo>
                  <a:lnTo>
                    <a:pt x="442913" y="1965325"/>
                  </a:lnTo>
                  <a:lnTo>
                    <a:pt x="490538" y="1920875"/>
                  </a:lnTo>
                  <a:lnTo>
                    <a:pt x="538163" y="1958975"/>
                  </a:lnTo>
                  <a:lnTo>
                    <a:pt x="554038" y="1911350"/>
                  </a:lnTo>
                  <a:lnTo>
                    <a:pt x="588963" y="1919288"/>
                  </a:lnTo>
                  <a:lnTo>
                    <a:pt x="609600" y="1957388"/>
                  </a:lnTo>
                  <a:lnTo>
                    <a:pt x="654050" y="1931988"/>
                  </a:lnTo>
                  <a:lnTo>
                    <a:pt x="706438" y="1930400"/>
                  </a:lnTo>
                  <a:lnTo>
                    <a:pt x="735013" y="1890713"/>
                  </a:lnTo>
                  <a:lnTo>
                    <a:pt x="769938" y="1878013"/>
                  </a:lnTo>
                  <a:lnTo>
                    <a:pt x="763588" y="1808163"/>
                  </a:lnTo>
                  <a:lnTo>
                    <a:pt x="735013" y="1828800"/>
                  </a:lnTo>
                  <a:lnTo>
                    <a:pt x="714375" y="1860550"/>
                  </a:lnTo>
                  <a:lnTo>
                    <a:pt x="674688" y="1889125"/>
                  </a:lnTo>
                  <a:lnTo>
                    <a:pt x="650875" y="1914525"/>
                  </a:lnTo>
                  <a:lnTo>
                    <a:pt x="604838" y="1889125"/>
                  </a:lnTo>
                  <a:lnTo>
                    <a:pt x="596900" y="1849438"/>
                  </a:lnTo>
                  <a:lnTo>
                    <a:pt x="625475" y="1797050"/>
                  </a:lnTo>
                  <a:lnTo>
                    <a:pt x="671513" y="1730375"/>
                  </a:lnTo>
                  <a:lnTo>
                    <a:pt x="719138" y="1711325"/>
                  </a:lnTo>
                  <a:lnTo>
                    <a:pt x="736600" y="1673225"/>
                  </a:lnTo>
                  <a:lnTo>
                    <a:pt x="774700" y="1709738"/>
                  </a:lnTo>
                  <a:lnTo>
                    <a:pt x="830263" y="1662113"/>
                  </a:lnTo>
                  <a:lnTo>
                    <a:pt x="790575" y="1641475"/>
                  </a:lnTo>
                  <a:lnTo>
                    <a:pt x="838200" y="1604963"/>
                  </a:lnTo>
                  <a:lnTo>
                    <a:pt x="828675" y="1535113"/>
                  </a:lnTo>
                  <a:lnTo>
                    <a:pt x="874713" y="1512888"/>
                  </a:lnTo>
                  <a:lnTo>
                    <a:pt x="903288" y="1524000"/>
                  </a:lnTo>
                  <a:lnTo>
                    <a:pt x="947738" y="1500188"/>
                  </a:lnTo>
                  <a:lnTo>
                    <a:pt x="890588" y="1462088"/>
                  </a:lnTo>
                  <a:lnTo>
                    <a:pt x="955675" y="1433513"/>
                  </a:lnTo>
                  <a:lnTo>
                    <a:pt x="901700" y="1384300"/>
                  </a:lnTo>
                  <a:lnTo>
                    <a:pt x="942975" y="1377950"/>
                  </a:lnTo>
                  <a:lnTo>
                    <a:pt x="942975" y="1328738"/>
                  </a:lnTo>
                  <a:lnTo>
                    <a:pt x="966788" y="1274763"/>
                  </a:lnTo>
                  <a:lnTo>
                    <a:pt x="998538" y="1270000"/>
                  </a:lnTo>
                  <a:lnTo>
                    <a:pt x="1011238" y="1195388"/>
                  </a:lnTo>
                  <a:lnTo>
                    <a:pt x="1044575" y="1117600"/>
                  </a:lnTo>
                  <a:lnTo>
                    <a:pt x="1065213" y="1069975"/>
                  </a:lnTo>
                  <a:lnTo>
                    <a:pt x="1092200" y="1025525"/>
                  </a:lnTo>
                  <a:lnTo>
                    <a:pt x="1139825" y="1011238"/>
                  </a:lnTo>
                  <a:lnTo>
                    <a:pt x="1152525" y="950913"/>
                  </a:lnTo>
                  <a:lnTo>
                    <a:pt x="1181100" y="890588"/>
                  </a:lnTo>
                  <a:lnTo>
                    <a:pt x="1227138" y="850900"/>
                  </a:lnTo>
                  <a:lnTo>
                    <a:pt x="1198563" y="822325"/>
                  </a:lnTo>
                  <a:lnTo>
                    <a:pt x="1212850" y="779463"/>
                  </a:lnTo>
                  <a:lnTo>
                    <a:pt x="1257300" y="768350"/>
                  </a:lnTo>
                  <a:lnTo>
                    <a:pt x="1322388" y="766763"/>
                  </a:lnTo>
                  <a:lnTo>
                    <a:pt x="1293813" y="714375"/>
                  </a:lnTo>
                  <a:lnTo>
                    <a:pt x="1347788" y="695325"/>
                  </a:lnTo>
                  <a:lnTo>
                    <a:pt x="1373188" y="681038"/>
                  </a:lnTo>
                  <a:lnTo>
                    <a:pt x="1395413" y="650875"/>
                  </a:lnTo>
                  <a:lnTo>
                    <a:pt x="1323975" y="641350"/>
                  </a:lnTo>
                  <a:lnTo>
                    <a:pt x="1309688" y="609600"/>
                  </a:lnTo>
                  <a:lnTo>
                    <a:pt x="1339850" y="561975"/>
                  </a:lnTo>
                  <a:lnTo>
                    <a:pt x="1387475" y="552450"/>
                  </a:lnTo>
                  <a:lnTo>
                    <a:pt x="1430338" y="569913"/>
                  </a:lnTo>
                  <a:lnTo>
                    <a:pt x="1474788" y="563563"/>
                  </a:lnTo>
                  <a:lnTo>
                    <a:pt x="1519238" y="525463"/>
                  </a:lnTo>
                  <a:lnTo>
                    <a:pt x="1508125" y="471488"/>
                  </a:lnTo>
                  <a:lnTo>
                    <a:pt x="1471613" y="384175"/>
                  </a:lnTo>
                  <a:lnTo>
                    <a:pt x="1516063" y="338138"/>
                  </a:lnTo>
                  <a:lnTo>
                    <a:pt x="1566863" y="371475"/>
                  </a:lnTo>
                  <a:lnTo>
                    <a:pt x="1562100" y="436563"/>
                  </a:lnTo>
                  <a:lnTo>
                    <a:pt x="1624013" y="471488"/>
                  </a:lnTo>
                  <a:lnTo>
                    <a:pt x="1701800" y="457200"/>
                  </a:lnTo>
                  <a:lnTo>
                    <a:pt x="1738313" y="400050"/>
                  </a:lnTo>
                  <a:lnTo>
                    <a:pt x="1776413" y="436563"/>
                  </a:lnTo>
                  <a:lnTo>
                    <a:pt x="1811338" y="433388"/>
                  </a:lnTo>
                  <a:lnTo>
                    <a:pt x="1811338" y="393700"/>
                  </a:lnTo>
                  <a:lnTo>
                    <a:pt x="1776413" y="333375"/>
                  </a:lnTo>
                  <a:lnTo>
                    <a:pt x="1795463" y="293688"/>
                  </a:lnTo>
                  <a:lnTo>
                    <a:pt x="1838325" y="303213"/>
                  </a:lnTo>
                  <a:lnTo>
                    <a:pt x="1895475" y="304800"/>
                  </a:lnTo>
                  <a:lnTo>
                    <a:pt x="1901825" y="374650"/>
                  </a:lnTo>
                  <a:lnTo>
                    <a:pt x="1924050" y="404813"/>
                  </a:lnTo>
                  <a:lnTo>
                    <a:pt x="1971675" y="388938"/>
                  </a:lnTo>
                  <a:lnTo>
                    <a:pt x="1954213" y="307975"/>
                  </a:lnTo>
                  <a:lnTo>
                    <a:pt x="1876425" y="231775"/>
                  </a:lnTo>
                  <a:lnTo>
                    <a:pt x="1897063" y="190500"/>
                  </a:lnTo>
                  <a:lnTo>
                    <a:pt x="1979613" y="204788"/>
                  </a:lnTo>
                  <a:lnTo>
                    <a:pt x="2020888" y="207963"/>
                  </a:lnTo>
                  <a:lnTo>
                    <a:pt x="2068513" y="149225"/>
                  </a:lnTo>
                  <a:lnTo>
                    <a:pt x="2081213" y="233363"/>
                  </a:lnTo>
                  <a:lnTo>
                    <a:pt x="2128838" y="219075"/>
                  </a:lnTo>
                  <a:lnTo>
                    <a:pt x="2111375" y="185738"/>
                  </a:lnTo>
                  <a:lnTo>
                    <a:pt x="2114550" y="138113"/>
                  </a:lnTo>
                  <a:lnTo>
                    <a:pt x="2128838" y="98425"/>
                  </a:lnTo>
                  <a:lnTo>
                    <a:pt x="2157413" y="73025"/>
                  </a:lnTo>
                  <a:lnTo>
                    <a:pt x="2187575" y="57150"/>
                  </a:lnTo>
                  <a:lnTo>
                    <a:pt x="2198688" y="15875"/>
                  </a:lnTo>
                  <a:lnTo>
                    <a:pt x="2230438" y="0"/>
                  </a:lnTo>
                  <a:lnTo>
                    <a:pt x="2209800" y="147638"/>
                  </a:lnTo>
                  <a:lnTo>
                    <a:pt x="2181225" y="212725"/>
                  </a:lnTo>
                  <a:lnTo>
                    <a:pt x="2143125" y="304800"/>
                  </a:lnTo>
                  <a:lnTo>
                    <a:pt x="2128838" y="376238"/>
                  </a:lnTo>
                  <a:lnTo>
                    <a:pt x="2173288" y="331788"/>
                  </a:lnTo>
                  <a:lnTo>
                    <a:pt x="2287588" y="90488"/>
                  </a:lnTo>
                  <a:lnTo>
                    <a:pt x="2311400" y="117475"/>
                  </a:lnTo>
                  <a:lnTo>
                    <a:pt x="2292350" y="261938"/>
                  </a:lnTo>
                  <a:lnTo>
                    <a:pt x="2343150" y="255588"/>
                  </a:lnTo>
                  <a:lnTo>
                    <a:pt x="2371725" y="200025"/>
                  </a:lnTo>
                  <a:lnTo>
                    <a:pt x="2378075" y="147638"/>
                  </a:lnTo>
                  <a:lnTo>
                    <a:pt x="2378075" y="74613"/>
                  </a:lnTo>
                  <a:lnTo>
                    <a:pt x="2395538" y="41275"/>
                  </a:lnTo>
                  <a:lnTo>
                    <a:pt x="2424113" y="20638"/>
                  </a:lnTo>
                  <a:lnTo>
                    <a:pt x="2449513" y="47625"/>
                  </a:lnTo>
                  <a:lnTo>
                    <a:pt x="2479675" y="76200"/>
                  </a:lnTo>
                  <a:lnTo>
                    <a:pt x="2509838" y="88900"/>
                  </a:lnTo>
                  <a:lnTo>
                    <a:pt x="2471738" y="150813"/>
                  </a:lnTo>
                  <a:lnTo>
                    <a:pt x="2452688" y="195263"/>
                  </a:lnTo>
                  <a:lnTo>
                    <a:pt x="2462213" y="227013"/>
                  </a:lnTo>
                  <a:lnTo>
                    <a:pt x="2501900" y="209550"/>
                  </a:lnTo>
                  <a:lnTo>
                    <a:pt x="2516188" y="155575"/>
                  </a:lnTo>
                  <a:lnTo>
                    <a:pt x="2552700" y="114300"/>
                  </a:lnTo>
                  <a:lnTo>
                    <a:pt x="2581275" y="119063"/>
                  </a:lnTo>
                  <a:lnTo>
                    <a:pt x="2592388" y="142875"/>
                  </a:lnTo>
                  <a:lnTo>
                    <a:pt x="2619375" y="160338"/>
                  </a:lnTo>
                  <a:lnTo>
                    <a:pt x="2655888" y="174625"/>
                  </a:lnTo>
                  <a:lnTo>
                    <a:pt x="2716213" y="217488"/>
                  </a:lnTo>
                  <a:lnTo>
                    <a:pt x="2740025" y="233363"/>
                  </a:lnTo>
                  <a:lnTo>
                    <a:pt x="2762250" y="261938"/>
                  </a:lnTo>
                  <a:lnTo>
                    <a:pt x="2749550" y="290513"/>
                  </a:lnTo>
                  <a:lnTo>
                    <a:pt x="2752725" y="320675"/>
                  </a:lnTo>
                  <a:lnTo>
                    <a:pt x="2746375" y="352425"/>
                  </a:lnTo>
                  <a:lnTo>
                    <a:pt x="2705100" y="365125"/>
                  </a:lnTo>
                  <a:lnTo>
                    <a:pt x="2681288" y="374650"/>
                  </a:lnTo>
                  <a:lnTo>
                    <a:pt x="2638425" y="366713"/>
                  </a:lnTo>
                  <a:lnTo>
                    <a:pt x="2601913" y="352425"/>
                  </a:lnTo>
                  <a:lnTo>
                    <a:pt x="2566988" y="357188"/>
                  </a:lnTo>
                  <a:lnTo>
                    <a:pt x="2667000" y="450850"/>
                  </a:lnTo>
                  <a:lnTo>
                    <a:pt x="2663825" y="517525"/>
                  </a:lnTo>
                  <a:lnTo>
                    <a:pt x="2600325" y="585788"/>
                  </a:lnTo>
                  <a:lnTo>
                    <a:pt x="2525713" y="442913"/>
                  </a:lnTo>
                  <a:lnTo>
                    <a:pt x="2462213" y="39528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2" name="Freeform 104">
              <a:extLst>
                <a:ext uri="{FF2B5EF4-FFF2-40B4-BE49-F238E27FC236}">
                  <a16:creationId xmlns:a16="http://schemas.microsoft.com/office/drawing/2014/main" id="{F9B571C2-22FC-9459-742A-8020F5BE8031}"/>
                </a:ext>
              </a:extLst>
            </p:cNvPr>
            <p:cNvSpPr>
              <a:spLocks/>
            </p:cNvSpPr>
            <p:nvPr/>
          </p:nvSpPr>
          <p:spPr bwMode="auto">
            <a:xfrm>
              <a:off x="6711926" y="2523004"/>
              <a:ext cx="833655" cy="396419"/>
            </a:xfrm>
            <a:custGeom>
              <a:avLst/>
              <a:gdLst>
                <a:gd name="T0" fmla="*/ 0 w 2171"/>
                <a:gd name="T1" fmla="*/ 2147483647 h 1006"/>
                <a:gd name="T2" fmla="*/ 2147483647 w 2171"/>
                <a:gd name="T3" fmla="*/ 2147483647 h 1006"/>
                <a:gd name="T4" fmla="*/ 2147483647 w 2171"/>
                <a:gd name="T5" fmla="*/ 2147483647 h 1006"/>
                <a:gd name="T6" fmla="*/ 2147483647 w 2171"/>
                <a:gd name="T7" fmla="*/ 2147483647 h 1006"/>
                <a:gd name="T8" fmla="*/ 2147483647 w 2171"/>
                <a:gd name="T9" fmla="*/ 2147483647 h 1006"/>
                <a:gd name="T10" fmla="*/ 2147483647 w 2171"/>
                <a:gd name="T11" fmla="*/ 2147483647 h 1006"/>
                <a:gd name="T12" fmla="*/ 2147483647 w 2171"/>
                <a:gd name="T13" fmla="*/ 2147483647 h 1006"/>
                <a:gd name="T14" fmla="*/ 2147483647 w 2171"/>
                <a:gd name="T15" fmla="*/ 2147483647 h 1006"/>
                <a:gd name="T16" fmla="*/ 2147483647 w 2171"/>
                <a:gd name="T17" fmla="*/ 2147483647 h 1006"/>
                <a:gd name="T18" fmla="*/ 2147483647 w 2171"/>
                <a:gd name="T19" fmla="*/ 2147483647 h 1006"/>
                <a:gd name="T20" fmla="*/ 2147483647 w 2171"/>
                <a:gd name="T21" fmla="*/ 2147483647 h 1006"/>
                <a:gd name="T22" fmla="*/ 2147483647 w 2171"/>
                <a:gd name="T23" fmla="*/ 2147483647 h 1006"/>
                <a:gd name="T24" fmla="*/ 2147483647 w 2171"/>
                <a:gd name="T25" fmla="*/ 2147483647 h 1006"/>
                <a:gd name="T26" fmla="*/ 2147483647 w 2171"/>
                <a:gd name="T27" fmla="*/ 2147483647 h 1006"/>
                <a:gd name="T28" fmla="*/ 2147483647 w 2171"/>
                <a:gd name="T29" fmla="*/ 2147483647 h 1006"/>
                <a:gd name="T30" fmla="*/ 2147483647 w 2171"/>
                <a:gd name="T31" fmla="*/ 2147483647 h 1006"/>
                <a:gd name="T32" fmla="*/ 2147483647 w 2171"/>
                <a:gd name="T33" fmla="*/ 2147483647 h 1006"/>
                <a:gd name="T34" fmla="*/ 2147483647 w 2171"/>
                <a:gd name="T35" fmla="*/ 2147483647 h 1006"/>
                <a:gd name="T36" fmla="*/ 2147483647 w 2171"/>
                <a:gd name="T37" fmla="*/ 2147483647 h 1006"/>
                <a:gd name="T38" fmla="*/ 2147483647 w 2171"/>
                <a:gd name="T39" fmla="*/ 2147483647 h 1006"/>
                <a:gd name="T40" fmla="*/ 2147483647 w 2171"/>
                <a:gd name="T41" fmla="*/ 2147483647 h 1006"/>
                <a:gd name="T42" fmla="*/ 2147483647 w 2171"/>
                <a:gd name="T43" fmla="*/ 2147483647 h 1006"/>
                <a:gd name="T44" fmla="*/ 2147483647 w 2171"/>
                <a:gd name="T45" fmla="*/ 2147483647 h 1006"/>
                <a:gd name="T46" fmla="*/ 2147483647 w 2171"/>
                <a:gd name="T47" fmla="*/ 2147483647 h 1006"/>
                <a:gd name="T48" fmla="*/ 2147483647 w 2171"/>
                <a:gd name="T49" fmla="*/ 2147483647 h 1006"/>
                <a:gd name="T50" fmla="*/ 2147483647 w 2171"/>
                <a:gd name="T51" fmla="*/ 2147483647 h 1006"/>
                <a:gd name="T52" fmla="*/ 2147483647 w 2171"/>
                <a:gd name="T53" fmla="*/ 2147483647 h 1006"/>
                <a:gd name="T54" fmla="*/ 2147483647 w 2171"/>
                <a:gd name="T55" fmla="*/ 2147483647 h 1006"/>
                <a:gd name="T56" fmla="*/ 2147483647 w 2171"/>
                <a:gd name="T57" fmla="*/ 2147483647 h 1006"/>
                <a:gd name="T58" fmla="*/ 2147483647 w 2171"/>
                <a:gd name="T59" fmla="*/ 2147483647 h 1006"/>
                <a:gd name="T60" fmla="*/ 2147483647 w 2171"/>
                <a:gd name="T61" fmla="*/ 2147483647 h 1006"/>
                <a:gd name="T62" fmla="*/ 2147483647 w 2171"/>
                <a:gd name="T63" fmla="*/ 2147483647 h 1006"/>
                <a:gd name="T64" fmla="*/ 2147483647 w 2171"/>
                <a:gd name="T65" fmla="*/ 0 h 1006"/>
                <a:gd name="T66" fmla="*/ 2147483647 w 2171"/>
                <a:gd name="T67" fmla="*/ 2147483647 h 1006"/>
                <a:gd name="T68" fmla="*/ 2147483647 w 2171"/>
                <a:gd name="T69" fmla="*/ 2147483647 h 1006"/>
                <a:gd name="T70" fmla="*/ 2147483647 w 2171"/>
                <a:gd name="T71" fmla="*/ 2147483647 h 1006"/>
                <a:gd name="T72" fmla="*/ 2147483647 w 2171"/>
                <a:gd name="T73" fmla="*/ 2147483647 h 1006"/>
                <a:gd name="T74" fmla="*/ 2147483647 w 2171"/>
                <a:gd name="T75" fmla="*/ 2147483647 h 1006"/>
                <a:gd name="T76" fmla="*/ 2147483647 w 2171"/>
                <a:gd name="T77" fmla="*/ 2147483647 h 1006"/>
                <a:gd name="T78" fmla="*/ 2147483647 w 2171"/>
                <a:gd name="T79" fmla="*/ 2147483647 h 10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71"/>
                <a:gd name="T121" fmla="*/ 0 h 1006"/>
                <a:gd name="T122" fmla="*/ 2171 w 2171"/>
                <a:gd name="T123" fmla="*/ 1006 h 100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71" h="1006">
                  <a:moveTo>
                    <a:pt x="63" y="279"/>
                  </a:moveTo>
                  <a:lnTo>
                    <a:pt x="0" y="295"/>
                  </a:lnTo>
                  <a:lnTo>
                    <a:pt x="72" y="313"/>
                  </a:lnTo>
                  <a:lnTo>
                    <a:pt x="80" y="354"/>
                  </a:lnTo>
                  <a:lnTo>
                    <a:pt x="146" y="366"/>
                  </a:lnTo>
                  <a:lnTo>
                    <a:pt x="255" y="471"/>
                  </a:lnTo>
                  <a:lnTo>
                    <a:pt x="273" y="558"/>
                  </a:lnTo>
                  <a:lnTo>
                    <a:pt x="252" y="637"/>
                  </a:lnTo>
                  <a:lnTo>
                    <a:pt x="281" y="684"/>
                  </a:lnTo>
                  <a:lnTo>
                    <a:pt x="362" y="706"/>
                  </a:lnTo>
                  <a:lnTo>
                    <a:pt x="395" y="687"/>
                  </a:lnTo>
                  <a:lnTo>
                    <a:pt x="464" y="720"/>
                  </a:lnTo>
                  <a:lnTo>
                    <a:pt x="494" y="756"/>
                  </a:lnTo>
                  <a:lnTo>
                    <a:pt x="552" y="762"/>
                  </a:lnTo>
                  <a:lnTo>
                    <a:pt x="615" y="868"/>
                  </a:lnTo>
                  <a:lnTo>
                    <a:pt x="636" y="925"/>
                  </a:lnTo>
                  <a:lnTo>
                    <a:pt x="713" y="916"/>
                  </a:lnTo>
                  <a:lnTo>
                    <a:pt x="819" y="922"/>
                  </a:lnTo>
                  <a:lnTo>
                    <a:pt x="894" y="936"/>
                  </a:lnTo>
                  <a:lnTo>
                    <a:pt x="969" y="922"/>
                  </a:lnTo>
                  <a:lnTo>
                    <a:pt x="1025" y="958"/>
                  </a:lnTo>
                  <a:lnTo>
                    <a:pt x="1095" y="979"/>
                  </a:lnTo>
                  <a:lnTo>
                    <a:pt x="1148" y="1000"/>
                  </a:lnTo>
                  <a:lnTo>
                    <a:pt x="1190" y="1006"/>
                  </a:lnTo>
                  <a:lnTo>
                    <a:pt x="1244" y="991"/>
                  </a:lnTo>
                  <a:lnTo>
                    <a:pt x="1266" y="951"/>
                  </a:lnTo>
                  <a:lnTo>
                    <a:pt x="1337" y="940"/>
                  </a:lnTo>
                  <a:lnTo>
                    <a:pt x="1388" y="945"/>
                  </a:lnTo>
                  <a:lnTo>
                    <a:pt x="1454" y="937"/>
                  </a:lnTo>
                  <a:lnTo>
                    <a:pt x="1532" y="924"/>
                  </a:lnTo>
                  <a:lnTo>
                    <a:pt x="1590" y="874"/>
                  </a:lnTo>
                  <a:lnTo>
                    <a:pt x="1655" y="825"/>
                  </a:lnTo>
                  <a:lnTo>
                    <a:pt x="1632" y="733"/>
                  </a:lnTo>
                  <a:lnTo>
                    <a:pt x="1661" y="709"/>
                  </a:lnTo>
                  <a:lnTo>
                    <a:pt x="1692" y="703"/>
                  </a:lnTo>
                  <a:lnTo>
                    <a:pt x="1745" y="724"/>
                  </a:lnTo>
                  <a:lnTo>
                    <a:pt x="1793" y="715"/>
                  </a:lnTo>
                  <a:lnTo>
                    <a:pt x="1826" y="691"/>
                  </a:lnTo>
                  <a:lnTo>
                    <a:pt x="1848" y="666"/>
                  </a:lnTo>
                  <a:lnTo>
                    <a:pt x="1887" y="657"/>
                  </a:lnTo>
                  <a:lnTo>
                    <a:pt x="1979" y="561"/>
                  </a:lnTo>
                  <a:lnTo>
                    <a:pt x="2034" y="547"/>
                  </a:lnTo>
                  <a:lnTo>
                    <a:pt x="2082" y="543"/>
                  </a:lnTo>
                  <a:lnTo>
                    <a:pt x="2165" y="546"/>
                  </a:lnTo>
                  <a:lnTo>
                    <a:pt x="2171" y="510"/>
                  </a:lnTo>
                  <a:lnTo>
                    <a:pt x="2156" y="477"/>
                  </a:lnTo>
                  <a:lnTo>
                    <a:pt x="2073" y="405"/>
                  </a:lnTo>
                  <a:lnTo>
                    <a:pt x="2021" y="411"/>
                  </a:lnTo>
                  <a:lnTo>
                    <a:pt x="1962" y="441"/>
                  </a:lnTo>
                  <a:lnTo>
                    <a:pt x="1904" y="424"/>
                  </a:lnTo>
                  <a:lnTo>
                    <a:pt x="1901" y="381"/>
                  </a:lnTo>
                  <a:lnTo>
                    <a:pt x="1952" y="223"/>
                  </a:lnTo>
                  <a:lnTo>
                    <a:pt x="1863" y="198"/>
                  </a:lnTo>
                  <a:lnTo>
                    <a:pt x="1791" y="204"/>
                  </a:lnTo>
                  <a:lnTo>
                    <a:pt x="1736" y="240"/>
                  </a:lnTo>
                  <a:lnTo>
                    <a:pt x="1653" y="280"/>
                  </a:lnTo>
                  <a:lnTo>
                    <a:pt x="1553" y="288"/>
                  </a:lnTo>
                  <a:lnTo>
                    <a:pt x="1457" y="288"/>
                  </a:lnTo>
                  <a:lnTo>
                    <a:pt x="1421" y="250"/>
                  </a:lnTo>
                  <a:lnTo>
                    <a:pt x="1293" y="180"/>
                  </a:lnTo>
                  <a:lnTo>
                    <a:pt x="1130" y="195"/>
                  </a:lnTo>
                  <a:lnTo>
                    <a:pt x="1067" y="193"/>
                  </a:lnTo>
                  <a:lnTo>
                    <a:pt x="995" y="123"/>
                  </a:lnTo>
                  <a:lnTo>
                    <a:pt x="983" y="60"/>
                  </a:lnTo>
                  <a:lnTo>
                    <a:pt x="916" y="20"/>
                  </a:lnTo>
                  <a:lnTo>
                    <a:pt x="865" y="0"/>
                  </a:lnTo>
                  <a:lnTo>
                    <a:pt x="769" y="0"/>
                  </a:lnTo>
                  <a:lnTo>
                    <a:pt x="714" y="36"/>
                  </a:lnTo>
                  <a:lnTo>
                    <a:pt x="722" y="165"/>
                  </a:lnTo>
                  <a:lnTo>
                    <a:pt x="689" y="213"/>
                  </a:lnTo>
                  <a:lnTo>
                    <a:pt x="633" y="219"/>
                  </a:lnTo>
                  <a:lnTo>
                    <a:pt x="524" y="222"/>
                  </a:lnTo>
                  <a:lnTo>
                    <a:pt x="482" y="153"/>
                  </a:lnTo>
                  <a:lnTo>
                    <a:pt x="423" y="144"/>
                  </a:lnTo>
                  <a:lnTo>
                    <a:pt x="351" y="130"/>
                  </a:lnTo>
                  <a:lnTo>
                    <a:pt x="285" y="133"/>
                  </a:lnTo>
                  <a:lnTo>
                    <a:pt x="257" y="171"/>
                  </a:lnTo>
                  <a:lnTo>
                    <a:pt x="212" y="205"/>
                  </a:lnTo>
                  <a:lnTo>
                    <a:pt x="143" y="220"/>
                  </a:lnTo>
                  <a:lnTo>
                    <a:pt x="63" y="27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3" name="Freeform 105">
              <a:extLst>
                <a:ext uri="{FF2B5EF4-FFF2-40B4-BE49-F238E27FC236}">
                  <a16:creationId xmlns:a16="http://schemas.microsoft.com/office/drawing/2014/main" id="{82ACAE3C-2647-8F1C-ADD0-86A36A73D936}"/>
                </a:ext>
              </a:extLst>
            </p:cNvPr>
            <p:cNvSpPr>
              <a:spLocks noChangeAspect="1"/>
            </p:cNvSpPr>
            <p:nvPr/>
          </p:nvSpPr>
          <p:spPr bwMode="auto">
            <a:xfrm>
              <a:off x="5804319" y="3449520"/>
              <a:ext cx="6722" cy="16133"/>
            </a:xfrm>
            <a:custGeom>
              <a:avLst/>
              <a:gdLst>
                <a:gd name="T0" fmla="*/ 2147483647 w 38"/>
                <a:gd name="T1" fmla="*/ 0 h 85"/>
                <a:gd name="T2" fmla="*/ 2147483647 w 38"/>
                <a:gd name="T3" fmla="*/ 2147483647 h 85"/>
                <a:gd name="T4" fmla="*/ 2147483647 w 38"/>
                <a:gd name="T5" fmla="*/ 2147483647 h 85"/>
                <a:gd name="T6" fmla="*/ 2147483647 w 38"/>
                <a:gd name="T7" fmla="*/ 2147483647 h 85"/>
                <a:gd name="T8" fmla="*/ 2147483647 w 38"/>
                <a:gd name="T9" fmla="*/ 2147483647 h 85"/>
                <a:gd name="T10" fmla="*/ 0 w 38"/>
                <a:gd name="T11" fmla="*/ 2147483647 h 85"/>
                <a:gd name="T12" fmla="*/ 2147483647 w 38"/>
                <a:gd name="T13" fmla="*/ 2147483647 h 85"/>
                <a:gd name="T14" fmla="*/ 2147483647 w 38"/>
                <a:gd name="T15" fmla="*/ 0 h 85"/>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85"/>
                <a:gd name="T26" fmla="*/ 38 w 38"/>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85">
                  <a:moveTo>
                    <a:pt x="38" y="0"/>
                  </a:moveTo>
                  <a:lnTo>
                    <a:pt x="33" y="30"/>
                  </a:lnTo>
                  <a:lnTo>
                    <a:pt x="36" y="61"/>
                  </a:lnTo>
                  <a:lnTo>
                    <a:pt x="38" y="85"/>
                  </a:lnTo>
                  <a:lnTo>
                    <a:pt x="6" y="84"/>
                  </a:lnTo>
                  <a:lnTo>
                    <a:pt x="0" y="46"/>
                  </a:lnTo>
                  <a:lnTo>
                    <a:pt x="14" y="6"/>
                  </a:lnTo>
                  <a:lnTo>
                    <a:pt x="38"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4" name="Freeform 106">
              <a:extLst>
                <a:ext uri="{FF2B5EF4-FFF2-40B4-BE49-F238E27FC236}">
                  <a16:creationId xmlns:a16="http://schemas.microsoft.com/office/drawing/2014/main" id="{566686F5-FD27-9B32-8B99-8FA9AC714F86}"/>
                </a:ext>
              </a:extLst>
            </p:cNvPr>
            <p:cNvSpPr>
              <a:spLocks/>
            </p:cNvSpPr>
            <p:nvPr/>
          </p:nvSpPr>
          <p:spPr bwMode="auto">
            <a:xfrm>
              <a:off x="6057551" y="3069232"/>
              <a:ext cx="351839" cy="414858"/>
            </a:xfrm>
            <a:custGeom>
              <a:avLst/>
              <a:gdLst>
                <a:gd name="T0" fmla="*/ 2147483647 w 918"/>
                <a:gd name="T1" fmla="*/ 2147483647 h 1056"/>
                <a:gd name="T2" fmla="*/ 2147483647 w 918"/>
                <a:gd name="T3" fmla="*/ 2147483647 h 1056"/>
                <a:gd name="T4" fmla="*/ 2147483647 w 918"/>
                <a:gd name="T5" fmla="*/ 2147483647 h 1056"/>
                <a:gd name="T6" fmla="*/ 2147483647 w 918"/>
                <a:gd name="T7" fmla="*/ 2147483647 h 1056"/>
                <a:gd name="T8" fmla="*/ 2147483647 w 918"/>
                <a:gd name="T9" fmla="*/ 2147483647 h 1056"/>
                <a:gd name="T10" fmla="*/ 2147483647 w 918"/>
                <a:gd name="T11" fmla="*/ 2147483647 h 1056"/>
                <a:gd name="T12" fmla="*/ 2147483647 w 918"/>
                <a:gd name="T13" fmla="*/ 2147483647 h 1056"/>
                <a:gd name="T14" fmla="*/ 2147483647 w 918"/>
                <a:gd name="T15" fmla="*/ 2147483647 h 1056"/>
                <a:gd name="T16" fmla="*/ 2147483647 w 918"/>
                <a:gd name="T17" fmla="*/ 2147483647 h 1056"/>
                <a:gd name="T18" fmla="*/ 2147483647 w 918"/>
                <a:gd name="T19" fmla="*/ 2147483647 h 1056"/>
                <a:gd name="T20" fmla="*/ 2147483647 w 918"/>
                <a:gd name="T21" fmla="*/ 2147483647 h 1056"/>
                <a:gd name="T22" fmla="*/ 2147483647 w 918"/>
                <a:gd name="T23" fmla="*/ 2147483647 h 1056"/>
                <a:gd name="T24" fmla="*/ 2147483647 w 918"/>
                <a:gd name="T25" fmla="*/ 2147483647 h 1056"/>
                <a:gd name="T26" fmla="*/ 2147483647 w 918"/>
                <a:gd name="T27" fmla="*/ 2147483647 h 1056"/>
                <a:gd name="T28" fmla="*/ 2147483647 w 918"/>
                <a:gd name="T29" fmla="*/ 2147483647 h 1056"/>
                <a:gd name="T30" fmla="*/ 2147483647 w 918"/>
                <a:gd name="T31" fmla="*/ 2147483647 h 1056"/>
                <a:gd name="T32" fmla="*/ 2147483647 w 918"/>
                <a:gd name="T33" fmla="*/ 2147483647 h 1056"/>
                <a:gd name="T34" fmla="*/ 2147483647 w 918"/>
                <a:gd name="T35" fmla="*/ 2147483647 h 1056"/>
                <a:gd name="T36" fmla="*/ 2147483647 w 918"/>
                <a:gd name="T37" fmla="*/ 2147483647 h 1056"/>
                <a:gd name="T38" fmla="*/ 2147483647 w 918"/>
                <a:gd name="T39" fmla="*/ 2147483647 h 1056"/>
                <a:gd name="T40" fmla="*/ 2147483647 w 918"/>
                <a:gd name="T41" fmla="*/ 2147483647 h 1056"/>
                <a:gd name="T42" fmla="*/ 2147483647 w 918"/>
                <a:gd name="T43" fmla="*/ 2147483647 h 1056"/>
                <a:gd name="T44" fmla="*/ 2147483647 w 918"/>
                <a:gd name="T45" fmla="*/ 2147483647 h 1056"/>
                <a:gd name="T46" fmla="*/ 2147483647 w 918"/>
                <a:gd name="T47" fmla="*/ 2147483647 h 1056"/>
                <a:gd name="T48" fmla="*/ 2147483647 w 918"/>
                <a:gd name="T49" fmla="*/ 2147483647 h 1056"/>
                <a:gd name="T50" fmla="*/ 2147483647 w 918"/>
                <a:gd name="T51" fmla="*/ 2147483647 h 1056"/>
                <a:gd name="T52" fmla="*/ 2147483647 w 918"/>
                <a:gd name="T53" fmla="*/ 0 h 1056"/>
                <a:gd name="T54" fmla="*/ 2147483647 w 918"/>
                <a:gd name="T55" fmla="*/ 2147483647 h 1056"/>
                <a:gd name="T56" fmla="*/ 2147483647 w 918"/>
                <a:gd name="T57" fmla="*/ 2147483647 h 1056"/>
                <a:gd name="T58" fmla="*/ 2147483647 w 918"/>
                <a:gd name="T59" fmla="*/ 2147483647 h 1056"/>
                <a:gd name="T60" fmla="*/ 2147483647 w 918"/>
                <a:gd name="T61" fmla="*/ 2147483647 h 1056"/>
                <a:gd name="T62" fmla="*/ 2147483647 w 918"/>
                <a:gd name="T63" fmla="*/ 2147483647 h 1056"/>
                <a:gd name="T64" fmla="*/ 2147483647 w 918"/>
                <a:gd name="T65" fmla="*/ 2147483647 h 1056"/>
                <a:gd name="T66" fmla="*/ 2147483647 w 918"/>
                <a:gd name="T67" fmla="*/ 2147483647 h 1056"/>
                <a:gd name="T68" fmla="*/ 2147483647 w 918"/>
                <a:gd name="T69" fmla="*/ 2147483647 h 1056"/>
                <a:gd name="T70" fmla="*/ 2147483647 w 918"/>
                <a:gd name="T71" fmla="*/ 2147483647 h 1056"/>
                <a:gd name="T72" fmla="*/ 2147483647 w 918"/>
                <a:gd name="T73" fmla="*/ 2147483647 h 1056"/>
                <a:gd name="T74" fmla="*/ 2147483647 w 918"/>
                <a:gd name="T75" fmla="*/ 2147483647 h 1056"/>
                <a:gd name="T76" fmla="*/ 2147483647 w 918"/>
                <a:gd name="T77" fmla="*/ 2147483647 h 1056"/>
                <a:gd name="T78" fmla="*/ 2147483647 w 918"/>
                <a:gd name="T79" fmla="*/ 2147483647 h 1056"/>
                <a:gd name="T80" fmla="*/ 2147483647 w 918"/>
                <a:gd name="T81" fmla="*/ 2147483647 h 1056"/>
                <a:gd name="T82" fmla="*/ 2147483647 w 918"/>
                <a:gd name="T83" fmla="*/ 2147483647 h 10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18"/>
                <a:gd name="T127" fmla="*/ 0 h 1056"/>
                <a:gd name="T128" fmla="*/ 918 w 918"/>
                <a:gd name="T129" fmla="*/ 1056 h 10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18" h="1056">
                  <a:moveTo>
                    <a:pt x="18" y="687"/>
                  </a:moveTo>
                  <a:lnTo>
                    <a:pt x="49" y="720"/>
                  </a:lnTo>
                  <a:lnTo>
                    <a:pt x="81" y="749"/>
                  </a:lnTo>
                  <a:lnTo>
                    <a:pt x="106" y="782"/>
                  </a:lnTo>
                  <a:lnTo>
                    <a:pt x="120" y="810"/>
                  </a:lnTo>
                  <a:lnTo>
                    <a:pt x="84" y="827"/>
                  </a:lnTo>
                  <a:lnTo>
                    <a:pt x="72" y="851"/>
                  </a:lnTo>
                  <a:lnTo>
                    <a:pt x="34" y="867"/>
                  </a:lnTo>
                  <a:lnTo>
                    <a:pt x="9" y="898"/>
                  </a:lnTo>
                  <a:lnTo>
                    <a:pt x="2" y="933"/>
                  </a:lnTo>
                  <a:lnTo>
                    <a:pt x="43" y="963"/>
                  </a:lnTo>
                  <a:lnTo>
                    <a:pt x="85" y="929"/>
                  </a:lnTo>
                  <a:lnTo>
                    <a:pt x="130" y="946"/>
                  </a:lnTo>
                  <a:lnTo>
                    <a:pt x="180" y="933"/>
                  </a:lnTo>
                  <a:lnTo>
                    <a:pt x="213" y="920"/>
                  </a:lnTo>
                  <a:lnTo>
                    <a:pt x="267" y="933"/>
                  </a:lnTo>
                  <a:lnTo>
                    <a:pt x="308" y="933"/>
                  </a:lnTo>
                  <a:lnTo>
                    <a:pt x="354" y="956"/>
                  </a:lnTo>
                  <a:lnTo>
                    <a:pt x="386" y="967"/>
                  </a:lnTo>
                  <a:lnTo>
                    <a:pt x="399" y="1001"/>
                  </a:lnTo>
                  <a:lnTo>
                    <a:pt x="396" y="1037"/>
                  </a:lnTo>
                  <a:lnTo>
                    <a:pt x="430" y="1056"/>
                  </a:lnTo>
                  <a:lnTo>
                    <a:pt x="457" y="1052"/>
                  </a:lnTo>
                  <a:lnTo>
                    <a:pt x="486" y="1031"/>
                  </a:lnTo>
                  <a:lnTo>
                    <a:pt x="634" y="1028"/>
                  </a:lnTo>
                  <a:lnTo>
                    <a:pt x="645" y="996"/>
                  </a:lnTo>
                  <a:lnTo>
                    <a:pt x="594" y="909"/>
                  </a:lnTo>
                  <a:lnTo>
                    <a:pt x="594" y="852"/>
                  </a:lnTo>
                  <a:lnTo>
                    <a:pt x="550" y="800"/>
                  </a:lnTo>
                  <a:lnTo>
                    <a:pt x="651" y="755"/>
                  </a:lnTo>
                  <a:lnTo>
                    <a:pt x="676" y="779"/>
                  </a:lnTo>
                  <a:lnTo>
                    <a:pt x="729" y="767"/>
                  </a:lnTo>
                  <a:lnTo>
                    <a:pt x="768" y="726"/>
                  </a:lnTo>
                  <a:lnTo>
                    <a:pt x="813" y="690"/>
                  </a:lnTo>
                  <a:lnTo>
                    <a:pt x="823" y="636"/>
                  </a:lnTo>
                  <a:lnTo>
                    <a:pt x="867" y="584"/>
                  </a:lnTo>
                  <a:lnTo>
                    <a:pt x="873" y="527"/>
                  </a:lnTo>
                  <a:lnTo>
                    <a:pt x="871" y="459"/>
                  </a:lnTo>
                  <a:lnTo>
                    <a:pt x="904" y="417"/>
                  </a:lnTo>
                  <a:lnTo>
                    <a:pt x="918" y="386"/>
                  </a:lnTo>
                  <a:lnTo>
                    <a:pt x="886" y="369"/>
                  </a:lnTo>
                  <a:lnTo>
                    <a:pt x="873" y="329"/>
                  </a:lnTo>
                  <a:lnTo>
                    <a:pt x="855" y="290"/>
                  </a:lnTo>
                  <a:lnTo>
                    <a:pt x="837" y="239"/>
                  </a:lnTo>
                  <a:lnTo>
                    <a:pt x="842" y="187"/>
                  </a:lnTo>
                  <a:lnTo>
                    <a:pt x="866" y="149"/>
                  </a:lnTo>
                  <a:lnTo>
                    <a:pt x="866" y="128"/>
                  </a:lnTo>
                  <a:lnTo>
                    <a:pt x="833" y="107"/>
                  </a:lnTo>
                  <a:lnTo>
                    <a:pt x="804" y="93"/>
                  </a:lnTo>
                  <a:lnTo>
                    <a:pt x="775" y="67"/>
                  </a:lnTo>
                  <a:lnTo>
                    <a:pt x="791" y="33"/>
                  </a:lnTo>
                  <a:lnTo>
                    <a:pt x="833" y="12"/>
                  </a:lnTo>
                  <a:lnTo>
                    <a:pt x="882" y="5"/>
                  </a:lnTo>
                  <a:lnTo>
                    <a:pt x="813" y="0"/>
                  </a:lnTo>
                  <a:lnTo>
                    <a:pt x="762" y="14"/>
                  </a:lnTo>
                  <a:lnTo>
                    <a:pt x="726" y="27"/>
                  </a:lnTo>
                  <a:lnTo>
                    <a:pt x="703" y="44"/>
                  </a:lnTo>
                  <a:lnTo>
                    <a:pt x="672" y="85"/>
                  </a:lnTo>
                  <a:lnTo>
                    <a:pt x="659" y="119"/>
                  </a:lnTo>
                  <a:lnTo>
                    <a:pt x="659" y="154"/>
                  </a:lnTo>
                  <a:lnTo>
                    <a:pt x="672" y="205"/>
                  </a:lnTo>
                  <a:lnTo>
                    <a:pt x="639" y="244"/>
                  </a:lnTo>
                  <a:lnTo>
                    <a:pt x="602" y="257"/>
                  </a:lnTo>
                  <a:lnTo>
                    <a:pt x="573" y="296"/>
                  </a:lnTo>
                  <a:lnTo>
                    <a:pt x="544" y="326"/>
                  </a:lnTo>
                  <a:lnTo>
                    <a:pt x="544" y="369"/>
                  </a:lnTo>
                  <a:lnTo>
                    <a:pt x="535" y="416"/>
                  </a:lnTo>
                  <a:lnTo>
                    <a:pt x="511" y="431"/>
                  </a:lnTo>
                  <a:lnTo>
                    <a:pt x="477" y="421"/>
                  </a:lnTo>
                  <a:lnTo>
                    <a:pt x="448" y="451"/>
                  </a:lnTo>
                  <a:lnTo>
                    <a:pt x="403" y="464"/>
                  </a:lnTo>
                  <a:lnTo>
                    <a:pt x="348" y="488"/>
                  </a:lnTo>
                  <a:lnTo>
                    <a:pt x="337" y="533"/>
                  </a:lnTo>
                  <a:lnTo>
                    <a:pt x="341" y="567"/>
                  </a:lnTo>
                  <a:lnTo>
                    <a:pt x="316" y="558"/>
                  </a:lnTo>
                  <a:lnTo>
                    <a:pt x="316" y="593"/>
                  </a:lnTo>
                  <a:lnTo>
                    <a:pt x="267" y="615"/>
                  </a:lnTo>
                  <a:lnTo>
                    <a:pt x="209" y="606"/>
                  </a:lnTo>
                  <a:lnTo>
                    <a:pt x="167" y="619"/>
                  </a:lnTo>
                  <a:lnTo>
                    <a:pt x="134" y="602"/>
                  </a:lnTo>
                  <a:lnTo>
                    <a:pt x="93" y="615"/>
                  </a:lnTo>
                  <a:lnTo>
                    <a:pt x="43" y="606"/>
                  </a:lnTo>
                  <a:lnTo>
                    <a:pt x="0" y="615"/>
                  </a:lnTo>
                  <a:lnTo>
                    <a:pt x="3" y="654"/>
                  </a:lnTo>
                  <a:lnTo>
                    <a:pt x="18" y="687"/>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5" name="Freeform 107">
              <a:extLst>
                <a:ext uri="{FF2B5EF4-FFF2-40B4-BE49-F238E27FC236}">
                  <a16:creationId xmlns:a16="http://schemas.microsoft.com/office/drawing/2014/main" id="{A5EEA214-0BCE-4219-202B-E03780F66FC6}"/>
                </a:ext>
              </a:extLst>
            </p:cNvPr>
            <p:cNvSpPr>
              <a:spLocks/>
            </p:cNvSpPr>
            <p:nvPr/>
          </p:nvSpPr>
          <p:spPr bwMode="auto">
            <a:xfrm>
              <a:off x="6355607" y="3071538"/>
              <a:ext cx="159111" cy="163638"/>
            </a:xfrm>
            <a:custGeom>
              <a:avLst/>
              <a:gdLst>
                <a:gd name="T0" fmla="*/ 114132424 w 357"/>
                <a:gd name="T1" fmla="*/ 23084370 h 355"/>
                <a:gd name="T2" fmla="*/ 80142021 w 357"/>
                <a:gd name="T3" fmla="*/ 0 h 355"/>
                <a:gd name="T4" fmla="*/ 44755820 w 357"/>
                <a:gd name="T5" fmla="*/ 6854795 h 355"/>
                <a:gd name="T6" fmla="*/ 8472659 w 357"/>
                <a:gd name="T7" fmla="*/ 23084370 h 355"/>
                <a:gd name="T8" fmla="*/ 0 w 357"/>
                <a:gd name="T9" fmla="*/ 46068093 h 355"/>
                <a:gd name="T10" fmla="*/ 23923043 w 357"/>
                <a:gd name="T11" fmla="*/ 69858263 h 355"/>
                <a:gd name="T12" fmla="*/ 49341020 w 357"/>
                <a:gd name="T13" fmla="*/ 81349807 h 355"/>
                <a:gd name="T14" fmla="*/ 68579095 w 357"/>
                <a:gd name="T15" fmla="*/ 95160360 h 355"/>
                <a:gd name="T16" fmla="*/ 68579095 w 357"/>
                <a:gd name="T17" fmla="*/ 111288971 h 355"/>
                <a:gd name="T18" fmla="*/ 50138528 w 357"/>
                <a:gd name="T19" fmla="*/ 142740382 h 355"/>
                <a:gd name="T20" fmla="*/ 47846086 w 357"/>
                <a:gd name="T21" fmla="*/ 184171408 h 355"/>
                <a:gd name="T22" fmla="*/ 59907217 w 357"/>
                <a:gd name="T23" fmla="*/ 214312184 h 355"/>
                <a:gd name="T24" fmla="*/ 75556821 w 357"/>
                <a:gd name="T25" fmla="*/ 247174876 h 355"/>
                <a:gd name="T26" fmla="*/ 85325194 w 357"/>
                <a:gd name="T27" fmla="*/ 279331768 h 355"/>
                <a:gd name="T28" fmla="*/ 109049018 w 357"/>
                <a:gd name="T29" fmla="*/ 293142005 h 355"/>
                <a:gd name="T30" fmla="*/ 138055467 w 357"/>
                <a:gd name="T31" fmla="*/ 292436205 h 355"/>
                <a:gd name="T32" fmla="*/ 182711835 w 357"/>
                <a:gd name="T33" fmla="*/ 270158282 h 355"/>
                <a:gd name="T34" fmla="*/ 216602471 w 357"/>
                <a:gd name="T35" fmla="*/ 277114041 h 355"/>
                <a:gd name="T36" fmla="*/ 250194435 w 357"/>
                <a:gd name="T37" fmla="*/ 285077540 h 355"/>
                <a:gd name="T38" fmla="*/ 281393875 w 357"/>
                <a:gd name="T39" fmla="*/ 323181816 h 355"/>
                <a:gd name="T40" fmla="*/ 324554993 w 357"/>
                <a:gd name="T41" fmla="*/ 273988902 h 355"/>
                <a:gd name="T42" fmla="*/ 306114426 w 357"/>
                <a:gd name="T43" fmla="*/ 251710978 h 355"/>
                <a:gd name="T44" fmla="*/ 295249242 w 357"/>
                <a:gd name="T45" fmla="*/ 221066014 h 355"/>
                <a:gd name="T46" fmla="*/ 297641767 w 357"/>
                <a:gd name="T47" fmla="*/ 189614921 h 355"/>
                <a:gd name="T48" fmla="*/ 304519409 w 357"/>
                <a:gd name="T49" fmla="*/ 155038690 h 355"/>
                <a:gd name="T50" fmla="*/ 323059744 w 357"/>
                <a:gd name="T51" fmla="*/ 164211859 h 355"/>
                <a:gd name="T52" fmla="*/ 355455446 w 357"/>
                <a:gd name="T53" fmla="*/ 141228453 h 355"/>
                <a:gd name="T54" fmla="*/ 359243137 w 357"/>
                <a:gd name="T55" fmla="*/ 115926038 h 355"/>
                <a:gd name="T56" fmla="*/ 350770478 w 357"/>
                <a:gd name="T57" fmla="*/ 92841668 h 355"/>
                <a:gd name="T58" fmla="*/ 331532403 w 357"/>
                <a:gd name="T59" fmla="*/ 88305566 h 355"/>
                <a:gd name="T60" fmla="*/ 299934209 w 357"/>
                <a:gd name="T61" fmla="*/ 90623940 h 355"/>
                <a:gd name="T62" fmla="*/ 276011166 w 357"/>
                <a:gd name="T63" fmla="*/ 98990981 h 355"/>
                <a:gd name="T64" fmla="*/ 244412973 w 357"/>
                <a:gd name="T65" fmla="*/ 112801217 h 355"/>
                <a:gd name="T66" fmla="*/ 205039861 w 357"/>
                <a:gd name="T67" fmla="*/ 98990981 h 355"/>
                <a:gd name="T68" fmla="*/ 168058959 w 357"/>
                <a:gd name="T69" fmla="*/ 60684776 h 355"/>
                <a:gd name="T70" fmla="*/ 114132424 w 357"/>
                <a:gd name="T71" fmla="*/ 23084370 h 35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7"/>
                <a:gd name="T109" fmla="*/ 0 h 355"/>
                <a:gd name="T110" fmla="*/ 739775 w 357"/>
                <a:gd name="T111" fmla="*/ 668338 h 35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7" h="355">
                  <a:moveTo>
                    <a:pt x="125" y="25"/>
                  </a:moveTo>
                  <a:lnTo>
                    <a:pt x="88" y="0"/>
                  </a:lnTo>
                  <a:lnTo>
                    <a:pt x="49" y="8"/>
                  </a:lnTo>
                  <a:lnTo>
                    <a:pt x="9" y="25"/>
                  </a:lnTo>
                  <a:lnTo>
                    <a:pt x="0" y="51"/>
                  </a:lnTo>
                  <a:lnTo>
                    <a:pt x="26" y="77"/>
                  </a:lnTo>
                  <a:lnTo>
                    <a:pt x="54" y="89"/>
                  </a:lnTo>
                  <a:lnTo>
                    <a:pt x="75" y="105"/>
                  </a:lnTo>
                  <a:lnTo>
                    <a:pt x="75" y="122"/>
                  </a:lnTo>
                  <a:lnTo>
                    <a:pt x="55" y="157"/>
                  </a:lnTo>
                  <a:lnTo>
                    <a:pt x="53" y="202"/>
                  </a:lnTo>
                  <a:lnTo>
                    <a:pt x="66" y="235"/>
                  </a:lnTo>
                  <a:lnTo>
                    <a:pt x="83" y="272"/>
                  </a:lnTo>
                  <a:lnTo>
                    <a:pt x="94" y="307"/>
                  </a:lnTo>
                  <a:lnTo>
                    <a:pt x="120" y="322"/>
                  </a:lnTo>
                  <a:lnTo>
                    <a:pt x="152" y="321"/>
                  </a:lnTo>
                  <a:lnTo>
                    <a:pt x="201" y="297"/>
                  </a:lnTo>
                  <a:lnTo>
                    <a:pt x="238" y="304"/>
                  </a:lnTo>
                  <a:lnTo>
                    <a:pt x="275" y="313"/>
                  </a:lnTo>
                  <a:lnTo>
                    <a:pt x="309" y="355"/>
                  </a:lnTo>
                  <a:lnTo>
                    <a:pt x="357" y="301"/>
                  </a:lnTo>
                  <a:lnTo>
                    <a:pt x="337" y="277"/>
                  </a:lnTo>
                  <a:lnTo>
                    <a:pt x="325" y="243"/>
                  </a:lnTo>
                  <a:lnTo>
                    <a:pt x="327" y="208"/>
                  </a:lnTo>
                  <a:lnTo>
                    <a:pt x="335" y="170"/>
                  </a:lnTo>
                  <a:lnTo>
                    <a:pt x="312" y="142"/>
                  </a:lnTo>
                  <a:lnTo>
                    <a:pt x="269" y="124"/>
                  </a:lnTo>
                  <a:lnTo>
                    <a:pt x="225" y="109"/>
                  </a:lnTo>
                  <a:lnTo>
                    <a:pt x="185" y="67"/>
                  </a:lnTo>
                  <a:lnTo>
                    <a:pt x="125" y="25"/>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6" name="Freeform 108">
              <a:extLst>
                <a:ext uri="{FF2B5EF4-FFF2-40B4-BE49-F238E27FC236}">
                  <a16:creationId xmlns:a16="http://schemas.microsoft.com/office/drawing/2014/main" id="{6DEFC283-BDF0-4999-68A7-4EF36FD28D8B}"/>
                </a:ext>
              </a:extLst>
            </p:cNvPr>
            <p:cNvSpPr>
              <a:spLocks/>
            </p:cNvSpPr>
            <p:nvPr/>
          </p:nvSpPr>
          <p:spPr bwMode="auto">
            <a:xfrm>
              <a:off x="6035141" y="3034661"/>
              <a:ext cx="360803" cy="276571"/>
            </a:xfrm>
            <a:custGeom>
              <a:avLst/>
              <a:gdLst>
                <a:gd name="T0" fmla="*/ 1 w 1489076"/>
                <a:gd name="T1" fmla="*/ 75 h 1112837"/>
                <a:gd name="T2" fmla="*/ 2 w 1489076"/>
                <a:gd name="T3" fmla="*/ 105 h 1112837"/>
                <a:gd name="T4" fmla="*/ 0 w 1489076"/>
                <a:gd name="T5" fmla="*/ 121 h 1112837"/>
                <a:gd name="T6" fmla="*/ 15 w 1489076"/>
                <a:gd name="T7" fmla="*/ 139 h 1112837"/>
                <a:gd name="T8" fmla="*/ 4 w 1489076"/>
                <a:gd name="T9" fmla="*/ 160 h 1112837"/>
                <a:gd name="T10" fmla="*/ 22 w 1489076"/>
                <a:gd name="T11" fmla="*/ 161 h 1112837"/>
                <a:gd name="T12" fmla="*/ 44 w 1489076"/>
                <a:gd name="T13" fmla="*/ 160 h 1112837"/>
                <a:gd name="T14" fmla="*/ 62 w 1489076"/>
                <a:gd name="T15" fmla="*/ 162 h 1112837"/>
                <a:gd name="T16" fmla="*/ 87 w 1489076"/>
                <a:gd name="T17" fmla="*/ 159 h 1112837"/>
                <a:gd name="T18" fmla="*/ 93 w 1489076"/>
                <a:gd name="T19" fmla="*/ 151 h 1112837"/>
                <a:gd name="T20" fmla="*/ 95 w 1489076"/>
                <a:gd name="T21" fmla="*/ 134 h 1112837"/>
                <a:gd name="T22" fmla="*/ 119 w 1489076"/>
                <a:gd name="T23" fmla="*/ 125 h 1112837"/>
                <a:gd name="T24" fmla="*/ 134 w 1489076"/>
                <a:gd name="T25" fmla="*/ 120 h 1112837"/>
                <a:gd name="T26" fmla="*/ 142 w 1489076"/>
                <a:gd name="T27" fmla="*/ 108 h 1112837"/>
                <a:gd name="T28" fmla="*/ 148 w 1489076"/>
                <a:gd name="T29" fmla="*/ 90 h 1112837"/>
                <a:gd name="T30" fmla="*/ 164 w 1489076"/>
                <a:gd name="T31" fmla="*/ 77 h 1112837"/>
                <a:gd name="T32" fmla="*/ 169 w 1489076"/>
                <a:gd name="T33" fmla="*/ 55 h 1112837"/>
                <a:gd name="T34" fmla="*/ 172 w 1489076"/>
                <a:gd name="T35" fmla="*/ 39 h 1112837"/>
                <a:gd name="T36" fmla="*/ 185 w 1489076"/>
                <a:gd name="T37" fmla="*/ 26 h 1112837"/>
                <a:gd name="T38" fmla="*/ 206 w 1489076"/>
                <a:gd name="T39" fmla="*/ 20 h 1112837"/>
                <a:gd name="T40" fmla="*/ 222 w 1489076"/>
                <a:gd name="T41" fmla="*/ 14 h 1112837"/>
                <a:gd name="T42" fmla="*/ 203 w 1489076"/>
                <a:gd name="T43" fmla="*/ 11 h 1112837"/>
                <a:gd name="T44" fmla="*/ 183 w 1489076"/>
                <a:gd name="T45" fmla="*/ 22 h 1112837"/>
                <a:gd name="T46" fmla="*/ 169 w 1489076"/>
                <a:gd name="T47" fmla="*/ 16 h 1112837"/>
                <a:gd name="T48" fmla="*/ 160 w 1489076"/>
                <a:gd name="T49" fmla="*/ 0 h 1112837"/>
                <a:gd name="T50" fmla="*/ 144 w 1489076"/>
                <a:gd name="T51" fmla="*/ 15 h 1112837"/>
                <a:gd name="T52" fmla="*/ 123 w 1489076"/>
                <a:gd name="T53" fmla="*/ 25 h 1112837"/>
                <a:gd name="T54" fmla="*/ 93 w 1489076"/>
                <a:gd name="T55" fmla="*/ 18 h 1112837"/>
                <a:gd name="T56" fmla="*/ 71 w 1489076"/>
                <a:gd name="T57" fmla="*/ 22 h 1112837"/>
                <a:gd name="T58" fmla="*/ 58 w 1489076"/>
                <a:gd name="T59" fmla="*/ 43 h 1112837"/>
                <a:gd name="T60" fmla="*/ 35 w 1489076"/>
                <a:gd name="T61" fmla="*/ 53 h 1112837"/>
                <a:gd name="T62" fmla="*/ 14 w 1489076"/>
                <a:gd name="T63" fmla="*/ 55 h 11128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89076"/>
                <a:gd name="T97" fmla="*/ 0 h 1112837"/>
                <a:gd name="T98" fmla="*/ 1489076 w 1489076"/>
                <a:gd name="T99" fmla="*/ 1112837 h 11128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89076" h="1112837">
                  <a:moveTo>
                    <a:pt x="55563" y="427037"/>
                  </a:moveTo>
                  <a:lnTo>
                    <a:pt x="9525" y="512762"/>
                  </a:lnTo>
                  <a:lnTo>
                    <a:pt x="9525" y="619125"/>
                  </a:lnTo>
                  <a:lnTo>
                    <a:pt x="12700" y="712787"/>
                  </a:lnTo>
                  <a:lnTo>
                    <a:pt x="22225" y="757237"/>
                  </a:lnTo>
                  <a:lnTo>
                    <a:pt x="0" y="823912"/>
                  </a:lnTo>
                  <a:lnTo>
                    <a:pt x="58738" y="892175"/>
                  </a:lnTo>
                  <a:lnTo>
                    <a:pt x="103188" y="942975"/>
                  </a:lnTo>
                  <a:lnTo>
                    <a:pt x="98425" y="995362"/>
                  </a:lnTo>
                  <a:lnTo>
                    <a:pt x="28575" y="1085850"/>
                  </a:lnTo>
                  <a:lnTo>
                    <a:pt x="88900" y="1112837"/>
                  </a:lnTo>
                  <a:lnTo>
                    <a:pt x="146050" y="1095375"/>
                  </a:lnTo>
                  <a:lnTo>
                    <a:pt x="241300" y="1109662"/>
                  </a:lnTo>
                  <a:lnTo>
                    <a:pt x="295275" y="1090612"/>
                  </a:lnTo>
                  <a:lnTo>
                    <a:pt x="352425" y="1112837"/>
                  </a:lnTo>
                  <a:lnTo>
                    <a:pt x="417513" y="1100137"/>
                  </a:lnTo>
                  <a:lnTo>
                    <a:pt x="517525" y="1108075"/>
                  </a:lnTo>
                  <a:lnTo>
                    <a:pt x="585788" y="1079500"/>
                  </a:lnTo>
                  <a:lnTo>
                    <a:pt x="589298" y="1022599"/>
                  </a:lnTo>
                  <a:lnTo>
                    <a:pt x="627063" y="1028700"/>
                  </a:lnTo>
                  <a:lnTo>
                    <a:pt x="622300" y="984250"/>
                  </a:lnTo>
                  <a:lnTo>
                    <a:pt x="638175" y="908050"/>
                  </a:lnTo>
                  <a:lnTo>
                    <a:pt x="728663" y="871537"/>
                  </a:lnTo>
                  <a:lnTo>
                    <a:pt x="800101" y="850900"/>
                  </a:lnTo>
                  <a:lnTo>
                    <a:pt x="846138" y="803275"/>
                  </a:lnTo>
                  <a:lnTo>
                    <a:pt x="900113" y="817562"/>
                  </a:lnTo>
                  <a:lnTo>
                    <a:pt x="941388" y="793750"/>
                  </a:lnTo>
                  <a:lnTo>
                    <a:pt x="950913" y="731837"/>
                  </a:lnTo>
                  <a:lnTo>
                    <a:pt x="950913" y="652462"/>
                  </a:lnTo>
                  <a:lnTo>
                    <a:pt x="992919" y="610643"/>
                  </a:lnTo>
                  <a:lnTo>
                    <a:pt x="1042926" y="542777"/>
                  </a:lnTo>
                  <a:lnTo>
                    <a:pt x="1102457" y="522537"/>
                  </a:lnTo>
                  <a:lnTo>
                    <a:pt x="1157226" y="460624"/>
                  </a:lnTo>
                  <a:lnTo>
                    <a:pt x="1136651" y="374650"/>
                  </a:lnTo>
                  <a:lnTo>
                    <a:pt x="1131888" y="322262"/>
                  </a:lnTo>
                  <a:lnTo>
                    <a:pt x="1157288" y="266700"/>
                  </a:lnTo>
                  <a:lnTo>
                    <a:pt x="1204913" y="204787"/>
                  </a:lnTo>
                  <a:lnTo>
                    <a:pt x="1241426" y="174625"/>
                  </a:lnTo>
                  <a:lnTo>
                    <a:pt x="1303338" y="155575"/>
                  </a:lnTo>
                  <a:lnTo>
                    <a:pt x="1381126" y="133350"/>
                  </a:lnTo>
                  <a:lnTo>
                    <a:pt x="1489076" y="141287"/>
                  </a:lnTo>
                  <a:lnTo>
                    <a:pt x="1489076" y="93662"/>
                  </a:lnTo>
                  <a:lnTo>
                    <a:pt x="1417638" y="79375"/>
                  </a:lnTo>
                  <a:lnTo>
                    <a:pt x="1363663" y="77787"/>
                  </a:lnTo>
                  <a:lnTo>
                    <a:pt x="1304926" y="109537"/>
                  </a:lnTo>
                  <a:lnTo>
                    <a:pt x="1231901" y="150812"/>
                  </a:lnTo>
                  <a:lnTo>
                    <a:pt x="1166813" y="198437"/>
                  </a:lnTo>
                  <a:lnTo>
                    <a:pt x="1131888" y="107950"/>
                  </a:lnTo>
                  <a:lnTo>
                    <a:pt x="1146176" y="41275"/>
                  </a:lnTo>
                  <a:lnTo>
                    <a:pt x="1076326" y="0"/>
                  </a:lnTo>
                  <a:lnTo>
                    <a:pt x="1033463" y="38100"/>
                  </a:lnTo>
                  <a:lnTo>
                    <a:pt x="965201" y="103187"/>
                  </a:lnTo>
                  <a:lnTo>
                    <a:pt x="903288" y="174625"/>
                  </a:lnTo>
                  <a:lnTo>
                    <a:pt x="828676" y="171450"/>
                  </a:lnTo>
                  <a:lnTo>
                    <a:pt x="731838" y="146050"/>
                  </a:lnTo>
                  <a:lnTo>
                    <a:pt x="623888" y="123825"/>
                  </a:lnTo>
                  <a:lnTo>
                    <a:pt x="547688" y="109537"/>
                  </a:lnTo>
                  <a:lnTo>
                    <a:pt x="479425" y="152400"/>
                  </a:lnTo>
                  <a:lnTo>
                    <a:pt x="422275" y="209550"/>
                  </a:lnTo>
                  <a:lnTo>
                    <a:pt x="388938" y="293687"/>
                  </a:lnTo>
                  <a:lnTo>
                    <a:pt x="300038" y="307975"/>
                  </a:lnTo>
                  <a:lnTo>
                    <a:pt x="231775" y="357187"/>
                  </a:lnTo>
                  <a:lnTo>
                    <a:pt x="179388" y="382587"/>
                  </a:lnTo>
                  <a:lnTo>
                    <a:pt x="93663" y="371475"/>
                  </a:lnTo>
                  <a:lnTo>
                    <a:pt x="55563" y="42703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7" name="Freeform 109">
              <a:extLst>
                <a:ext uri="{FF2B5EF4-FFF2-40B4-BE49-F238E27FC236}">
                  <a16:creationId xmlns:a16="http://schemas.microsoft.com/office/drawing/2014/main" id="{8B298B7F-E1A0-CD87-55F8-80284F7713A1}"/>
                </a:ext>
              </a:extLst>
            </p:cNvPr>
            <p:cNvSpPr>
              <a:spLocks/>
            </p:cNvSpPr>
            <p:nvPr/>
          </p:nvSpPr>
          <p:spPr bwMode="auto">
            <a:xfrm>
              <a:off x="5616074" y="2988566"/>
              <a:ext cx="488540" cy="463257"/>
            </a:xfrm>
            <a:custGeom>
              <a:avLst/>
              <a:gdLst>
                <a:gd name="T0" fmla="*/ 2147483647 w 1090"/>
                <a:gd name="T1" fmla="*/ 0 h 1006"/>
                <a:gd name="T2" fmla="*/ 0 w 1090"/>
                <a:gd name="T3" fmla="*/ 2147483647 h 1006"/>
                <a:gd name="T4" fmla="*/ 2147483647 w 1090"/>
                <a:gd name="T5" fmla="*/ 2147483647 h 1006"/>
                <a:gd name="T6" fmla="*/ 2147483647 w 1090"/>
                <a:gd name="T7" fmla="*/ 2147483647 h 1006"/>
                <a:gd name="T8" fmla="*/ 2147483647 w 1090"/>
                <a:gd name="T9" fmla="*/ 2147483647 h 1006"/>
                <a:gd name="T10" fmla="*/ 2147483647 w 1090"/>
                <a:gd name="T11" fmla="*/ 2147483647 h 1006"/>
                <a:gd name="T12" fmla="*/ 2147483647 w 1090"/>
                <a:gd name="T13" fmla="*/ 2147483647 h 1006"/>
                <a:gd name="T14" fmla="*/ 2147483647 w 1090"/>
                <a:gd name="T15" fmla="*/ 2147483647 h 1006"/>
                <a:gd name="T16" fmla="*/ 2147483647 w 1090"/>
                <a:gd name="T17" fmla="*/ 2147483647 h 1006"/>
                <a:gd name="T18" fmla="*/ 2147483647 w 1090"/>
                <a:gd name="T19" fmla="*/ 2147483647 h 1006"/>
                <a:gd name="T20" fmla="*/ 2147483647 w 1090"/>
                <a:gd name="T21" fmla="*/ 2147483647 h 1006"/>
                <a:gd name="T22" fmla="*/ 2147483647 w 1090"/>
                <a:gd name="T23" fmla="*/ 2147483647 h 1006"/>
                <a:gd name="T24" fmla="*/ 2147483647 w 1090"/>
                <a:gd name="T25" fmla="*/ 2147483647 h 1006"/>
                <a:gd name="T26" fmla="*/ 2147483647 w 1090"/>
                <a:gd name="T27" fmla="*/ 2147483647 h 1006"/>
                <a:gd name="T28" fmla="*/ 2147483647 w 1090"/>
                <a:gd name="T29" fmla="*/ 2147483647 h 1006"/>
                <a:gd name="T30" fmla="*/ 2147483647 w 1090"/>
                <a:gd name="T31" fmla="*/ 2147483647 h 1006"/>
                <a:gd name="T32" fmla="*/ 2147483647 w 1090"/>
                <a:gd name="T33" fmla="*/ 2147483647 h 1006"/>
                <a:gd name="T34" fmla="*/ 2147483647 w 1090"/>
                <a:gd name="T35" fmla="*/ 2147483647 h 1006"/>
                <a:gd name="T36" fmla="*/ 2147483647 w 1090"/>
                <a:gd name="T37" fmla="*/ 2147483647 h 1006"/>
                <a:gd name="T38" fmla="*/ 2147483647 w 1090"/>
                <a:gd name="T39" fmla="*/ 2147483647 h 1006"/>
                <a:gd name="T40" fmla="*/ 2147483647 w 1090"/>
                <a:gd name="T41" fmla="*/ 2147483647 h 1006"/>
                <a:gd name="T42" fmla="*/ 2147483647 w 1090"/>
                <a:gd name="T43" fmla="*/ 2147483647 h 1006"/>
                <a:gd name="T44" fmla="*/ 2147483647 w 1090"/>
                <a:gd name="T45" fmla="*/ 2147483647 h 1006"/>
                <a:gd name="T46" fmla="*/ 2147483647 w 1090"/>
                <a:gd name="T47" fmla="*/ 2147483647 h 1006"/>
                <a:gd name="T48" fmla="*/ 2147483647 w 1090"/>
                <a:gd name="T49" fmla="*/ 2147483647 h 1006"/>
                <a:gd name="T50" fmla="*/ 2147483647 w 1090"/>
                <a:gd name="T51" fmla="*/ 2147483647 h 1006"/>
                <a:gd name="T52" fmla="*/ 2147483647 w 1090"/>
                <a:gd name="T53" fmla="*/ 2147483647 h 1006"/>
                <a:gd name="T54" fmla="*/ 2147483647 w 1090"/>
                <a:gd name="T55" fmla="*/ 2147483647 h 1006"/>
                <a:gd name="T56" fmla="*/ 2147483647 w 1090"/>
                <a:gd name="T57" fmla="*/ 2147483647 h 1006"/>
                <a:gd name="T58" fmla="*/ 2147483647 w 1090"/>
                <a:gd name="T59" fmla="*/ 2147483647 h 1006"/>
                <a:gd name="T60" fmla="*/ 2147483647 w 1090"/>
                <a:gd name="T61" fmla="*/ 2147483647 h 1006"/>
                <a:gd name="T62" fmla="*/ 2147483647 w 1090"/>
                <a:gd name="T63" fmla="*/ 2147483647 h 1006"/>
                <a:gd name="T64" fmla="*/ 2147483647 w 1090"/>
                <a:gd name="T65" fmla="*/ 2147483647 h 1006"/>
                <a:gd name="T66" fmla="*/ 2147483647 w 1090"/>
                <a:gd name="T67" fmla="*/ 2147483647 h 1006"/>
                <a:gd name="T68" fmla="*/ 2147483647 w 1090"/>
                <a:gd name="T69" fmla="*/ 2147483647 h 1006"/>
                <a:gd name="T70" fmla="*/ 2147483647 w 1090"/>
                <a:gd name="T71" fmla="*/ 2147483647 h 1006"/>
                <a:gd name="T72" fmla="*/ 2147483647 w 1090"/>
                <a:gd name="T73" fmla="*/ 2147483647 h 1006"/>
                <a:gd name="T74" fmla="*/ 2147483647 w 1090"/>
                <a:gd name="T75" fmla="*/ 2147483647 h 1006"/>
                <a:gd name="T76" fmla="*/ 2147483647 w 1090"/>
                <a:gd name="T77" fmla="*/ 2147483647 h 1006"/>
                <a:gd name="T78" fmla="*/ 2147483647 w 1090"/>
                <a:gd name="T79" fmla="*/ 2147483647 h 1006"/>
                <a:gd name="T80" fmla="*/ 2147483647 w 1090"/>
                <a:gd name="T81" fmla="*/ 2147483647 h 1006"/>
                <a:gd name="T82" fmla="*/ 2147483647 w 1090"/>
                <a:gd name="T83" fmla="*/ 2147483647 h 1006"/>
                <a:gd name="T84" fmla="*/ 2147483647 w 1090"/>
                <a:gd name="T85" fmla="*/ 2147483647 h 1006"/>
                <a:gd name="T86" fmla="*/ 2147483647 w 1090"/>
                <a:gd name="T87" fmla="*/ 2147483647 h 1006"/>
                <a:gd name="T88" fmla="*/ 2147483647 w 1090"/>
                <a:gd name="T89" fmla="*/ 2147483647 h 1006"/>
                <a:gd name="T90" fmla="*/ 2147483647 w 1090"/>
                <a:gd name="T91" fmla="*/ 2147483647 h 1006"/>
                <a:gd name="T92" fmla="*/ 2147483647 w 1090"/>
                <a:gd name="T93" fmla="*/ 2147483647 h 1006"/>
                <a:gd name="T94" fmla="*/ 2147483647 w 1090"/>
                <a:gd name="T95" fmla="*/ 2147483647 h 1006"/>
                <a:gd name="T96" fmla="*/ 2147483647 w 1090"/>
                <a:gd name="T97" fmla="*/ 2147483647 h 1006"/>
                <a:gd name="T98" fmla="*/ 2147483647 w 1090"/>
                <a:gd name="T99" fmla="*/ 2147483647 h 1006"/>
                <a:gd name="T100" fmla="*/ 2147483647 w 1090"/>
                <a:gd name="T101" fmla="*/ 2147483647 h 1006"/>
                <a:gd name="T102" fmla="*/ 2147483647 w 1090"/>
                <a:gd name="T103" fmla="*/ 2147483647 h 1006"/>
                <a:gd name="T104" fmla="*/ 2147483647 w 1090"/>
                <a:gd name="T105" fmla="*/ 2147483647 h 1006"/>
                <a:gd name="T106" fmla="*/ 2147483647 w 1090"/>
                <a:gd name="T107" fmla="*/ 2147483647 h 1006"/>
                <a:gd name="T108" fmla="*/ 2147483647 w 1090"/>
                <a:gd name="T109" fmla="*/ 2147483647 h 1006"/>
                <a:gd name="T110" fmla="*/ 2147483647 w 1090"/>
                <a:gd name="T111" fmla="*/ 2147483647 h 1006"/>
                <a:gd name="T112" fmla="*/ 2147483647 w 1090"/>
                <a:gd name="T113" fmla="*/ 2147483647 h 1006"/>
                <a:gd name="T114" fmla="*/ 2147483647 w 1090"/>
                <a:gd name="T115" fmla="*/ 2147483647 h 10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90"/>
                <a:gd name="T175" fmla="*/ 0 h 1006"/>
                <a:gd name="T176" fmla="*/ 1090 w 1090"/>
                <a:gd name="T177" fmla="*/ 1006 h 10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90" h="1006">
                  <a:moveTo>
                    <a:pt x="73" y="20"/>
                  </a:moveTo>
                  <a:lnTo>
                    <a:pt x="49" y="0"/>
                  </a:lnTo>
                  <a:lnTo>
                    <a:pt x="23" y="11"/>
                  </a:lnTo>
                  <a:lnTo>
                    <a:pt x="0" y="26"/>
                  </a:lnTo>
                  <a:lnTo>
                    <a:pt x="3" y="61"/>
                  </a:lnTo>
                  <a:lnTo>
                    <a:pt x="7" y="93"/>
                  </a:lnTo>
                  <a:lnTo>
                    <a:pt x="26" y="142"/>
                  </a:lnTo>
                  <a:lnTo>
                    <a:pt x="28" y="190"/>
                  </a:lnTo>
                  <a:lnTo>
                    <a:pt x="44" y="226"/>
                  </a:lnTo>
                  <a:lnTo>
                    <a:pt x="56" y="254"/>
                  </a:lnTo>
                  <a:lnTo>
                    <a:pt x="74" y="279"/>
                  </a:lnTo>
                  <a:lnTo>
                    <a:pt x="108" y="283"/>
                  </a:lnTo>
                  <a:lnTo>
                    <a:pt x="132" y="289"/>
                  </a:lnTo>
                  <a:lnTo>
                    <a:pt x="115" y="318"/>
                  </a:lnTo>
                  <a:lnTo>
                    <a:pt x="103" y="341"/>
                  </a:lnTo>
                  <a:lnTo>
                    <a:pt x="118" y="373"/>
                  </a:lnTo>
                  <a:lnTo>
                    <a:pt x="116" y="397"/>
                  </a:lnTo>
                  <a:lnTo>
                    <a:pt x="117" y="411"/>
                  </a:lnTo>
                  <a:lnTo>
                    <a:pt x="129" y="450"/>
                  </a:lnTo>
                  <a:lnTo>
                    <a:pt x="146" y="478"/>
                  </a:lnTo>
                  <a:lnTo>
                    <a:pt x="177" y="503"/>
                  </a:lnTo>
                  <a:lnTo>
                    <a:pt x="207" y="521"/>
                  </a:lnTo>
                  <a:lnTo>
                    <a:pt x="227" y="528"/>
                  </a:lnTo>
                  <a:lnTo>
                    <a:pt x="233" y="569"/>
                  </a:lnTo>
                  <a:lnTo>
                    <a:pt x="220" y="601"/>
                  </a:lnTo>
                  <a:lnTo>
                    <a:pt x="236" y="632"/>
                  </a:lnTo>
                  <a:lnTo>
                    <a:pt x="239" y="675"/>
                  </a:lnTo>
                  <a:lnTo>
                    <a:pt x="261" y="652"/>
                  </a:lnTo>
                  <a:lnTo>
                    <a:pt x="290" y="673"/>
                  </a:lnTo>
                  <a:lnTo>
                    <a:pt x="326" y="667"/>
                  </a:lnTo>
                  <a:lnTo>
                    <a:pt x="338" y="684"/>
                  </a:lnTo>
                  <a:lnTo>
                    <a:pt x="355" y="718"/>
                  </a:lnTo>
                  <a:lnTo>
                    <a:pt x="377" y="742"/>
                  </a:lnTo>
                  <a:lnTo>
                    <a:pt x="391" y="783"/>
                  </a:lnTo>
                  <a:lnTo>
                    <a:pt x="409" y="805"/>
                  </a:lnTo>
                  <a:lnTo>
                    <a:pt x="428" y="806"/>
                  </a:lnTo>
                  <a:lnTo>
                    <a:pt x="452" y="834"/>
                  </a:lnTo>
                  <a:lnTo>
                    <a:pt x="493" y="844"/>
                  </a:lnTo>
                  <a:lnTo>
                    <a:pt x="515" y="883"/>
                  </a:lnTo>
                  <a:lnTo>
                    <a:pt x="533" y="909"/>
                  </a:lnTo>
                  <a:lnTo>
                    <a:pt x="579" y="912"/>
                  </a:lnTo>
                  <a:lnTo>
                    <a:pt x="615" y="915"/>
                  </a:lnTo>
                  <a:lnTo>
                    <a:pt x="650" y="918"/>
                  </a:lnTo>
                  <a:lnTo>
                    <a:pt x="671" y="892"/>
                  </a:lnTo>
                  <a:lnTo>
                    <a:pt x="689" y="873"/>
                  </a:lnTo>
                  <a:lnTo>
                    <a:pt x="727" y="878"/>
                  </a:lnTo>
                  <a:lnTo>
                    <a:pt x="737" y="913"/>
                  </a:lnTo>
                  <a:lnTo>
                    <a:pt x="752" y="960"/>
                  </a:lnTo>
                  <a:lnTo>
                    <a:pt x="765" y="979"/>
                  </a:lnTo>
                  <a:lnTo>
                    <a:pt x="807" y="976"/>
                  </a:lnTo>
                  <a:lnTo>
                    <a:pt x="841" y="992"/>
                  </a:lnTo>
                  <a:lnTo>
                    <a:pt x="845" y="980"/>
                  </a:lnTo>
                  <a:lnTo>
                    <a:pt x="878" y="980"/>
                  </a:lnTo>
                  <a:lnTo>
                    <a:pt x="909" y="1002"/>
                  </a:lnTo>
                  <a:lnTo>
                    <a:pt x="943" y="1005"/>
                  </a:lnTo>
                  <a:lnTo>
                    <a:pt x="973" y="1006"/>
                  </a:lnTo>
                  <a:lnTo>
                    <a:pt x="986" y="975"/>
                  </a:lnTo>
                  <a:lnTo>
                    <a:pt x="997" y="944"/>
                  </a:lnTo>
                  <a:lnTo>
                    <a:pt x="1015" y="921"/>
                  </a:lnTo>
                  <a:lnTo>
                    <a:pt x="1049" y="906"/>
                  </a:lnTo>
                  <a:lnTo>
                    <a:pt x="1057" y="886"/>
                  </a:lnTo>
                  <a:lnTo>
                    <a:pt x="1090" y="870"/>
                  </a:lnTo>
                  <a:lnTo>
                    <a:pt x="1074" y="841"/>
                  </a:lnTo>
                  <a:lnTo>
                    <a:pt x="1051" y="816"/>
                  </a:lnTo>
                  <a:lnTo>
                    <a:pt x="1026" y="791"/>
                  </a:lnTo>
                  <a:lnTo>
                    <a:pt x="1003" y="765"/>
                  </a:lnTo>
                  <a:lnTo>
                    <a:pt x="989" y="737"/>
                  </a:lnTo>
                  <a:lnTo>
                    <a:pt x="989" y="706"/>
                  </a:lnTo>
                  <a:lnTo>
                    <a:pt x="954" y="693"/>
                  </a:lnTo>
                  <a:lnTo>
                    <a:pt x="992" y="639"/>
                  </a:lnTo>
                  <a:lnTo>
                    <a:pt x="995" y="614"/>
                  </a:lnTo>
                  <a:lnTo>
                    <a:pt x="977" y="595"/>
                  </a:lnTo>
                  <a:lnTo>
                    <a:pt x="938" y="549"/>
                  </a:lnTo>
                  <a:lnTo>
                    <a:pt x="950" y="514"/>
                  </a:lnTo>
                  <a:lnTo>
                    <a:pt x="947" y="493"/>
                  </a:lnTo>
                  <a:lnTo>
                    <a:pt x="943" y="442"/>
                  </a:lnTo>
                  <a:lnTo>
                    <a:pt x="943" y="382"/>
                  </a:lnTo>
                  <a:lnTo>
                    <a:pt x="967" y="336"/>
                  </a:lnTo>
                  <a:lnTo>
                    <a:pt x="990" y="306"/>
                  </a:lnTo>
                  <a:lnTo>
                    <a:pt x="980" y="280"/>
                  </a:lnTo>
                  <a:lnTo>
                    <a:pt x="980" y="251"/>
                  </a:lnTo>
                  <a:lnTo>
                    <a:pt x="974" y="232"/>
                  </a:lnTo>
                  <a:lnTo>
                    <a:pt x="949" y="222"/>
                  </a:lnTo>
                  <a:lnTo>
                    <a:pt x="925" y="222"/>
                  </a:lnTo>
                  <a:lnTo>
                    <a:pt x="903" y="196"/>
                  </a:lnTo>
                  <a:lnTo>
                    <a:pt x="869" y="169"/>
                  </a:lnTo>
                  <a:lnTo>
                    <a:pt x="841" y="154"/>
                  </a:lnTo>
                  <a:lnTo>
                    <a:pt x="807" y="143"/>
                  </a:lnTo>
                  <a:lnTo>
                    <a:pt x="758" y="125"/>
                  </a:lnTo>
                  <a:lnTo>
                    <a:pt x="723" y="123"/>
                  </a:lnTo>
                  <a:lnTo>
                    <a:pt x="702" y="119"/>
                  </a:lnTo>
                  <a:lnTo>
                    <a:pt x="674" y="125"/>
                  </a:lnTo>
                  <a:lnTo>
                    <a:pt x="647" y="129"/>
                  </a:lnTo>
                  <a:lnTo>
                    <a:pt x="629" y="154"/>
                  </a:lnTo>
                  <a:lnTo>
                    <a:pt x="613" y="172"/>
                  </a:lnTo>
                  <a:lnTo>
                    <a:pt x="562" y="172"/>
                  </a:lnTo>
                  <a:lnTo>
                    <a:pt x="557" y="202"/>
                  </a:lnTo>
                  <a:lnTo>
                    <a:pt x="518" y="210"/>
                  </a:lnTo>
                  <a:lnTo>
                    <a:pt x="477" y="232"/>
                  </a:lnTo>
                  <a:lnTo>
                    <a:pt x="440" y="225"/>
                  </a:lnTo>
                  <a:lnTo>
                    <a:pt x="407" y="216"/>
                  </a:lnTo>
                  <a:lnTo>
                    <a:pt x="379" y="183"/>
                  </a:lnTo>
                  <a:lnTo>
                    <a:pt x="350" y="167"/>
                  </a:lnTo>
                  <a:lnTo>
                    <a:pt x="323" y="178"/>
                  </a:lnTo>
                  <a:lnTo>
                    <a:pt x="311" y="154"/>
                  </a:lnTo>
                  <a:lnTo>
                    <a:pt x="282" y="146"/>
                  </a:lnTo>
                  <a:lnTo>
                    <a:pt x="267" y="134"/>
                  </a:lnTo>
                  <a:lnTo>
                    <a:pt x="257" y="100"/>
                  </a:lnTo>
                  <a:lnTo>
                    <a:pt x="252" y="81"/>
                  </a:lnTo>
                  <a:lnTo>
                    <a:pt x="223" y="60"/>
                  </a:lnTo>
                  <a:lnTo>
                    <a:pt x="202" y="15"/>
                  </a:lnTo>
                  <a:lnTo>
                    <a:pt x="185" y="28"/>
                  </a:lnTo>
                  <a:lnTo>
                    <a:pt x="149" y="46"/>
                  </a:lnTo>
                  <a:lnTo>
                    <a:pt x="124" y="44"/>
                  </a:lnTo>
                  <a:lnTo>
                    <a:pt x="100" y="39"/>
                  </a:lnTo>
                  <a:lnTo>
                    <a:pt x="73" y="2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8" name="Freeform 110">
              <a:extLst>
                <a:ext uri="{FF2B5EF4-FFF2-40B4-BE49-F238E27FC236}">
                  <a16:creationId xmlns:a16="http://schemas.microsoft.com/office/drawing/2014/main" id="{046099CD-A4C6-879D-7B46-BDCEE7A5DFFB}"/>
                </a:ext>
              </a:extLst>
            </p:cNvPr>
            <p:cNvSpPr>
              <a:spLocks/>
            </p:cNvSpPr>
            <p:nvPr/>
          </p:nvSpPr>
          <p:spPr bwMode="auto">
            <a:xfrm>
              <a:off x="5916369" y="2790357"/>
              <a:ext cx="428032" cy="281181"/>
            </a:xfrm>
            <a:custGeom>
              <a:avLst/>
              <a:gdLst>
                <a:gd name="T0" fmla="*/ 0 w 1771650"/>
                <a:gd name="T1" fmla="*/ 45 h 1135063"/>
                <a:gd name="T2" fmla="*/ 4 w 1771650"/>
                <a:gd name="T3" fmla="*/ 70 h 1135063"/>
                <a:gd name="T4" fmla="*/ 10 w 1771650"/>
                <a:gd name="T5" fmla="*/ 80 h 1135063"/>
                <a:gd name="T6" fmla="*/ 28 w 1771650"/>
                <a:gd name="T7" fmla="*/ 70 h 1135063"/>
                <a:gd name="T8" fmla="*/ 47 w 1771650"/>
                <a:gd name="T9" fmla="*/ 63 h 1135063"/>
                <a:gd name="T10" fmla="*/ 67 w 1771650"/>
                <a:gd name="T11" fmla="*/ 68 h 1135063"/>
                <a:gd name="T12" fmla="*/ 72 w 1771650"/>
                <a:gd name="T13" fmla="*/ 88 h 1135063"/>
                <a:gd name="T14" fmla="*/ 87 w 1771650"/>
                <a:gd name="T15" fmla="*/ 86 h 1135063"/>
                <a:gd name="T16" fmla="*/ 106 w 1771650"/>
                <a:gd name="T17" fmla="*/ 110 h 1135063"/>
                <a:gd name="T18" fmla="*/ 132 w 1771650"/>
                <a:gd name="T19" fmla="*/ 130 h 1135063"/>
                <a:gd name="T20" fmla="*/ 161 w 1771650"/>
                <a:gd name="T21" fmla="*/ 145 h 1135063"/>
                <a:gd name="T22" fmla="*/ 164 w 1771650"/>
                <a:gd name="T23" fmla="*/ 161 h 1135063"/>
                <a:gd name="T24" fmla="*/ 185 w 1771650"/>
                <a:gd name="T25" fmla="*/ 157 h 1135063"/>
                <a:gd name="T26" fmla="*/ 186 w 1771650"/>
                <a:gd name="T27" fmla="*/ 137 h 1135063"/>
                <a:gd name="T28" fmla="*/ 180 w 1771650"/>
                <a:gd name="T29" fmla="*/ 121 h 1135063"/>
                <a:gd name="T30" fmla="*/ 197 w 1771650"/>
                <a:gd name="T31" fmla="*/ 109 h 1135063"/>
                <a:gd name="T32" fmla="*/ 209 w 1771650"/>
                <a:gd name="T33" fmla="*/ 100 h 1135063"/>
                <a:gd name="T34" fmla="*/ 225 w 1771650"/>
                <a:gd name="T35" fmla="*/ 92 h 1135063"/>
                <a:gd name="T36" fmla="*/ 236 w 1771650"/>
                <a:gd name="T37" fmla="*/ 105 h 1135063"/>
                <a:gd name="T38" fmla="*/ 253 w 1771650"/>
                <a:gd name="T39" fmla="*/ 99 h 1135063"/>
                <a:gd name="T40" fmla="*/ 248 w 1771650"/>
                <a:gd name="T41" fmla="*/ 90 h 1135063"/>
                <a:gd name="T42" fmla="*/ 228 w 1771650"/>
                <a:gd name="T43" fmla="*/ 81 h 1135063"/>
                <a:gd name="T44" fmla="*/ 240 w 1771650"/>
                <a:gd name="T45" fmla="*/ 57 h 1135063"/>
                <a:gd name="T46" fmla="*/ 219 w 1771650"/>
                <a:gd name="T47" fmla="*/ 68 h 1135063"/>
                <a:gd name="T48" fmla="*/ 199 w 1771650"/>
                <a:gd name="T49" fmla="*/ 85 h 1135063"/>
                <a:gd name="T50" fmla="*/ 170 w 1771650"/>
                <a:gd name="T51" fmla="*/ 89 h 1135063"/>
                <a:gd name="T52" fmla="*/ 161 w 1771650"/>
                <a:gd name="T53" fmla="*/ 72 h 1135063"/>
                <a:gd name="T54" fmla="*/ 153 w 1771650"/>
                <a:gd name="T55" fmla="*/ 49 h 1135063"/>
                <a:gd name="T56" fmla="*/ 137 w 1771650"/>
                <a:gd name="T57" fmla="*/ 33 h 1135063"/>
                <a:gd name="T58" fmla="*/ 111 w 1771650"/>
                <a:gd name="T59" fmla="*/ 36 h 1135063"/>
                <a:gd name="T60" fmla="*/ 85 w 1771650"/>
                <a:gd name="T61" fmla="*/ 34 h 1135063"/>
                <a:gd name="T62" fmla="*/ 76 w 1771650"/>
                <a:gd name="T63" fmla="*/ 34 h 1135063"/>
                <a:gd name="T64" fmla="*/ 52 w 1771650"/>
                <a:gd name="T65" fmla="*/ 34 h 1135063"/>
                <a:gd name="T66" fmla="*/ 38 w 1771650"/>
                <a:gd name="T67" fmla="*/ 21 h 1135063"/>
                <a:gd name="T68" fmla="*/ 37 w 1771650"/>
                <a:gd name="T69" fmla="*/ 1 h 1135063"/>
                <a:gd name="T70" fmla="*/ 17 w 1771650"/>
                <a:gd name="T71" fmla="*/ 3 h 1135063"/>
                <a:gd name="T72" fmla="*/ 0 w 1771650"/>
                <a:gd name="T73" fmla="*/ 22 h 113506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71650"/>
                <a:gd name="T112" fmla="*/ 0 h 1135063"/>
                <a:gd name="T113" fmla="*/ 1771650 w 1771650"/>
                <a:gd name="T114" fmla="*/ 1135063 h 113506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71650" h="1135063">
                  <a:moveTo>
                    <a:pt x="23813" y="206375"/>
                  </a:moveTo>
                  <a:lnTo>
                    <a:pt x="0" y="307975"/>
                  </a:lnTo>
                  <a:lnTo>
                    <a:pt x="33338" y="393700"/>
                  </a:lnTo>
                  <a:lnTo>
                    <a:pt x="25400" y="484188"/>
                  </a:lnTo>
                  <a:lnTo>
                    <a:pt x="22225" y="561975"/>
                  </a:lnTo>
                  <a:lnTo>
                    <a:pt x="71438" y="550863"/>
                  </a:lnTo>
                  <a:lnTo>
                    <a:pt x="142875" y="533400"/>
                  </a:lnTo>
                  <a:lnTo>
                    <a:pt x="193675" y="485775"/>
                  </a:lnTo>
                  <a:lnTo>
                    <a:pt x="252413" y="444500"/>
                  </a:lnTo>
                  <a:lnTo>
                    <a:pt x="320675" y="433388"/>
                  </a:lnTo>
                  <a:lnTo>
                    <a:pt x="401638" y="420688"/>
                  </a:lnTo>
                  <a:lnTo>
                    <a:pt x="458788" y="468313"/>
                  </a:lnTo>
                  <a:lnTo>
                    <a:pt x="493713" y="533400"/>
                  </a:lnTo>
                  <a:lnTo>
                    <a:pt x="487363" y="604838"/>
                  </a:lnTo>
                  <a:lnTo>
                    <a:pt x="528638" y="593725"/>
                  </a:lnTo>
                  <a:lnTo>
                    <a:pt x="592138" y="593725"/>
                  </a:lnTo>
                  <a:lnTo>
                    <a:pt x="660400" y="681038"/>
                  </a:lnTo>
                  <a:lnTo>
                    <a:pt x="723900" y="758825"/>
                  </a:lnTo>
                  <a:lnTo>
                    <a:pt x="815975" y="830263"/>
                  </a:lnTo>
                  <a:lnTo>
                    <a:pt x="896938" y="901700"/>
                  </a:lnTo>
                  <a:lnTo>
                    <a:pt x="1017588" y="960438"/>
                  </a:lnTo>
                  <a:lnTo>
                    <a:pt x="1098550" y="1004888"/>
                  </a:lnTo>
                  <a:lnTo>
                    <a:pt x="1122363" y="1054100"/>
                  </a:lnTo>
                  <a:lnTo>
                    <a:pt x="1118728" y="1113484"/>
                  </a:lnTo>
                  <a:lnTo>
                    <a:pt x="1217613" y="1135063"/>
                  </a:lnTo>
                  <a:lnTo>
                    <a:pt x="1260475" y="1082675"/>
                  </a:lnTo>
                  <a:lnTo>
                    <a:pt x="1296988" y="1020763"/>
                  </a:lnTo>
                  <a:lnTo>
                    <a:pt x="1268413" y="944563"/>
                  </a:lnTo>
                  <a:lnTo>
                    <a:pt x="1230313" y="895350"/>
                  </a:lnTo>
                  <a:lnTo>
                    <a:pt x="1223963" y="835025"/>
                  </a:lnTo>
                  <a:lnTo>
                    <a:pt x="1287463" y="806450"/>
                  </a:lnTo>
                  <a:lnTo>
                    <a:pt x="1339850" y="752475"/>
                  </a:lnTo>
                  <a:lnTo>
                    <a:pt x="1357313" y="717550"/>
                  </a:lnTo>
                  <a:lnTo>
                    <a:pt x="1423528" y="689621"/>
                  </a:lnTo>
                  <a:lnTo>
                    <a:pt x="1471613" y="646113"/>
                  </a:lnTo>
                  <a:lnTo>
                    <a:pt x="1535113" y="635000"/>
                  </a:lnTo>
                  <a:lnTo>
                    <a:pt x="1558925" y="700088"/>
                  </a:lnTo>
                  <a:lnTo>
                    <a:pt x="1609725" y="723900"/>
                  </a:lnTo>
                  <a:lnTo>
                    <a:pt x="1679575" y="723900"/>
                  </a:lnTo>
                  <a:lnTo>
                    <a:pt x="1725613" y="687388"/>
                  </a:lnTo>
                  <a:lnTo>
                    <a:pt x="1771650" y="658813"/>
                  </a:lnTo>
                  <a:lnTo>
                    <a:pt x="1685925" y="622300"/>
                  </a:lnTo>
                  <a:lnTo>
                    <a:pt x="1604963" y="574675"/>
                  </a:lnTo>
                  <a:lnTo>
                    <a:pt x="1552575" y="557213"/>
                  </a:lnTo>
                  <a:lnTo>
                    <a:pt x="1563688" y="492125"/>
                  </a:lnTo>
                  <a:lnTo>
                    <a:pt x="1631950" y="396875"/>
                  </a:lnTo>
                  <a:lnTo>
                    <a:pt x="1574800" y="400050"/>
                  </a:lnTo>
                  <a:lnTo>
                    <a:pt x="1492250" y="466725"/>
                  </a:lnTo>
                  <a:lnTo>
                    <a:pt x="1422400" y="509588"/>
                  </a:lnTo>
                  <a:lnTo>
                    <a:pt x="1354138" y="585788"/>
                  </a:lnTo>
                  <a:lnTo>
                    <a:pt x="1250950" y="628650"/>
                  </a:lnTo>
                  <a:lnTo>
                    <a:pt x="1160463" y="615950"/>
                  </a:lnTo>
                  <a:lnTo>
                    <a:pt x="1111250" y="558800"/>
                  </a:lnTo>
                  <a:lnTo>
                    <a:pt x="1093788" y="496888"/>
                  </a:lnTo>
                  <a:lnTo>
                    <a:pt x="1041400" y="423863"/>
                  </a:lnTo>
                  <a:lnTo>
                    <a:pt x="1041400" y="338138"/>
                  </a:lnTo>
                  <a:lnTo>
                    <a:pt x="982663" y="290513"/>
                  </a:lnTo>
                  <a:lnTo>
                    <a:pt x="931863" y="225425"/>
                  </a:lnTo>
                  <a:lnTo>
                    <a:pt x="849313" y="215900"/>
                  </a:lnTo>
                  <a:lnTo>
                    <a:pt x="755650" y="247650"/>
                  </a:lnTo>
                  <a:lnTo>
                    <a:pt x="654050" y="242888"/>
                  </a:lnTo>
                  <a:lnTo>
                    <a:pt x="579438" y="238125"/>
                  </a:lnTo>
                  <a:lnTo>
                    <a:pt x="501650" y="185738"/>
                  </a:lnTo>
                  <a:lnTo>
                    <a:pt x="515938" y="238125"/>
                  </a:lnTo>
                  <a:lnTo>
                    <a:pt x="436563" y="266700"/>
                  </a:lnTo>
                  <a:lnTo>
                    <a:pt x="355600" y="238125"/>
                  </a:lnTo>
                  <a:lnTo>
                    <a:pt x="292100" y="219075"/>
                  </a:lnTo>
                  <a:lnTo>
                    <a:pt x="257175" y="149225"/>
                  </a:lnTo>
                  <a:lnTo>
                    <a:pt x="263525" y="84138"/>
                  </a:lnTo>
                  <a:lnTo>
                    <a:pt x="254000" y="9525"/>
                  </a:lnTo>
                  <a:lnTo>
                    <a:pt x="187325" y="0"/>
                  </a:lnTo>
                  <a:lnTo>
                    <a:pt x="112713" y="22225"/>
                  </a:lnTo>
                  <a:lnTo>
                    <a:pt x="19050" y="63500"/>
                  </a:lnTo>
                  <a:lnTo>
                    <a:pt x="0" y="153988"/>
                  </a:lnTo>
                  <a:lnTo>
                    <a:pt x="23813" y="206375"/>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19" name="Freeform 111">
              <a:extLst>
                <a:ext uri="{FF2B5EF4-FFF2-40B4-BE49-F238E27FC236}">
                  <a16:creationId xmlns:a16="http://schemas.microsoft.com/office/drawing/2014/main" id="{C0A1F764-7069-7403-C595-B0DC78F41AEA}"/>
                </a:ext>
              </a:extLst>
            </p:cNvPr>
            <p:cNvSpPr>
              <a:spLocks/>
            </p:cNvSpPr>
            <p:nvPr/>
          </p:nvSpPr>
          <p:spPr bwMode="auto">
            <a:xfrm>
              <a:off x="6263724" y="2864110"/>
              <a:ext cx="266681" cy="140591"/>
            </a:xfrm>
            <a:custGeom>
              <a:avLst/>
              <a:gdLst>
                <a:gd name="T0" fmla="*/ 46 w 1112838"/>
                <a:gd name="T1" fmla="*/ 14 h 560388"/>
                <a:gd name="T2" fmla="*/ 27 w 1112838"/>
                <a:gd name="T3" fmla="*/ 15 h 560388"/>
                <a:gd name="T4" fmla="*/ 17 w 1112838"/>
                <a:gd name="T5" fmla="*/ 30 h 560388"/>
                <a:gd name="T6" fmla="*/ 17 w 1112838"/>
                <a:gd name="T7" fmla="*/ 39 h 560388"/>
                <a:gd name="T8" fmla="*/ 26 w 1112838"/>
                <a:gd name="T9" fmla="*/ 43 h 560388"/>
                <a:gd name="T10" fmla="*/ 36 w 1112838"/>
                <a:gd name="T11" fmla="*/ 50 h 560388"/>
                <a:gd name="T12" fmla="*/ 47 w 1112838"/>
                <a:gd name="T13" fmla="*/ 55 h 560388"/>
                <a:gd name="T14" fmla="*/ 41 w 1112838"/>
                <a:gd name="T15" fmla="*/ 59 h 560388"/>
                <a:gd name="T16" fmla="*/ 35 w 1112838"/>
                <a:gd name="T17" fmla="*/ 65 h 560388"/>
                <a:gd name="T18" fmla="*/ 24 w 1112838"/>
                <a:gd name="T19" fmla="*/ 65 h 560388"/>
                <a:gd name="T20" fmla="*/ 17 w 1112838"/>
                <a:gd name="T21" fmla="*/ 61 h 560388"/>
                <a:gd name="T22" fmla="*/ 2 w 1112838"/>
                <a:gd name="T23" fmla="*/ 71 h 560388"/>
                <a:gd name="T24" fmla="*/ 0 w 1112838"/>
                <a:gd name="T25" fmla="*/ 77 h 560388"/>
                <a:gd name="T26" fmla="*/ 6 w 1112838"/>
                <a:gd name="T27" fmla="*/ 82 h 560388"/>
                <a:gd name="T28" fmla="*/ 17 w 1112838"/>
                <a:gd name="T29" fmla="*/ 83 h 560388"/>
                <a:gd name="T30" fmla="*/ 24 w 1112838"/>
                <a:gd name="T31" fmla="*/ 81 h 560388"/>
                <a:gd name="T32" fmla="*/ 38 w 1112838"/>
                <a:gd name="T33" fmla="*/ 82 h 560388"/>
                <a:gd name="T34" fmla="*/ 48 w 1112838"/>
                <a:gd name="T35" fmla="*/ 86 h 560388"/>
                <a:gd name="T36" fmla="*/ 57 w 1112838"/>
                <a:gd name="T37" fmla="*/ 86 h 560388"/>
                <a:gd name="T38" fmla="*/ 61 w 1112838"/>
                <a:gd name="T39" fmla="*/ 81 h 560388"/>
                <a:gd name="T40" fmla="*/ 78 w 1112838"/>
                <a:gd name="T41" fmla="*/ 68 h 560388"/>
                <a:gd name="T42" fmla="*/ 84 w 1112838"/>
                <a:gd name="T43" fmla="*/ 58 h 560388"/>
                <a:gd name="T44" fmla="*/ 96 w 1112838"/>
                <a:gd name="T45" fmla="*/ 65 h 560388"/>
                <a:gd name="T46" fmla="*/ 107 w 1112838"/>
                <a:gd name="T47" fmla="*/ 52 h 560388"/>
                <a:gd name="T48" fmla="*/ 129 w 1112838"/>
                <a:gd name="T49" fmla="*/ 46 h 560388"/>
                <a:gd name="T50" fmla="*/ 138 w 1112838"/>
                <a:gd name="T51" fmla="*/ 44 h 560388"/>
                <a:gd name="T52" fmla="*/ 150 w 1112838"/>
                <a:gd name="T53" fmla="*/ 34 h 560388"/>
                <a:gd name="T54" fmla="*/ 157 w 1112838"/>
                <a:gd name="T55" fmla="*/ 17 h 560388"/>
                <a:gd name="T56" fmla="*/ 148 w 1112838"/>
                <a:gd name="T57" fmla="*/ 12 h 560388"/>
                <a:gd name="T58" fmla="*/ 138 w 1112838"/>
                <a:gd name="T59" fmla="*/ 16 h 560388"/>
                <a:gd name="T60" fmla="*/ 109 w 1112838"/>
                <a:gd name="T61" fmla="*/ 10 h 560388"/>
                <a:gd name="T62" fmla="*/ 93 w 1112838"/>
                <a:gd name="T63" fmla="*/ 11 h 560388"/>
                <a:gd name="T64" fmla="*/ 77 w 1112838"/>
                <a:gd name="T65" fmla="*/ 8 h 560388"/>
                <a:gd name="T66" fmla="*/ 70 w 1112838"/>
                <a:gd name="T67" fmla="*/ 0 h 560388"/>
                <a:gd name="T68" fmla="*/ 60 w 1112838"/>
                <a:gd name="T69" fmla="*/ 3 h 560388"/>
                <a:gd name="T70" fmla="*/ 46 w 1112838"/>
                <a:gd name="T71" fmla="*/ 14 h 56038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12838"/>
                <a:gd name="T109" fmla="*/ 0 h 560388"/>
                <a:gd name="T110" fmla="*/ 1112838 w 1112838"/>
                <a:gd name="T111" fmla="*/ 560388 h 56038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12838" h="560388">
                  <a:moveTo>
                    <a:pt x="328613" y="88900"/>
                  </a:moveTo>
                  <a:lnTo>
                    <a:pt x="193675" y="100013"/>
                  </a:lnTo>
                  <a:lnTo>
                    <a:pt x="123825" y="193675"/>
                  </a:lnTo>
                  <a:lnTo>
                    <a:pt x="117475" y="252413"/>
                  </a:lnTo>
                  <a:lnTo>
                    <a:pt x="184150" y="279400"/>
                  </a:lnTo>
                  <a:lnTo>
                    <a:pt x="257175" y="327025"/>
                  </a:lnTo>
                  <a:lnTo>
                    <a:pt x="336550" y="355600"/>
                  </a:lnTo>
                  <a:lnTo>
                    <a:pt x="290513" y="384175"/>
                  </a:lnTo>
                  <a:lnTo>
                    <a:pt x="247650" y="420688"/>
                  </a:lnTo>
                  <a:lnTo>
                    <a:pt x="172579" y="422525"/>
                  </a:lnTo>
                  <a:lnTo>
                    <a:pt x="123825" y="398463"/>
                  </a:lnTo>
                  <a:lnTo>
                    <a:pt x="14288" y="457200"/>
                  </a:lnTo>
                  <a:lnTo>
                    <a:pt x="0" y="500063"/>
                  </a:lnTo>
                  <a:lnTo>
                    <a:pt x="41275" y="530225"/>
                  </a:lnTo>
                  <a:lnTo>
                    <a:pt x="117475" y="538163"/>
                  </a:lnTo>
                  <a:lnTo>
                    <a:pt x="171450" y="528638"/>
                  </a:lnTo>
                  <a:lnTo>
                    <a:pt x="269875" y="533400"/>
                  </a:lnTo>
                  <a:lnTo>
                    <a:pt x="341313" y="560388"/>
                  </a:lnTo>
                  <a:lnTo>
                    <a:pt x="406400" y="560388"/>
                  </a:lnTo>
                  <a:lnTo>
                    <a:pt x="433388" y="528638"/>
                  </a:lnTo>
                  <a:lnTo>
                    <a:pt x="550863" y="442913"/>
                  </a:lnTo>
                  <a:lnTo>
                    <a:pt x="593725" y="376238"/>
                  </a:lnTo>
                  <a:lnTo>
                    <a:pt x="684213" y="419100"/>
                  </a:lnTo>
                  <a:lnTo>
                    <a:pt x="762000" y="336550"/>
                  </a:lnTo>
                  <a:lnTo>
                    <a:pt x="912813" y="296863"/>
                  </a:lnTo>
                  <a:lnTo>
                    <a:pt x="979488" y="285750"/>
                  </a:lnTo>
                  <a:lnTo>
                    <a:pt x="1066800" y="219075"/>
                  </a:lnTo>
                  <a:lnTo>
                    <a:pt x="1112838" y="112713"/>
                  </a:lnTo>
                  <a:lnTo>
                    <a:pt x="1047750" y="74613"/>
                  </a:lnTo>
                  <a:lnTo>
                    <a:pt x="979488" y="103188"/>
                  </a:lnTo>
                  <a:lnTo>
                    <a:pt x="776288" y="61913"/>
                  </a:lnTo>
                  <a:lnTo>
                    <a:pt x="661988" y="71438"/>
                  </a:lnTo>
                  <a:lnTo>
                    <a:pt x="542925" y="52388"/>
                  </a:lnTo>
                  <a:lnTo>
                    <a:pt x="498475" y="0"/>
                  </a:lnTo>
                  <a:lnTo>
                    <a:pt x="422275" y="17463"/>
                  </a:lnTo>
                  <a:lnTo>
                    <a:pt x="328613" y="8890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0" name="Freeform 112">
              <a:extLst>
                <a:ext uri="{FF2B5EF4-FFF2-40B4-BE49-F238E27FC236}">
                  <a16:creationId xmlns:a16="http://schemas.microsoft.com/office/drawing/2014/main" id="{DDDAA3C4-9DBB-7D24-0E32-241CBE784CC2}"/>
                </a:ext>
              </a:extLst>
            </p:cNvPr>
            <p:cNvSpPr>
              <a:spLocks/>
            </p:cNvSpPr>
            <p:nvPr/>
          </p:nvSpPr>
          <p:spPr bwMode="auto">
            <a:xfrm>
              <a:off x="6209941" y="2949385"/>
              <a:ext cx="186004" cy="135982"/>
            </a:xfrm>
            <a:custGeom>
              <a:avLst/>
              <a:gdLst>
                <a:gd name="T0" fmla="*/ 97 w 768351"/>
                <a:gd name="T1" fmla="*/ 27 h 552700"/>
                <a:gd name="T2" fmla="*/ 94 w 768351"/>
                <a:gd name="T3" fmla="*/ 32 h 552700"/>
                <a:gd name="T4" fmla="*/ 83 w 768351"/>
                <a:gd name="T5" fmla="*/ 31 h 552700"/>
                <a:gd name="T6" fmla="*/ 73 w 768351"/>
                <a:gd name="T7" fmla="*/ 27 h 552700"/>
                <a:gd name="T8" fmla="*/ 59 w 768351"/>
                <a:gd name="T9" fmla="*/ 27 h 552700"/>
                <a:gd name="T10" fmla="*/ 50 w 768351"/>
                <a:gd name="T11" fmla="*/ 28 h 552700"/>
                <a:gd name="T12" fmla="*/ 39 w 768351"/>
                <a:gd name="T13" fmla="*/ 27 h 552700"/>
                <a:gd name="T14" fmla="*/ 33 w 768351"/>
                <a:gd name="T15" fmla="*/ 23 h 552700"/>
                <a:gd name="T16" fmla="*/ 35 w 768351"/>
                <a:gd name="T17" fmla="*/ 17 h 552700"/>
                <a:gd name="T18" fmla="*/ 51 w 768351"/>
                <a:gd name="T19" fmla="*/ 9 h 552700"/>
                <a:gd name="T20" fmla="*/ 48 w 768351"/>
                <a:gd name="T21" fmla="*/ 0 h 552700"/>
                <a:gd name="T22" fmla="*/ 38 w 768351"/>
                <a:gd name="T23" fmla="*/ 1 h 552700"/>
                <a:gd name="T24" fmla="*/ 31 w 768351"/>
                <a:gd name="T25" fmla="*/ 7 h 552700"/>
                <a:gd name="T26" fmla="*/ 21 w 768351"/>
                <a:gd name="T27" fmla="*/ 11 h 552700"/>
                <a:gd name="T28" fmla="*/ 18 w 768351"/>
                <a:gd name="T29" fmla="*/ 17 h 552700"/>
                <a:gd name="T30" fmla="*/ 11 w 768351"/>
                <a:gd name="T31" fmla="*/ 24 h 552700"/>
                <a:gd name="T32" fmla="*/ 2 w 768351"/>
                <a:gd name="T33" fmla="*/ 27 h 552700"/>
                <a:gd name="T34" fmla="*/ 3 w 768351"/>
                <a:gd name="T35" fmla="*/ 37 h 552700"/>
                <a:gd name="T36" fmla="*/ 8 w 768351"/>
                <a:gd name="T37" fmla="*/ 44 h 552700"/>
                <a:gd name="T38" fmla="*/ 12 w 768351"/>
                <a:gd name="T39" fmla="*/ 53 h 552700"/>
                <a:gd name="T40" fmla="*/ 7 w 768351"/>
                <a:gd name="T41" fmla="*/ 63 h 552700"/>
                <a:gd name="T42" fmla="*/ 0 w 768351"/>
                <a:gd name="T43" fmla="*/ 70 h 552700"/>
                <a:gd name="T44" fmla="*/ 16 w 768351"/>
                <a:gd name="T45" fmla="*/ 73 h 552700"/>
                <a:gd name="T46" fmla="*/ 27 w 768351"/>
                <a:gd name="T47" fmla="*/ 74 h 552700"/>
                <a:gd name="T48" fmla="*/ 34 w 768351"/>
                <a:gd name="T49" fmla="*/ 66 h 552700"/>
                <a:gd name="T50" fmla="*/ 45 w 768351"/>
                <a:gd name="T51" fmla="*/ 56 h 552700"/>
                <a:gd name="T52" fmla="*/ 52 w 768351"/>
                <a:gd name="T53" fmla="*/ 50 h 552700"/>
                <a:gd name="T54" fmla="*/ 63 w 768351"/>
                <a:gd name="T55" fmla="*/ 55 h 552700"/>
                <a:gd name="T56" fmla="*/ 61 w 768351"/>
                <a:gd name="T57" fmla="*/ 65 h 552700"/>
                <a:gd name="T58" fmla="*/ 66 w 768351"/>
                <a:gd name="T59" fmla="*/ 77 h 552700"/>
                <a:gd name="T60" fmla="*/ 78 w 768351"/>
                <a:gd name="T61" fmla="*/ 69 h 552700"/>
                <a:gd name="T62" fmla="*/ 96 w 768351"/>
                <a:gd name="T63" fmla="*/ 60 h 552700"/>
                <a:gd name="T64" fmla="*/ 104 w 768351"/>
                <a:gd name="T65" fmla="*/ 61 h 552700"/>
                <a:gd name="T66" fmla="*/ 114 w 768351"/>
                <a:gd name="T67" fmla="*/ 62 h 552700"/>
                <a:gd name="T68" fmla="*/ 113 w 768351"/>
                <a:gd name="T69" fmla="*/ 55 h 552700"/>
                <a:gd name="T70" fmla="*/ 103 w 768351"/>
                <a:gd name="T71" fmla="*/ 41 h 552700"/>
                <a:gd name="T72" fmla="*/ 97 w 768351"/>
                <a:gd name="T73" fmla="*/ 27 h 5527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68351"/>
                <a:gd name="T112" fmla="*/ 0 h 552700"/>
                <a:gd name="T113" fmla="*/ 768351 w 768351"/>
                <a:gd name="T114" fmla="*/ 552700 h 5527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68351" h="552700">
                  <a:moveTo>
                    <a:pt x="650876" y="196850"/>
                  </a:moveTo>
                  <a:lnTo>
                    <a:pt x="631763" y="226468"/>
                  </a:lnTo>
                  <a:lnTo>
                    <a:pt x="560388" y="222250"/>
                  </a:lnTo>
                  <a:lnTo>
                    <a:pt x="492126" y="196850"/>
                  </a:lnTo>
                  <a:lnTo>
                    <a:pt x="397210" y="191940"/>
                  </a:lnTo>
                  <a:lnTo>
                    <a:pt x="337679" y="202656"/>
                  </a:lnTo>
                  <a:lnTo>
                    <a:pt x="266241" y="196703"/>
                  </a:lnTo>
                  <a:lnTo>
                    <a:pt x="223379" y="165746"/>
                  </a:lnTo>
                  <a:lnTo>
                    <a:pt x="236538" y="119063"/>
                  </a:lnTo>
                  <a:lnTo>
                    <a:pt x="344488" y="61913"/>
                  </a:lnTo>
                  <a:lnTo>
                    <a:pt x="320675" y="0"/>
                  </a:lnTo>
                  <a:lnTo>
                    <a:pt x="258763" y="6350"/>
                  </a:lnTo>
                  <a:lnTo>
                    <a:pt x="211138" y="49213"/>
                  </a:lnTo>
                  <a:lnTo>
                    <a:pt x="144463" y="80963"/>
                  </a:lnTo>
                  <a:lnTo>
                    <a:pt x="120650" y="120650"/>
                  </a:lnTo>
                  <a:lnTo>
                    <a:pt x="74613" y="168275"/>
                  </a:lnTo>
                  <a:lnTo>
                    <a:pt x="12700" y="195263"/>
                  </a:lnTo>
                  <a:lnTo>
                    <a:pt x="17463" y="261938"/>
                  </a:lnTo>
                  <a:lnTo>
                    <a:pt x="57150" y="314325"/>
                  </a:lnTo>
                  <a:lnTo>
                    <a:pt x="82885" y="381250"/>
                  </a:lnTo>
                  <a:lnTo>
                    <a:pt x="43594" y="447925"/>
                  </a:lnTo>
                  <a:lnTo>
                    <a:pt x="0" y="500063"/>
                  </a:lnTo>
                  <a:lnTo>
                    <a:pt x="109079" y="525315"/>
                  </a:lnTo>
                  <a:lnTo>
                    <a:pt x="184150" y="528638"/>
                  </a:lnTo>
                  <a:lnTo>
                    <a:pt x="230188" y="471488"/>
                  </a:lnTo>
                  <a:lnTo>
                    <a:pt x="303213" y="400050"/>
                  </a:lnTo>
                  <a:lnTo>
                    <a:pt x="354013" y="357188"/>
                  </a:lnTo>
                  <a:lnTo>
                    <a:pt x="427038" y="395288"/>
                  </a:lnTo>
                  <a:lnTo>
                    <a:pt x="411163" y="468313"/>
                  </a:lnTo>
                  <a:lnTo>
                    <a:pt x="446026" y="552700"/>
                  </a:lnTo>
                  <a:lnTo>
                    <a:pt x="522288" y="495300"/>
                  </a:lnTo>
                  <a:lnTo>
                    <a:pt x="643669" y="431256"/>
                  </a:lnTo>
                  <a:lnTo>
                    <a:pt x="701676" y="434975"/>
                  </a:lnTo>
                  <a:lnTo>
                    <a:pt x="768351" y="444500"/>
                  </a:lnTo>
                  <a:lnTo>
                    <a:pt x="760413" y="395288"/>
                  </a:lnTo>
                  <a:lnTo>
                    <a:pt x="692151" y="292100"/>
                  </a:lnTo>
                  <a:lnTo>
                    <a:pt x="650876" y="19685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1" name="Freeform 113">
              <a:extLst>
                <a:ext uri="{FF2B5EF4-FFF2-40B4-BE49-F238E27FC236}">
                  <a16:creationId xmlns:a16="http://schemas.microsoft.com/office/drawing/2014/main" id="{4D0C6F2E-B084-2CC2-F035-7F4C4F52D6F9}"/>
                </a:ext>
              </a:extLst>
            </p:cNvPr>
            <p:cNvSpPr>
              <a:spLocks/>
            </p:cNvSpPr>
            <p:nvPr/>
          </p:nvSpPr>
          <p:spPr bwMode="auto">
            <a:xfrm>
              <a:off x="5835692" y="2894071"/>
              <a:ext cx="354080" cy="237391"/>
            </a:xfrm>
            <a:custGeom>
              <a:avLst/>
              <a:gdLst>
                <a:gd name="T0" fmla="*/ 2147483647 w 927"/>
                <a:gd name="T1" fmla="*/ 2147483647 h 601"/>
                <a:gd name="T2" fmla="*/ 2147483647 w 927"/>
                <a:gd name="T3" fmla="*/ 2147483647 h 601"/>
                <a:gd name="T4" fmla="*/ 2147483647 w 927"/>
                <a:gd name="T5" fmla="*/ 2147483647 h 601"/>
                <a:gd name="T6" fmla="*/ 2147483647 w 927"/>
                <a:gd name="T7" fmla="*/ 2147483647 h 601"/>
                <a:gd name="T8" fmla="*/ 2147483647 w 927"/>
                <a:gd name="T9" fmla="*/ 2147483647 h 601"/>
                <a:gd name="T10" fmla="*/ 2147483647 w 927"/>
                <a:gd name="T11" fmla="*/ 2147483647 h 601"/>
                <a:gd name="T12" fmla="*/ 2147483647 w 927"/>
                <a:gd name="T13" fmla="*/ 2147483647 h 601"/>
                <a:gd name="T14" fmla="*/ 2147483647 w 927"/>
                <a:gd name="T15" fmla="*/ 2147483647 h 601"/>
                <a:gd name="T16" fmla="*/ 2147483647 w 927"/>
                <a:gd name="T17" fmla="*/ 2147483647 h 601"/>
                <a:gd name="T18" fmla="*/ 2147483647 w 927"/>
                <a:gd name="T19" fmla="*/ 2147483647 h 601"/>
                <a:gd name="T20" fmla="*/ 2147483647 w 927"/>
                <a:gd name="T21" fmla="*/ 2147483647 h 601"/>
                <a:gd name="T22" fmla="*/ 2147483647 w 927"/>
                <a:gd name="T23" fmla="*/ 2147483647 h 601"/>
                <a:gd name="T24" fmla="*/ 2147483647 w 927"/>
                <a:gd name="T25" fmla="*/ 2147483647 h 601"/>
                <a:gd name="T26" fmla="*/ 2147483647 w 927"/>
                <a:gd name="T27" fmla="*/ 2147483647 h 601"/>
                <a:gd name="T28" fmla="*/ 2147483647 w 927"/>
                <a:gd name="T29" fmla="*/ 2147483647 h 601"/>
                <a:gd name="T30" fmla="*/ 2147483647 w 927"/>
                <a:gd name="T31" fmla="*/ 2147483647 h 601"/>
                <a:gd name="T32" fmla="*/ 2147483647 w 927"/>
                <a:gd name="T33" fmla="*/ 2147483647 h 601"/>
                <a:gd name="T34" fmla="*/ 2147483647 w 927"/>
                <a:gd name="T35" fmla="*/ 2147483647 h 601"/>
                <a:gd name="T36" fmla="*/ 2147483647 w 927"/>
                <a:gd name="T37" fmla="*/ 2147483647 h 601"/>
                <a:gd name="T38" fmla="*/ 2147483647 w 927"/>
                <a:gd name="T39" fmla="*/ 2147483647 h 601"/>
                <a:gd name="T40" fmla="*/ 2147483647 w 927"/>
                <a:gd name="T41" fmla="*/ 2147483647 h 601"/>
                <a:gd name="T42" fmla="*/ 2147483647 w 927"/>
                <a:gd name="T43" fmla="*/ 2147483647 h 601"/>
                <a:gd name="T44" fmla="*/ 2147483647 w 927"/>
                <a:gd name="T45" fmla="*/ 2147483647 h 601"/>
                <a:gd name="T46" fmla="*/ 2147483647 w 927"/>
                <a:gd name="T47" fmla="*/ 2147483647 h 601"/>
                <a:gd name="T48" fmla="*/ 2147483647 w 927"/>
                <a:gd name="T49" fmla="*/ 2147483647 h 601"/>
                <a:gd name="T50" fmla="*/ 2147483647 w 927"/>
                <a:gd name="T51" fmla="*/ 2147483647 h 601"/>
                <a:gd name="T52" fmla="*/ 2147483647 w 927"/>
                <a:gd name="T53" fmla="*/ 2147483647 h 601"/>
                <a:gd name="T54" fmla="*/ 2147483647 w 927"/>
                <a:gd name="T55" fmla="*/ 2147483647 h 601"/>
                <a:gd name="T56" fmla="*/ 2147483647 w 927"/>
                <a:gd name="T57" fmla="*/ 2147483647 h 601"/>
                <a:gd name="T58" fmla="*/ 2147483647 w 927"/>
                <a:gd name="T59" fmla="*/ 2147483647 h 601"/>
                <a:gd name="T60" fmla="*/ 2147483647 w 927"/>
                <a:gd name="T61" fmla="*/ 2147483647 h 601"/>
                <a:gd name="T62" fmla="*/ 2147483647 w 927"/>
                <a:gd name="T63" fmla="*/ 2147483647 h 601"/>
                <a:gd name="T64" fmla="*/ 2147483647 w 927"/>
                <a:gd name="T65" fmla="*/ 2147483647 h 601"/>
                <a:gd name="T66" fmla="*/ 2147483647 w 927"/>
                <a:gd name="T67" fmla="*/ 2147483647 h 601"/>
                <a:gd name="T68" fmla="*/ 2147483647 w 927"/>
                <a:gd name="T69" fmla="*/ 2147483647 h 601"/>
                <a:gd name="T70" fmla="*/ 2147483647 w 927"/>
                <a:gd name="T71" fmla="*/ 2147483647 h 601"/>
                <a:gd name="T72" fmla="*/ 2147483647 w 927"/>
                <a:gd name="T73" fmla="*/ 2147483647 h 601"/>
                <a:gd name="T74" fmla="*/ 2147483647 w 927"/>
                <a:gd name="T75" fmla="*/ 2147483647 h 601"/>
                <a:gd name="T76" fmla="*/ 2147483647 w 927"/>
                <a:gd name="T77" fmla="*/ 0 h 601"/>
                <a:gd name="T78" fmla="*/ 2147483647 w 927"/>
                <a:gd name="T79" fmla="*/ 2147483647 h 601"/>
                <a:gd name="T80" fmla="*/ 2147483647 w 927"/>
                <a:gd name="T81" fmla="*/ 2147483647 h 601"/>
                <a:gd name="T82" fmla="*/ 2147483647 w 927"/>
                <a:gd name="T83" fmla="*/ 2147483647 h 601"/>
                <a:gd name="T84" fmla="*/ 2147483647 w 927"/>
                <a:gd name="T85" fmla="*/ 2147483647 h 601"/>
                <a:gd name="T86" fmla="*/ 2147483647 w 927"/>
                <a:gd name="T87" fmla="*/ 2147483647 h 601"/>
                <a:gd name="T88" fmla="*/ 2147483647 w 927"/>
                <a:gd name="T89" fmla="*/ 2147483647 h 601"/>
                <a:gd name="T90" fmla="*/ 2147483647 w 927"/>
                <a:gd name="T91" fmla="*/ 2147483647 h 601"/>
                <a:gd name="T92" fmla="*/ 2147483647 w 927"/>
                <a:gd name="T93" fmla="*/ 2147483647 h 601"/>
                <a:gd name="T94" fmla="*/ 2147483647 w 927"/>
                <a:gd name="T95" fmla="*/ 2147483647 h 601"/>
                <a:gd name="T96" fmla="*/ 2147483647 w 927"/>
                <a:gd name="T97" fmla="*/ 2147483647 h 601"/>
                <a:gd name="T98" fmla="*/ 2147483647 w 927"/>
                <a:gd name="T99" fmla="*/ 2147483647 h 601"/>
                <a:gd name="T100" fmla="*/ 2147483647 w 927"/>
                <a:gd name="T101" fmla="*/ 2147483647 h 601"/>
                <a:gd name="T102" fmla="*/ 2147483647 w 927"/>
                <a:gd name="T103" fmla="*/ 2147483647 h 601"/>
                <a:gd name="T104" fmla="*/ 2147483647 w 927"/>
                <a:gd name="T105" fmla="*/ 2147483647 h 601"/>
                <a:gd name="T106" fmla="*/ 0 w 927"/>
                <a:gd name="T107" fmla="*/ 2147483647 h 601"/>
                <a:gd name="T108" fmla="*/ 2147483647 w 927"/>
                <a:gd name="T109" fmla="*/ 2147483647 h 601"/>
                <a:gd name="T110" fmla="*/ 2147483647 w 927"/>
                <a:gd name="T111" fmla="*/ 2147483647 h 601"/>
                <a:gd name="T112" fmla="*/ 2147483647 w 927"/>
                <a:gd name="T113" fmla="*/ 2147483647 h 601"/>
                <a:gd name="T114" fmla="*/ 2147483647 w 927"/>
                <a:gd name="T115" fmla="*/ 2147483647 h 601"/>
                <a:gd name="T116" fmla="*/ 2147483647 w 927"/>
                <a:gd name="T117" fmla="*/ 2147483647 h 601"/>
                <a:gd name="T118" fmla="*/ 2147483647 w 927"/>
                <a:gd name="T119" fmla="*/ 2147483647 h 601"/>
                <a:gd name="T120" fmla="*/ 2147483647 w 927"/>
                <a:gd name="T121" fmla="*/ 2147483647 h 6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27"/>
                <a:gd name="T184" fmla="*/ 0 h 601"/>
                <a:gd name="T185" fmla="*/ 927 w 927"/>
                <a:gd name="T186" fmla="*/ 601 h 6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27" h="601">
                  <a:moveTo>
                    <a:pt x="72" y="407"/>
                  </a:moveTo>
                  <a:lnTo>
                    <a:pt x="91" y="436"/>
                  </a:lnTo>
                  <a:lnTo>
                    <a:pt x="148" y="437"/>
                  </a:lnTo>
                  <a:lnTo>
                    <a:pt x="169" y="416"/>
                  </a:lnTo>
                  <a:lnTo>
                    <a:pt x="186" y="389"/>
                  </a:lnTo>
                  <a:lnTo>
                    <a:pt x="214" y="382"/>
                  </a:lnTo>
                  <a:lnTo>
                    <a:pt x="250" y="373"/>
                  </a:lnTo>
                  <a:lnTo>
                    <a:pt x="273" y="378"/>
                  </a:lnTo>
                  <a:lnTo>
                    <a:pt x="316" y="382"/>
                  </a:lnTo>
                  <a:lnTo>
                    <a:pt x="371" y="399"/>
                  </a:lnTo>
                  <a:lnTo>
                    <a:pt x="413" y="416"/>
                  </a:lnTo>
                  <a:lnTo>
                    <a:pt x="446" y="432"/>
                  </a:lnTo>
                  <a:lnTo>
                    <a:pt x="484" y="463"/>
                  </a:lnTo>
                  <a:lnTo>
                    <a:pt x="511" y="493"/>
                  </a:lnTo>
                  <a:lnTo>
                    <a:pt x="538" y="493"/>
                  </a:lnTo>
                  <a:lnTo>
                    <a:pt x="568" y="505"/>
                  </a:lnTo>
                  <a:lnTo>
                    <a:pt x="577" y="533"/>
                  </a:lnTo>
                  <a:lnTo>
                    <a:pt x="576" y="565"/>
                  </a:lnTo>
                  <a:lnTo>
                    <a:pt x="587" y="592"/>
                  </a:lnTo>
                  <a:lnTo>
                    <a:pt x="637" y="601"/>
                  </a:lnTo>
                  <a:lnTo>
                    <a:pt x="675" y="586"/>
                  </a:lnTo>
                  <a:lnTo>
                    <a:pt x="715" y="554"/>
                  </a:lnTo>
                  <a:lnTo>
                    <a:pt x="774" y="544"/>
                  </a:lnTo>
                  <a:lnTo>
                    <a:pt x="795" y="494"/>
                  </a:lnTo>
                  <a:lnTo>
                    <a:pt x="828" y="460"/>
                  </a:lnTo>
                  <a:lnTo>
                    <a:pt x="873" y="428"/>
                  </a:lnTo>
                  <a:lnTo>
                    <a:pt x="924" y="437"/>
                  </a:lnTo>
                  <a:lnTo>
                    <a:pt x="927" y="401"/>
                  </a:lnTo>
                  <a:lnTo>
                    <a:pt x="912" y="367"/>
                  </a:lnTo>
                  <a:lnTo>
                    <a:pt x="863" y="341"/>
                  </a:lnTo>
                  <a:lnTo>
                    <a:pt x="787" y="303"/>
                  </a:lnTo>
                  <a:lnTo>
                    <a:pt x="734" y="257"/>
                  </a:lnTo>
                  <a:lnTo>
                    <a:pt x="675" y="213"/>
                  </a:lnTo>
                  <a:lnTo>
                    <a:pt x="594" y="108"/>
                  </a:lnTo>
                  <a:lnTo>
                    <a:pt x="554" y="108"/>
                  </a:lnTo>
                  <a:lnTo>
                    <a:pt x="527" y="115"/>
                  </a:lnTo>
                  <a:lnTo>
                    <a:pt x="528" y="71"/>
                  </a:lnTo>
                  <a:lnTo>
                    <a:pt x="505" y="29"/>
                  </a:lnTo>
                  <a:lnTo>
                    <a:pt x="475" y="0"/>
                  </a:lnTo>
                  <a:lnTo>
                    <a:pt x="416" y="8"/>
                  </a:lnTo>
                  <a:lnTo>
                    <a:pt x="380" y="14"/>
                  </a:lnTo>
                  <a:lnTo>
                    <a:pt x="343" y="39"/>
                  </a:lnTo>
                  <a:lnTo>
                    <a:pt x="312" y="70"/>
                  </a:lnTo>
                  <a:lnTo>
                    <a:pt x="232" y="89"/>
                  </a:lnTo>
                  <a:lnTo>
                    <a:pt x="180" y="101"/>
                  </a:lnTo>
                  <a:lnTo>
                    <a:pt x="136" y="53"/>
                  </a:lnTo>
                  <a:lnTo>
                    <a:pt x="114" y="13"/>
                  </a:lnTo>
                  <a:lnTo>
                    <a:pt x="63" y="10"/>
                  </a:lnTo>
                  <a:lnTo>
                    <a:pt x="24" y="34"/>
                  </a:lnTo>
                  <a:lnTo>
                    <a:pt x="124" y="130"/>
                  </a:lnTo>
                  <a:lnTo>
                    <a:pt x="91" y="140"/>
                  </a:lnTo>
                  <a:lnTo>
                    <a:pt x="54" y="158"/>
                  </a:lnTo>
                  <a:lnTo>
                    <a:pt x="22" y="131"/>
                  </a:lnTo>
                  <a:lnTo>
                    <a:pt x="0" y="161"/>
                  </a:lnTo>
                  <a:lnTo>
                    <a:pt x="3" y="206"/>
                  </a:lnTo>
                  <a:lnTo>
                    <a:pt x="48" y="221"/>
                  </a:lnTo>
                  <a:lnTo>
                    <a:pt x="45" y="248"/>
                  </a:lnTo>
                  <a:lnTo>
                    <a:pt x="54" y="287"/>
                  </a:lnTo>
                  <a:lnTo>
                    <a:pt x="82" y="322"/>
                  </a:lnTo>
                  <a:lnTo>
                    <a:pt x="63" y="371"/>
                  </a:lnTo>
                  <a:lnTo>
                    <a:pt x="72" y="40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2" name="Freeform 114">
              <a:extLst>
                <a:ext uri="{FF2B5EF4-FFF2-40B4-BE49-F238E27FC236}">
                  <a16:creationId xmlns:a16="http://schemas.microsoft.com/office/drawing/2014/main" id="{C165C646-779D-D212-9815-8B5D5A2BAEB5}"/>
                </a:ext>
              </a:extLst>
            </p:cNvPr>
            <p:cNvSpPr>
              <a:spLocks/>
            </p:cNvSpPr>
            <p:nvPr/>
          </p:nvSpPr>
          <p:spPr bwMode="auto">
            <a:xfrm>
              <a:off x="6530405" y="3288186"/>
              <a:ext cx="210655" cy="122151"/>
            </a:xfrm>
            <a:custGeom>
              <a:avLst/>
              <a:gdLst>
                <a:gd name="T0" fmla="*/ 2147483647 w 470"/>
                <a:gd name="T1" fmla="*/ 2147483647 h 266"/>
                <a:gd name="T2" fmla="*/ 0 w 470"/>
                <a:gd name="T3" fmla="*/ 2147483647 h 266"/>
                <a:gd name="T4" fmla="*/ 2147483647 w 470"/>
                <a:gd name="T5" fmla="*/ 2147483647 h 266"/>
                <a:gd name="T6" fmla="*/ 2147483647 w 470"/>
                <a:gd name="T7" fmla="*/ 2147483647 h 266"/>
                <a:gd name="T8" fmla="*/ 2147483647 w 470"/>
                <a:gd name="T9" fmla="*/ 2147483647 h 266"/>
                <a:gd name="T10" fmla="*/ 2147483647 w 470"/>
                <a:gd name="T11" fmla="*/ 2147483647 h 266"/>
                <a:gd name="T12" fmla="*/ 2147483647 w 470"/>
                <a:gd name="T13" fmla="*/ 2147483647 h 266"/>
                <a:gd name="T14" fmla="*/ 2147483647 w 470"/>
                <a:gd name="T15" fmla="*/ 2147483647 h 266"/>
                <a:gd name="T16" fmla="*/ 2147483647 w 470"/>
                <a:gd name="T17" fmla="*/ 2147483647 h 266"/>
                <a:gd name="T18" fmla="*/ 2147483647 w 470"/>
                <a:gd name="T19" fmla="*/ 2147483647 h 266"/>
                <a:gd name="T20" fmla="*/ 2147483647 w 470"/>
                <a:gd name="T21" fmla="*/ 2147483647 h 266"/>
                <a:gd name="T22" fmla="*/ 2147483647 w 470"/>
                <a:gd name="T23" fmla="*/ 2147483647 h 266"/>
                <a:gd name="T24" fmla="*/ 2147483647 w 470"/>
                <a:gd name="T25" fmla="*/ 2147483647 h 266"/>
                <a:gd name="T26" fmla="*/ 2147483647 w 470"/>
                <a:gd name="T27" fmla="*/ 2147483647 h 266"/>
                <a:gd name="T28" fmla="*/ 2147483647 w 470"/>
                <a:gd name="T29" fmla="*/ 2147483647 h 266"/>
                <a:gd name="T30" fmla="*/ 2147483647 w 470"/>
                <a:gd name="T31" fmla="*/ 2147483647 h 266"/>
                <a:gd name="T32" fmla="*/ 2147483647 w 470"/>
                <a:gd name="T33" fmla="*/ 2147483647 h 266"/>
                <a:gd name="T34" fmla="*/ 2147483647 w 470"/>
                <a:gd name="T35" fmla="*/ 2147483647 h 266"/>
                <a:gd name="T36" fmla="*/ 2147483647 w 470"/>
                <a:gd name="T37" fmla="*/ 0 h 266"/>
                <a:gd name="T38" fmla="*/ 2147483647 w 470"/>
                <a:gd name="T39" fmla="*/ 2147483647 h 2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0"/>
                <a:gd name="T61" fmla="*/ 0 h 266"/>
                <a:gd name="T62" fmla="*/ 470 w 470"/>
                <a:gd name="T63" fmla="*/ 266 h 2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0" h="266">
                  <a:moveTo>
                    <a:pt x="27" y="13"/>
                  </a:moveTo>
                  <a:lnTo>
                    <a:pt x="0" y="58"/>
                  </a:lnTo>
                  <a:lnTo>
                    <a:pt x="3" y="108"/>
                  </a:lnTo>
                  <a:lnTo>
                    <a:pt x="46" y="136"/>
                  </a:lnTo>
                  <a:lnTo>
                    <a:pt x="94" y="154"/>
                  </a:lnTo>
                  <a:lnTo>
                    <a:pt x="168" y="185"/>
                  </a:lnTo>
                  <a:lnTo>
                    <a:pt x="231" y="185"/>
                  </a:lnTo>
                  <a:lnTo>
                    <a:pt x="285" y="230"/>
                  </a:lnTo>
                  <a:lnTo>
                    <a:pt x="373" y="248"/>
                  </a:lnTo>
                  <a:lnTo>
                    <a:pt x="444" y="266"/>
                  </a:lnTo>
                  <a:lnTo>
                    <a:pt x="462" y="234"/>
                  </a:lnTo>
                  <a:lnTo>
                    <a:pt x="470" y="200"/>
                  </a:lnTo>
                  <a:lnTo>
                    <a:pt x="458" y="157"/>
                  </a:lnTo>
                  <a:lnTo>
                    <a:pt x="420" y="158"/>
                  </a:lnTo>
                  <a:lnTo>
                    <a:pt x="347" y="159"/>
                  </a:lnTo>
                  <a:lnTo>
                    <a:pt x="297" y="127"/>
                  </a:lnTo>
                  <a:lnTo>
                    <a:pt x="223" y="63"/>
                  </a:lnTo>
                  <a:lnTo>
                    <a:pt x="130" y="10"/>
                  </a:lnTo>
                  <a:lnTo>
                    <a:pt x="73" y="0"/>
                  </a:lnTo>
                  <a:lnTo>
                    <a:pt x="27" y="1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3" name="Freeform 115">
              <a:extLst>
                <a:ext uri="{FF2B5EF4-FFF2-40B4-BE49-F238E27FC236}">
                  <a16:creationId xmlns:a16="http://schemas.microsoft.com/office/drawing/2014/main" id="{822DB621-F971-1140-F764-B841E441A787}"/>
                </a:ext>
              </a:extLst>
            </p:cNvPr>
            <p:cNvSpPr>
              <a:spLocks/>
            </p:cNvSpPr>
            <p:nvPr/>
          </p:nvSpPr>
          <p:spPr bwMode="auto">
            <a:xfrm>
              <a:off x="6763470" y="3355022"/>
              <a:ext cx="82917" cy="46095"/>
            </a:xfrm>
            <a:custGeom>
              <a:avLst/>
              <a:gdLst>
                <a:gd name="T0" fmla="*/ 2147483647 w 185"/>
                <a:gd name="T1" fmla="*/ 2147483647 h 101"/>
                <a:gd name="T2" fmla="*/ 0 w 185"/>
                <a:gd name="T3" fmla="*/ 2147483647 h 101"/>
                <a:gd name="T4" fmla="*/ 2147483647 w 185"/>
                <a:gd name="T5" fmla="*/ 2147483647 h 101"/>
                <a:gd name="T6" fmla="*/ 2147483647 w 185"/>
                <a:gd name="T7" fmla="*/ 2147483647 h 101"/>
                <a:gd name="T8" fmla="*/ 2147483647 w 185"/>
                <a:gd name="T9" fmla="*/ 2147483647 h 101"/>
                <a:gd name="T10" fmla="*/ 2147483647 w 185"/>
                <a:gd name="T11" fmla="*/ 2147483647 h 101"/>
                <a:gd name="T12" fmla="*/ 2147483647 w 185"/>
                <a:gd name="T13" fmla="*/ 2147483647 h 101"/>
                <a:gd name="T14" fmla="*/ 2147483647 w 185"/>
                <a:gd name="T15" fmla="*/ 2147483647 h 101"/>
                <a:gd name="T16" fmla="*/ 2147483647 w 185"/>
                <a:gd name="T17" fmla="*/ 0 h 101"/>
                <a:gd name="T18" fmla="*/ 2147483647 w 185"/>
                <a:gd name="T19" fmla="*/ 2147483647 h 101"/>
                <a:gd name="T20" fmla="*/ 2147483647 w 185"/>
                <a:gd name="T21" fmla="*/ 2147483647 h 10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
                <a:gd name="T34" fmla="*/ 0 h 101"/>
                <a:gd name="T35" fmla="*/ 185 w 185"/>
                <a:gd name="T36" fmla="*/ 101 h 10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 h="101">
                  <a:moveTo>
                    <a:pt x="1" y="22"/>
                  </a:moveTo>
                  <a:lnTo>
                    <a:pt x="0" y="84"/>
                  </a:lnTo>
                  <a:lnTo>
                    <a:pt x="40" y="88"/>
                  </a:lnTo>
                  <a:lnTo>
                    <a:pt x="92" y="99"/>
                  </a:lnTo>
                  <a:lnTo>
                    <a:pt x="139" y="101"/>
                  </a:lnTo>
                  <a:lnTo>
                    <a:pt x="184" y="98"/>
                  </a:lnTo>
                  <a:lnTo>
                    <a:pt x="185" y="63"/>
                  </a:lnTo>
                  <a:lnTo>
                    <a:pt x="156" y="45"/>
                  </a:lnTo>
                  <a:lnTo>
                    <a:pt x="112" y="0"/>
                  </a:lnTo>
                  <a:lnTo>
                    <a:pt x="62" y="11"/>
                  </a:lnTo>
                  <a:lnTo>
                    <a:pt x="1" y="2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4" name="Freeform 116">
              <a:extLst>
                <a:ext uri="{FF2B5EF4-FFF2-40B4-BE49-F238E27FC236}">
                  <a16:creationId xmlns:a16="http://schemas.microsoft.com/office/drawing/2014/main" id="{8AC122E8-51D1-5A48-ADB1-5F5462CD3209}"/>
                </a:ext>
              </a:extLst>
            </p:cNvPr>
            <p:cNvSpPr>
              <a:spLocks/>
            </p:cNvSpPr>
            <p:nvPr/>
          </p:nvSpPr>
          <p:spPr bwMode="auto">
            <a:xfrm>
              <a:off x="4255781" y="2847975"/>
              <a:ext cx="315983" cy="269658"/>
            </a:xfrm>
            <a:custGeom>
              <a:avLst/>
              <a:gdLst>
                <a:gd name="T0" fmla="*/ 2147483647 w 832"/>
                <a:gd name="T1" fmla="*/ 0 h 685"/>
                <a:gd name="T2" fmla="*/ 2147483647 w 832"/>
                <a:gd name="T3" fmla="*/ 2147483647 h 685"/>
                <a:gd name="T4" fmla="*/ 2147483647 w 832"/>
                <a:gd name="T5" fmla="*/ 2147483647 h 685"/>
                <a:gd name="T6" fmla="*/ 0 w 832"/>
                <a:gd name="T7" fmla="*/ 2147483647 h 685"/>
                <a:gd name="T8" fmla="*/ 2147483647 w 832"/>
                <a:gd name="T9" fmla="*/ 2147483647 h 685"/>
                <a:gd name="T10" fmla="*/ 2147483647 w 832"/>
                <a:gd name="T11" fmla="*/ 2147483647 h 685"/>
                <a:gd name="T12" fmla="*/ 2147483647 w 832"/>
                <a:gd name="T13" fmla="*/ 2147483647 h 685"/>
                <a:gd name="T14" fmla="*/ 2147483647 w 832"/>
                <a:gd name="T15" fmla="*/ 2147483647 h 685"/>
                <a:gd name="T16" fmla="*/ 2147483647 w 832"/>
                <a:gd name="T17" fmla="*/ 2147483647 h 685"/>
                <a:gd name="T18" fmla="*/ 2147483647 w 832"/>
                <a:gd name="T19" fmla="*/ 2147483647 h 685"/>
                <a:gd name="T20" fmla="*/ 2147483647 w 832"/>
                <a:gd name="T21" fmla="*/ 2147483647 h 685"/>
                <a:gd name="T22" fmla="*/ 2147483647 w 832"/>
                <a:gd name="T23" fmla="*/ 2147483647 h 685"/>
                <a:gd name="T24" fmla="*/ 2147483647 w 832"/>
                <a:gd name="T25" fmla="*/ 2147483647 h 685"/>
                <a:gd name="T26" fmla="*/ 2147483647 w 832"/>
                <a:gd name="T27" fmla="*/ 2147483647 h 685"/>
                <a:gd name="T28" fmla="*/ 2147483647 w 832"/>
                <a:gd name="T29" fmla="*/ 2147483647 h 685"/>
                <a:gd name="T30" fmla="*/ 2147483647 w 832"/>
                <a:gd name="T31" fmla="*/ 2147483647 h 685"/>
                <a:gd name="T32" fmla="*/ 2147483647 w 832"/>
                <a:gd name="T33" fmla="*/ 2147483647 h 685"/>
                <a:gd name="T34" fmla="*/ 2147483647 w 832"/>
                <a:gd name="T35" fmla="*/ 2147483647 h 685"/>
                <a:gd name="T36" fmla="*/ 2147483647 w 832"/>
                <a:gd name="T37" fmla="*/ 2147483647 h 685"/>
                <a:gd name="T38" fmla="*/ 2147483647 w 832"/>
                <a:gd name="T39" fmla="*/ 2147483647 h 685"/>
                <a:gd name="T40" fmla="*/ 2147483647 w 832"/>
                <a:gd name="T41" fmla="*/ 2147483647 h 685"/>
                <a:gd name="T42" fmla="*/ 2147483647 w 832"/>
                <a:gd name="T43" fmla="*/ 2147483647 h 685"/>
                <a:gd name="T44" fmla="*/ 2147483647 w 832"/>
                <a:gd name="T45" fmla="*/ 2147483647 h 685"/>
                <a:gd name="T46" fmla="*/ 2147483647 w 832"/>
                <a:gd name="T47" fmla="*/ 2147483647 h 685"/>
                <a:gd name="T48" fmla="*/ 2147483647 w 832"/>
                <a:gd name="T49" fmla="*/ 2147483647 h 685"/>
                <a:gd name="T50" fmla="*/ 2147483647 w 832"/>
                <a:gd name="T51" fmla="*/ 2147483647 h 685"/>
                <a:gd name="T52" fmla="*/ 2147483647 w 832"/>
                <a:gd name="T53" fmla="*/ 2147483647 h 685"/>
                <a:gd name="T54" fmla="*/ 2147483647 w 832"/>
                <a:gd name="T55" fmla="*/ 2147483647 h 685"/>
                <a:gd name="T56" fmla="*/ 2147483647 w 832"/>
                <a:gd name="T57" fmla="*/ 2147483647 h 685"/>
                <a:gd name="T58" fmla="*/ 2147483647 w 832"/>
                <a:gd name="T59" fmla="*/ 2147483647 h 685"/>
                <a:gd name="T60" fmla="*/ 2147483647 w 832"/>
                <a:gd name="T61" fmla="*/ 2147483647 h 685"/>
                <a:gd name="T62" fmla="*/ 2147483647 w 832"/>
                <a:gd name="T63" fmla="*/ 2147483647 h 685"/>
                <a:gd name="T64" fmla="*/ 2147483647 w 832"/>
                <a:gd name="T65" fmla="*/ 2147483647 h 685"/>
                <a:gd name="T66" fmla="*/ 2147483647 w 832"/>
                <a:gd name="T67" fmla="*/ 2147483647 h 685"/>
                <a:gd name="T68" fmla="*/ 2147483647 w 832"/>
                <a:gd name="T69" fmla="*/ 2147483647 h 685"/>
                <a:gd name="T70" fmla="*/ 2147483647 w 832"/>
                <a:gd name="T71" fmla="*/ 2147483647 h 685"/>
                <a:gd name="T72" fmla="*/ 2147483647 w 832"/>
                <a:gd name="T73" fmla="*/ 2147483647 h 685"/>
                <a:gd name="T74" fmla="*/ 2147483647 w 832"/>
                <a:gd name="T75" fmla="*/ 2147483647 h 685"/>
                <a:gd name="T76" fmla="*/ 2147483647 w 832"/>
                <a:gd name="T77" fmla="*/ 2147483647 h 685"/>
                <a:gd name="T78" fmla="*/ 2147483647 w 832"/>
                <a:gd name="T79" fmla="*/ 2147483647 h 685"/>
                <a:gd name="T80" fmla="*/ 2147483647 w 832"/>
                <a:gd name="T81" fmla="*/ 2147483647 h 685"/>
                <a:gd name="T82" fmla="*/ 2147483647 w 832"/>
                <a:gd name="T83" fmla="*/ 2147483647 h 685"/>
                <a:gd name="T84" fmla="*/ 2147483647 w 832"/>
                <a:gd name="T85" fmla="*/ 2147483647 h 685"/>
                <a:gd name="T86" fmla="*/ 2147483647 w 832"/>
                <a:gd name="T87" fmla="*/ 2147483647 h 685"/>
                <a:gd name="T88" fmla="*/ 2147483647 w 832"/>
                <a:gd name="T89" fmla="*/ 2147483647 h 685"/>
                <a:gd name="T90" fmla="*/ 2147483647 w 832"/>
                <a:gd name="T91" fmla="*/ 2147483647 h 685"/>
                <a:gd name="T92" fmla="*/ 2147483647 w 832"/>
                <a:gd name="T93" fmla="*/ 2147483647 h 685"/>
                <a:gd name="T94" fmla="*/ 2147483647 w 832"/>
                <a:gd name="T95" fmla="*/ 2147483647 h 6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32"/>
                <a:gd name="T145" fmla="*/ 0 h 685"/>
                <a:gd name="T146" fmla="*/ 832 w 832"/>
                <a:gd name="T147" fmla="*/ 685 h 6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32" h="685">
                  <a:moveTo>
                    <a:pt x="117" y="0"/>
                  </a:moveTo>
                  <a:lnTo>
                    <a:pt x="82" y="0"/>
                  </a:lnTo>
                  <a:lnTo>
                    <a:pt x="57" y="3"/>
                  </a:lnTo>
                  <a:lnTo>
                    <a:pt x="67" y="24"/>
                  </a:lnTo>
                  <a:lnTo>
                    <a:pt x="25" y="34"/>
                  </a:lnTo>
                  <a:lnTo>
                    <a:pt x="6" y="51"/>
                  </a:lnTo>
                  <a:lnTo>
                    <a:pt x="1" y="69"/>
                  </a:lnTo>
                  <a:lnTo>
                    <a:pt x="0" y="90"/>
                  </a:lnTo>
                  <a:lnTo>
                    <a:pt x="21" y="102"/>
                  </a:lnTo>
                  <a:lnTo>
                    <a:pt x="61" y="84"/>
                  </a:lnTo>
                  <a:lnTo>
                    <a:pt x="96" y="43"/>
                  </a:lnTo>
                  <a:lnTo>
                    <a:pt x="102" y="68"/>
                  </a:lnTo>
                  <a:lnTo>
                    <a:pt x="139" y="70"/>
                  </a:lnTo>
                  <a:lnTo>
                    <a:pt x="171" y="71"/>
                  </a:lnTo>
                  <a:lnTo>
                    <a:pt x="200" y="69"/>
                  </a:lnTo>
                  <a:lnTo>
                    <a:pt x="226" y="96"/>
                  </a:lnTo>
                  <a:lnTo>
                    <a:pt x="222" y="121"/>
                  </a:lnTo>
                  <a:lnTo>
                    <a:pt x="203" y="140"/>
                  </a:lnTo>
                  <a:lnTo>
                    <a:pt x="182" y="151"/>
                  </a:lnTo>
                  <a:lnTo>
                    <a:pt x="170" y="168"/>
                  </a:lnTo>
                  <a:lnTo>
                    <a:pt x="171" y="196"/>
                  </a:lnTo>
                  <a:lnTo>
                    <a:pt x="174" y="224"/>
                  </a:lnTo>
                  <a:lnTo>
                    <a:pt x="156" y="254"/>
                  </a:lnTo>
                  <a:lnTo>
                    <a:pt x="160" y="283"/>
                  </a:lnTo>
                  <a:lnTo>
                    <a:pt x="131" y="291"/>
                  </a:lnTo>
                  <a:lnTo>
                    <a:pt x="130" y="328"/>
                  </a:lnTo>
                  <a:lnTo>
                    <a:pt x="147" y="340"/>
                  </a:lnTo>
                  <a:lnTo>
                    <a:pt x="119" y="380"/>
                  </a:lnTo>
                  <a:lnTo>
                    <a:pt x="139" y="399"/>
                  </a:lnTo>
                  <a:lnTo>
                    <a:pt x="159" y="429"/>
                  </a:lnTo>
                  <a:lnTo>
                    <a:pt x="145" y="462"/>
                  </a:lnTo>
                  <a:lnTo>
                    <a:pt x="126" y="489"/>
                  </a:lnTo>
                  <a:lnTo>
                    <a:pt x="120" y="516"/>
                  </a:lnTo>
                  <a:lnTo>
                    <a:pt x="126" y="547"/>
                  </a:lnTo>
                  <a:lnTo>
                    <a:pt x="151" y="559"/>
                  </a:lnTo>
                  <a:lnTo>
                    <a:pt x="162" y="571"/>
                  </a:lnTo>
                  <a:lnTo>
                    <a:pt x="171" y="585"/>
                  </a:lnTo>
                  <a:lnTo>
                    <a:pt x="179" y="603"/>
                  </a:lnTo>
                  <a:lnTo>
                    <a:pt x="192" y="635"/>
                  </a:lnTo>
                  <a:lnTo>
                    <a:pt x="180" y="663"/>
                  </a:lnTo>
                  <a:lnTo>
                    <a:pt x="202" y="669"/>
                  </a:lnTo>
                  <a:lnTo>
                    <a:pt x="237" y="685"/>
                  </a:lnTo>
                  <a:lnTo>
                    <a:pt x="241" y="666"/>
                  </a:lnTo>
                  <a:lnTo>
                    <a:pt x="227" y="646"/>
                  </a:lnTo>
                  <a:lnTo>
                    <a:pt x="241" y="633"/>
                  </a:lnTo>
                  <a:lnTo>
                    <a:pt x="259" y="619"/>
                  </a:lnTo>
                  <a:lnTo>
                    <a:pt x="282" y="616"/>
                  </a:lnTo>
                  <a:lnTo>
                    <a:pt x="304" y="612"/>
                  </a:lnTo>
                  <a:lnTo>
                    <a:pt x="334" y="604"/>
                  </a:lnTo>
                  <a:lnTo>
                    <a:pt x="381" y="603"/>
                  </a:lnTo>
                  <a:lnTo>
                    <a:pt x="415" y="609"/>
                  </a:lnTo>
                  <a:lnTo>
                    <a:pt x="466" y="598"/>
                  </a:lnTo>
                  <a:lnTo>
                    <a:pt x="477" y="570"/>
                  </a:lnTo>
                  <a:lnTo>
                    <a:pt x="499" y="541"/>
                  </a:lnTo>
                  <a:lnTo>
                    <a:pt x="534" y="525"/>
                  </a:lnTo>
                  <a:lnTo>
                    <a:pt x="564" y="528"/>
                  </a:lnTo>
                  <a:lnTo>
                    <a:pt x="560" y="503"/>
                  </a:lnTo>
                  <a:lnTo>
                    <a:pt x="573" y="478"/>
                  </a:lnTo>
                  <a:lnTo>
                    <a:pt x="591" y="471"/>
                  </a:lnTo>
                  <a:lnTo>
                    <a:pt x="625" y="450"/>
                  </a:lnTo>
                  <a:lnTo>
                    <a:pt x="604" y="420"/>
                  </a:lnTo>
                  <a:lnTo>
                    <a:pt x="583" y="379"/>
                  </a:lnTo>
                  <a:lnTo>
                    <a:pt x="595" y="346"/>
                  </a:lnTo>
                  <a:lnTo>
                    <a:pt x="623" y="330"/>
                  </a:lnTo>
                  <a:lnTo>
                    <a:pt x="652" y="296"/>
                  </a:lnTo>
                  <a:lnTo>
                    <a:pt x="682" y="253"/>
                  </a:lnTo>
                  <a:lnTo>
                    <a:pt x="714" y="237"/>
                  </a:lnTo>
                  <a:lnTo>
                    <a:pt x="764" y="203"/>
                  </a:lnTo>
                  <a:lnTo>
                    <a:pt x="807" y="194"/>
                  </a:lnTo>
                  <a:lnTo>
                    <a:pt x="832" y="174"/>
                  </a:lnTo>
                  <a:lnTo>
                    <a:pt x="823" y="144"/>
                  </a:lnTo>
                  <a:lnTo>
                    <a:pt x="817" y="114"/>
                  </a:lnTo>
                  <a:lnTo>
                    <a:pt x="832" y="96"/>
                  </a:lnTo>
                  <a:lnTo>
                    <a:pt x="801" y="84"/>
                  </a:lnTo>
                  <a:lnTo>
                    <a:pt x="773" y="55"/>
                  </a:lnTo>
                  <a:lnTo>
                    <a:pt x="769" y="62"/>
                  </a:lnTo>
                  <a:lnTo>
                    <a:pt x="757" y="65"/>
                  </a:lnTo>
                  <a:lnTo>
                    <a:pt x="754" y="59"/>
                  </a:lnTo>
                  <a:lnTo>
                    <a:pt x="754" y="53"/>
                  </a:lnTo>
                  <a:lnTo>
                    <a:pt x="724" y="39"/>
                  </a:lnTo>
                  <a:lnTo>
                    <a:pt x="701" y="51"/>
                  </a:lnTo>
                  <a:lnTo>
                    <a:pt x="663" y="43"/>
                  </a:lnTo>
                  <a:lnTo>
                    <a:pt x="631" y="40"/>
                  </a:lnTo>
                  <a:lnTo>
                    <a:pt x="606" y="33"/>
                  </a:lnTo>
                  <a:lnTo>
                    <a:pt x="576" y="36"/>
                  </a:lnTo>
                  <a:lnTo>
                    <a:pt x="541" y="37"/>
                  </a:lnTo>
                  <a:lnTo>
                    <a:pt x="507" y="31"/>
                  </a:lnTo>
                  <a:lnTo>
                    <a:pt x="484" y="28"/>
                  </a:lnTo>
                  <a:lnTo>
                    <a:pt x="459" y="31"/>
                  </a:lnTo>
                  <a:lnTo>
                    <a:pt x="423" y="25"/>
                  </a:lnTo>
                  <a:lnTo>
                    <a:pt x="388" y="22"/>
                  </a:lnTo>
                  <a:lnTo>
                    <a:pt x="349" y="25"/>
                  </a:lnTo>
                  <a:lnTo>
                    <a:pt x="306" y="24"/>
                  </a:lnTo>
                  <a:lnTo>
                    <a:pt x="258" y="15"/>
                  </a:lnTo>
                  <a:lnTo>
                    <a:pt x="195" y="9"/>
                  </a:lnTo>
                  <a:lnTo>
                    <a:pt x="144" y="12"/>
                  </a:lnTo>
                  <a:lnTo>
                    <a:pt x="117"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5" name="Freeform 117">
              <a:extLst>
                <a:ext uri="{FF2B5EF4-FFF2-40B4-BE49-F238E27FC236}">
                  <a16:creationId xmlns:a16="http://schemas.microsoft.com/office/drawing/2014/main" id="{2929C442-D3A6-BDED-1399-EB0CA2317656}"/>
                </a:ext>
              </a:extLst>
            </p:cNvPr>
            <p:cNvSpPr>
              <a:spLocks/>
            </p:cNvSpPr>
            <p:nvPr/>
          </p:nvSpPr>
          <p:spPr bwMode="auto">
            <a:xfrm>
              <a:off x="4240094" y="2864110"/>
              <a:ext cx="100844" cy="214343"/>
            </a:xfrm>
            <a:custGeom>
              <a:avLst/>
              <a:gdLst>
                <a:gd name="T0" fmla="*/ 2147483647 w 263"/>
                <a:gd name="T1" fmla="*/ 2147483647 h 544"/>
                <a:gd name="T2" fmla="*/ 2147483647 w 263"/>
                <a:gd name="T3" fmla="*/ 0 h 544"/>
                <a:gd name="T4" fmla="*/ 2147483647 w 263"/>
                <a:gd name="T5" fmla="*/ 2147483647 h 544"/>
                <a:gd name="T6" fmla="*/ 2147483647 w 263"/>
                <a:gd name="T7" fmla="*/ 2147483647 h 544"/>
                <a:gd name="T8" fmla="*/ 2147483647 w 263"/>
                <a:gd name="T9" fmla="*/ 2147483647 h 544"/>
                <a:gd name="T10" fmla="*/ 2147483647 w 263"/>
                <a:gd name="T11" fmla="*/ 2147483647 h 544"/>
                <a:gd name="T12" fmla="*/ 2147483647 w 263"/>
                <a:gd name="T13" fmla="*/ 2147483647 h 544"/>
                <a:gd name="T14" fmla="*/ 2147483647 w 263"/>
                <a:gd name="T15" fmla="*/ 2147483647 h 544"/>
                <a:gd name="T16" fmla="*/ 2147483647 w 263"/>
                <a:gd name="T17" fmla="*/ 2147483647 h 544"/>
                <a:gd name="T18" fmla="*/ 2147483647 w 263"/>
                <a:gd name="T19" fmla="*/ 2147483647 h 544"/>
                <a:gd name="T20" fmla="*/ 2147483647 w 263"/>
                <a:gd name="T21" fmla="*/ 2147483647 h 544"/>
                <a:gd name="T22" fmla="*/ 2147483647 w 263"/>
                <a:gd name="T23" fmla="*/ 2147483647 h 544"/>
                <a:gd name="T24" fmla="*/ 2147483647 w 263"/>
                <a:gd name="T25" fmla="*/ 2147483647 h 544"/>
                <a:gd name="T26" fmla="*/ 2147483647 w 263"/>
                <a:gd name="T27" fmla="*/ 2147483647 h 544"/>
                <a:gd name="T28" fmla="*/ 2147483647 w 263"/>
                <a:gd name="T29" fmla="*/ 2147483647 h 544"/>
                <a:gd name="T30" fmla="*/ 2147483647 w 263"/>
                <a:gd name="T31" fmla="*/ 2147483647 h 544"/>
                <a:gd name="T32" fmla="*/ 2147483647 w 263"/>
                <a:gd name="T33" fmla="*/ 2147483647 h 544"/>
                <a:gd name="T34" fmla="*/ 2147483647 w 263"/>
                <a:gd name="T35" fmla="*/ 2147483647 h 544"/>
                <a:gd name="T36" fmla="*/ 2147483647 w 263"/>
                <a:gd name="T37" fmla="*/ 2147483647 h 544"/>
                <a:gd name="T38" fmla="*/ 2147483647 w 263"/>
                <a:gd name="T39" fmla="*/ 2147483647 h 544"/>
                <a:gd name="T40" fmla="*/ 2147483647 w 263"/>
                <a:gd name="T41" fmla="*/ 2147483647 h 544"/>
                <a:gd name="T42" fmla="*/ 2147483647 w 263"/>
                <a:gd name="T43" fmla="*/ 2147483647 h 544"/>
                <a:gd name="T44" fmla="*/ 2147483647 w 263"/>
                <a:gd name="T45" fmla="*/ 2147483647 h 544"/>
                <a:gd name="T46" fmla="*/ 2147483647 w 263"/>
                <a:gd name="T47" fmla="*/ 2147483647 h 544"/>
                <a:gd name="T48" fmla="*/ 2147483647 w 263"/>
                <a:gd name="T49" fmla="*/ 2147483647 h 544"/>
                <a:gd name="T50" fmla="*/ 2147483647 w 263"/>
                <a:gd name="T51" fmla="*/ 2147483647 h 544"/>
                <a:gd name="T52" fmla="*/ 2147483647 w 263"/>
                <a:gd name="T53" fmla="*/ 2147483647 h 544"/>
                <a:gd name="T54" fmla="*/ 2147483647 w 263"/>
                <a:gd name="T55" fmla="*/ 2147483647 h 544"/>
                <a:gd name="T56" fmla="*/ 2147483647 w 263"/>
                <a:gd name="T57" fmla="*/ 2147483647 h 544"/>
                <a:gd name="T58" fmla="*/ 2147483647 w 263"/>
                <a:gd name="T59" fmla="*/ 2147483647 h 544"/>
                <a:gd name="T60" fmla="*/ 2147483647 w 263"/>
                <a:gd name="T61" fmla="*/ 2147483647 h 544"/>
                <a:gd name="T62" fmla="*/ 2147483647 w 263"/>
                <a:gd name="T63" fmla="*/ 2147483647 h 544"/>
                <a:gd name="T64" fmla="*/ 2147483647 w 263"/>
                <a:gd name="T65" fmla="*/ 2147483647 h 544"/>
                <a:gd name="T66" fmla="*/ 2147483647 w 263"/>
                <a:gd name="T67" fmla="*/ 2147483647 h 544"/>
                <a:gd name="T68" fmla="*/ 0 w 263"/>
                <a:gd name="T69" fmla="*/ 2147483647 h 544"/>
                <a:gd name="T70" fmla="*/ 2147483647 w 263"/>
                <a:gd name="T71" fmla="*/ 2147483647 h 544"/>
                <a:gd name="T72" fmla="*/ 2147483647 w 263"/>
                <a:gd name="T73" fmla="*/ 2147483647 h 544"/>
                <a:gd name="T74" fmla="*/ 2147483647 w 263"/>
                <a:gd name="T75" fmla="*/ 2147483647 h 544"/>
                <a:gd name="T76" fmla="*/ 2147483647 w 263"/>
                <a:gd name="T77" fmla="*/ 2147483647 h 544"/>
                <a:gd name="T78" fmla="*/ 2147483647 w 263"/>
                <a:gd name="T79" fmla="*/ 2147483647 h 544"/>
                <a:gd name="T80" fmla="*/ 2147483647 w 263"/>
                <a:gd name="T81" fmla="*/ 2147483647 h 544"/>
                <a:gd name="T82" fmla="*/ 2147483647 w 263"/>
                <a:gd name="T83" fmla="*/ 2147483647 h 544"/>
                <a:gd name="T84" fmla="*/ 2147483647 w 263"/>
                <a:gd name="T85" fmla="*/ 2147483647 h 544"/>
                <a:gd name="T86" fmla="*/ 2147483647 w 263"/>
                <a:gd name="T87" fmla="*/ 2147483647 h 544"/>
                <a:gd name="T88" fmla="*/ 2147483647 w 263"/>
                <a:gd name="T89" fmla="*/ 2147483647 h 544"/>
                <a:gd name="T90" fmla="*/ 2147483647 w 263"/>
                <a:gd name="T91" fmla="*/ 2147483647 h 544"/>
                <a:gd name="T92" fmla="*/ 2147483647 w 263"/>
                <a:gd name="T93" fmla="*/ 2147483647 h 544"/>
                <a:gd name="T94" fmla="*/ 2147483647 w 263"/>
                <a:gd name="T95" fmla="*/ 2147483647 h 544"/>
                <a:gd name="T96" fmla="*/ 2147483647 w 263"/>
                <a:gd name="T97" fmla="*/ 2147483647 h 544"/>
                <a:gd name="T98" fmla="*/ 2147483647 w 263"/>
                <a:gd name="T99" fmla="*/ 2147483647 h 5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3"/>
                <a:gd name="T151" fmla="*/ 0 h 544"/>
                <a:gd name="T152" fmla="*/ 263 w 263"/>
                <a:gd name="T153" fmla="*/ 544 h 5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3" h="544">
                  <a:moveTo>
                    <a:pt x="101" y="39"/>
                  </a:moveTo>
                  <a:lnTo>
                    <a:pt x="134" y="0"/>
                  </a:lnTo>
                  <a:lnTo>
                    <a:pt x="139" y="24"/>
                  </a:lnTo>
                  <a:lnTo>
                    <a:pt x="185" y="28"/>
                  </a:lnTo>
                  <a:lnTo>
                    <a:pt x="216" y="28"/>
                  </a:lnTo>
                  <a:lnTo>
                    <a:pt x="236" y="25"/>
                  </a:lnTo>
                  <a:lnTo>
                    <a:pt x="263" y="52"/>
                  </a:lnTo>
                  <a:lnTo>
                    <a:pt x="258" y="77"/>
                  </a:lnTo>
                  <a:lnTo>
                    <a:pt x="239" y="97"/>
                  </a:lnTo>
                  <a:lnTo>
                    <a:pt x="218" y="107"/>
                  </a:lnTo>
                  <a:lnTo>
                    <a:pt x="206" y="125"/>
                  </a:lnTo>
                  <a:lnTo>
                    <a:pt x="210" y="180"/>
                  </a:lnTo>
                  <a:lnTo>
                    <a:pt x="198" y="207"/>
                  </a:lnTo>
                  <a:lnTo>
                    <a:pt x="196" y="239"/>
                  </a:lnTo>
                  <a:lnTo>
                    <a:pt x="168" y="252"/>
                  </a:lnTo>
                  <a:lnTo>
                    <a:pt x="166" y="285"/>
                  </a:lnTo>
                  <a:lnTo>
                    <a:pt x="186" y="300"/>
                  </a:lnTo>
                  <a:lnTo>
                    <a:pt x="158" y="336"/>
                  </a:lnTo>
                  <a:lnTo>
                    <a:pt x="179" y="357"/>
                  </a:lnTo>
                  <a:lnTo>
                    <a:pt x="198" y="391"/>
                  </a:lnTo>
                  <a:lnTo>
                    <a:pt x="180" y="421"/>
                  </a:lnTo>
                  <a:lnTo>
                    <a:pt x="165" y="450"/>
                  </a:lnTo>
                  <a:lnTo>
                    <a:pt x="158" y="480"/>
                  </a:lnTo>
                  <a:lnTo>
                    <a:pt x="164" y="508"/>
                  </a:lnTo>
                  <a:lnTo>
                    <a:pt x="135" y="525"/>
                  </a:lnTo>
                  <a:lnTo>
                    <a:pt x="102" y="543"/>
                  </a:lnTo>
                  <a:lnTo>
                    <a:pt x="68" y="544"/>
                  </a:lnTo>
                  <a:lnTo>
                    <a:pt x="56" y="508"/>
                  </a:lnTo>
                  <a:lnTo>
                    <a:pt x="53" y="484"/>
                  </a:lnTo>
                  <a:lnTo>
                    <a:pt x="59" y="456"/>
                  </a:lnTo>
                  <a:lnTo>
                    <a:pt x="60" y="430"/>
                  </a:lnTo>
                  <a:lnTo>
                    <a:pt x="41" y="416"/>
                  </a:lnTo>
                  <a:lnTo>
                    <a:pt x="9" y="411"/>
                  </a:lnTo>
                  <a:lnTo>
                    <a:pt x="3" y="390"/>
                  </a:lnTo>
                  <a:lnTo>
                    <a:pt x="0" y="363"/>
                  </a:lnTo>
                  <a:lnTo>
                    <a:pt x="21" y="339"/>
                  </a:lnTo>
                  <a:lnTo>
                    <a:pt x="36" y="323"/>
                  </a:lnTo>
                  <a:lnTo>
                    <a:pt x="42" y="300"/>
                  </a:lnTo>
                  <a:lnTo>
                    <a:pt x="51" y="283"/>
                  </a:lnTo>
                  <a:lnTo>
                    <a:pt x="56" y="262"/>
                  </a:lnTo>
                  <a:lnTo>
                    <a:pt x="63" y="240"/>
                  </a:lnTo>
                  <a:lnTo>
                    <a:pt x="68" y="223"/>
                  </a:lnTo>
                  <a:lnTo>
                    <a:pt x="71" y="193"/>
                  </a:lnTo>
                  <a:lnTo>
                    <a:pt x="66" y="163"/>
                  </a:lnTo>
                  <a:lnTo>
                    <a:pt x="60" y="144"/>
                  </a:lnTo>
                  <a:lnTo>
                    <a:pt x="71" y="127"/>
                  </a:lnTo>
                  <a:lnTo>
                    <a:pt x="68" y="109"/>
                  </a:lnTo>
                  <a:lnTo>
                    <a:pt x="59" y="87"/>
                  </a:lnTo>
                  <a:lnTo>
                    <a:pt x="56" y="63"/>
                  </a:lnTo>
                  <a:lnTo>
                    <a:pt x="101" y="3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6" name="Freeform 118">
              <a:extLst>
                <a:ext uri="{FF2B5EF4-FFF2-40B4-BE49-F238E27FC236}">
                  <a16:creationId xmlns:a16="http://schemas.microsoft.com/office/drawing/2014/main" id="{6C66D0B5-81B3-7957-7433-805FD1A54989}"/>
                </a:ext>
              </a:extLst>
            </p:cNvPr>
            <p:cNvSpPr>
              <a:spLocks/>
            </p:cNvSpPr>
            <p:nvPr/>
          </p:nvSpPr>
          <p:spPr bwMode="auto">
            <a:xfrm>
              <a:off x="5145462" y="2905595"/>
              <a:ext cx="493022" cy="209733"/>
            </a:xfrm>
            <a:custGeom>
              <a:avLst/>
              <a:gdLst>
                <a:gd name="T0" fmla="*/ 2147483647 w 1101"/>
                <a:gd name="T1" fmla="*/ 2147483647 h 456"/>
                <a:gd name="T2" fmla="*/ 2147483647 w 1101"/>
                <a:gd name="T3" fmla="*/ 2147483647 h 456"/>
                <a:gd name="T4" fmla="*/ 2147483647 w 1101"/>
                <a:gd name="T5" fmla="*/ 2147483647 h 456"/>
                <a:gd name="T6" fmla="*/ 2147483647 w 1101"/>
                <a:gd name="T7" fmla="*/ 2147483647 h 456"/>
                <a:gd name="T8" fmla="*/ 2147483647 w 1101"/>
                <a:gd name="T9" fmla="*/ 2147483647 h 456"/>
                <a:gd name="T10" fmla="*/ 2147483647 w 1101"/>
                <a:gd name="T11" fmla="*/ 2147483647 h 456"/>
                <a:gd name="T12" fmla="*/ 2147483647 w 1101"/>
                <a:gd name="T13" fmla="*/ 2147483647 h 456"/>
                <a:gd name="T14" fmla="*/ 2147483647 w 1101"/>
                <a:gd name="T15" fmla="*/ 2147483647 h 456"/>
                <a:gd name="T16" fmla="*/ 2147483647 w 1101"/>
                <a:gd name="T17" fmla="*/ 2147483647 h 456"/>
                <a:gd name="T18" fmla="*/ 2147483647 w 1101"/>
                <a:gd name="T19" fmla="*/ 2147483647 h 456"/>
                <a:gd name="T20" fmla="*/ 2147483647 w 1101"/>
                <a:gd name="T21" fmla="*/ 2147483647 h 456"/>
                <a:gd name="T22" fmla="*/ 2147483647 w 1101"/>
                <a:gd name="T23" fmla="*/ 2147483647 h 456"/>
                <a:gd name="T24" fmla="*/ 2147483647 w 1101"/>
                <a:gd name="T25" fmla="*/ 2147483647 h 456"/>
                <a:gd name="T26" fmla="*/ 2147483647 w 1101"/>
                <a:gd name="T27" fmla="*/ 2147483647 h 456"/>
                <a:gd name="T28" fmla="*/ 2147483647 w 1101"/>
                <a:gd name="T29" fmla="*/ 2147483647 h 456"/>
                <a:gd name="T30" fmla="*/ 2147483647 w 1101"/>
                <a:gd name="T31" fmla="*/ 2147483647 h 456"/>
                <a:gd name="T32" fmla="*/ 2147483647 w 1101"/>
                <a:gd name="T33" fmla="*/ 2147483647 h 456"/>
                <a:gd name="T34" fmla="*/ 2147483647 w 1101"/>
                <a:gd name="T35" fmla="*/ 2147483647 h 456"/>
                <a:gd name="T36" fmla="*/ 2147483647 w 1101"/>
                <a:gd name="T37" fmla="*/ 2147483647 h 456"/>
                <a:gd name="T38" fmla="*/ 2147483647 w 1101"/>
                <a:gd name="T39" fmla="*/ 2147483647 h 456"/>
                <a:gd name="T40" fmla="*/ 2147483647 w 1101"/>
                <a:gd name="T41" fmla="*/ 2147483647 h 456"/>
                <a:gd name="T42" fmla="*/ 2147483647 w 1101"/>
                <a:gd name="T43" fmla="*/ 2147483647 h 456"/>
                <a:gd name="T44" fmla="*/ 2147483647 w 1101"/>
                <a:gd name="T45" fmla="*/ 2147483647 h 456"/>
                <a:gd name="T46" fmla="*/ 2147483647 w 1101"/>
                <a:gd name="T47" fmla="*/ 2147483647 h 456"/>
                <a:gd name="T48" fmla="*/ 2147483647 w 1101"/>
                <a:gd name="T49" fmla="*/ 2147483647 h 456"/>
                <a:gd name="T50" fmla="*/ 2147483647 w 1101"/>
                <a:gd name="T51" fmla="*/ 2147483647 h 456"/>
                <a:gd name="T52" fmla="*/ 2147483647 w 1101"/>
                <a:gd name="T53" fmla="*/ 2147483647 h 456"/>
                <a:gd name="T54" fmla="*/ 2147483647 w 1101"/>
                <a:gd name="T55" fmla="*/ 2147483647 h 456"/>
                <a:gd name="T56" fmla="*/ 2147483647 w 1101"/>
                <a:gd name="T57" fmla="*/ 2147483647 h 456"/>
                <a:gd name="T58" fmla="*/ 2147483647 w 1101"/>
                <a:gd name="T59" fmla="*/ 2147483647 h 456"/>
                <a:gd name="T60" fmla="*/ 2147483647 w 1101"/>
                <a:gd name="T61" fmla="*/ 2147483647 h 456"/>
                <a:gd name="T62" fmla="*/ 2147483647 w 1101"/>
                <a:gd name="T63" fmla="*/ 2147483647 h 456"/>
                <a:gd name="T64" fmla="*/ 2147483647 w 1101"/>
                <a:gd name="T65" fmla="*/ 2147483647 h 456"/>
                <a:gd name="T66" fmla="*/ 2147483647 w 1101"/>
                <a:gd name="T67" fmla="*/ 2147483647 h 456"/>
                <a:gd name="T68" fmla="*/ 2147483647 w 1101"/>
                <a:gd name="T69" fmla="*/ 2147483647 h 456"/>
                <a:gd name="T70" fmla="*/ 2147483647 w 1101"/>
                <a:gd name="T71" fmla="*/ 2147483647 h 456"/>
                <a:gd name="T72" fmla="*/ 2147483647 w 1101"/>
                <a:gd name="T73" fmla="*/ 2147483647 h 456"/>
                <a:gd name="T74" fmla="*/ 2147483647 w 1101"/>
                <a:gd name="T75" fmla="*/ 2147483647 h 456"/>
                <a:gd name="T76" fmla="*/ 2147483647 w 1101"/>
                <a:gd name="T77" fmla="*/ 2147483647 h 456"/>
                <a:gd name="T78" fmla="*/ 2147483647 w 1101"/>
                <a:gd name="T79" fmla="*/ 2147483647 h 456"/>
                <a:gd name="T80" fmla="*/ 2147483647 w 1101"/>
                <a:gd name="T81" fmla="*/ 2147483647 h 456"/>
                <a:gd name="T82" fmla="*/ 2147483647 w 1101"/>
                <a:gd name="T83" fmla="*/ 2147483647 h 456"/>
                <a:gd name="T84" fmla="*/ 2147483647 w 1101"/>
                <a:gd name="T85" fmla="*/ 2147483647 h 456"/>
                <a:gd name="T86" fmla="*/ 2147483647 w 1101"/>
                <a:gd name="T87" fmla="*/ 2147483647 h 456"/>
                <a:gd name="T88" fmla="*/ 2147483647 w 1101"/>
                <a:gd name="T89" fmla="*/ 2147483647 h 456"/>
                <a:gd name="T90" fmla="*/ 2147483647 w 1101"/>
                <a:gd name="T91" fmla="*/ 2147483647 h 456"/>
                <a:gd name="T92" fmla="*/ 2147483647 w 1101"/>
                <a:gd name="T93" fmla="*/ 2147483647 h 456"/>
                <a:gd name="T94" fmla="*/ 0 w 1101"/>
                <a:gd name="T95" fmla="*/ 2147483647 h 456"/>
                <a:gd name="T96" fmla="*/ 2147483647 w 1101"/>
                <a:gd name="T97" fmla="*/ 2147483647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1"/>
                <a:gd name="T148" fmla="*/ 0 h 456"/>
                <a:gd name="T149" fmla="*/ 1101 w 1101"/>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1" h="456">
                  <a:moveTo>
                    <a:pt x="53" y="226"/>
                  </a:moveTo>
                  <a:lnTo>
                    <a:pt x="52" y="285"/>
                  </a:lnTo>
                  <a:lnTo>
                    <a:pt x="68" y="334"/>
                  </a:lnTo>
                  <a:lnTo>
                    <a:pt x="102" y="384"/>
                  </a:lnTo>
                  <a:lnTo>
                    <a:pt x="162" y="420"/>
                  </a:lnTo>
                  <a:lnTo>
                    <a:pt x="187" y="448"/>
                  </a:lnTo>
                  <a:lnTo>
                    <a:pt x="241" y="456"/>
                  </a:lnTo>
                  <a:lnTo>
                    <a:pt x="272" y="445"/>
                  </a:lnTo>
                  <a:lnTo>
                    <a:pt x="272" y="411"/>
                  </a:lnTo>
                  <a:lnTo>
                    <a:pt x="311" y="395"/>
                  </a:lnTo>
                  <a:lnTo>
                    <a:pt x="335" y="430"/>
                  </a:lnTo>
                  <a:lnTo>
                    <a:pt x="392" y="456"/>
                  </a:lnTo>
                  <a:lnTo>
                    <a:pt x="435" y="448"/>
                  </a:lnTo>
                  <a:lnTo>
                    <a:pt x="468" y="430"/>
                  </a:lnTo>
                  <a:lnTo>
                    <a:pt x="496" y="404"/>
                  </a:lnTo>
                  <a:lnTo>
                    <a:pt x="523" y="419"/>
                  </a:lnTo>
                  <a:lnTo>
                    <a:pt x="555" y="400"/>
                  </a:lnTo>
                  <a:lnTo>
                    <a:pt x="585" y="393"/>
                  </a:lnTo>
                  <a:lnTo>
                    <a:pt x="583" y="430"/>
                  </a:lnTo>
                  <a:lnTo>
                    <a:pt x="621" y="443"/>
                  </a:lnTo>
                  <a:lnTo>
                    <a:pt x="623" y="403"/>
                  </a:lnTo>
                  <a:lnTo>
                    <a:pt x="657" y="391"/>
                  </a:lnTo>
                  <a:lnTo>
                    <a:pt x="683" y="393"/>
                  </a:lnTo>
                  <a:lnTo>
                    <a:pt x="734" y="394"/>
                  </a:lnTo>
                  <a:lnTo>
                    <a:pt x="779" y="386"/>
                  </a:lnTo>
                  <a:lnTo>
                    <a:pt x="816" y="385"/>
                  </a:lnTo>
                  <a:lnTo>
                    <a:pt x="849" y="374"/>
                  </a:lnTo>
                  <a:lnTo>
                    <a:pt x="911" y="372"/>
                  </a:lnTo>
                  <a:lnTo>
                    <a:pt x="931" y="377"/>
                  </a:lnTo>
                  <a:lnTo>
                    <a:pt x="951" y="349"/>
                  </a:lnTo>
                  <a:lnTo>
                    <a:pt x="992" y="355"/>
                  </a:lnTo>
                  <a:lnTo>
                    <a:pt x="1032" y="366"/>
                  </a:lnTo>
                  <a:lnTo>
                    <a:pt x="1054" y="361"/>
                  </a:lnTo>
                  <a:lnTo>
                    <a:pt x="1080" y="372"/>
                  </a:lnTo>
                  <a:lnTo>
                    <a:pt x="1077" y="322"/>
                  </a:lnTo>
                  <a:lnTo>
                    <a:pt x="1054" y="269"/>
                  </a:lnTo>
                  <a:lnTo>
                    <a:pt x="1050" y="209"/>
                  </a:lnTo>
                  <a:lnTo>
                    <a:pt x="1072" y="192"/>
                  </a:lnTo>
                  <a:lnTo>
                    <a:pt x="1101" y="177"/>
                  </a:lnTo>
                  <a:lnTo>
                    <a:pt x="1087" y="168"/>
                  </a:lnTo>
                  <a:lnTo>
                    <a:pt x="1068" y="162"/>
                  </a:lnTo>
                  <a:lnTo>
                    <a:pt x="1050" y="164"/>
                  </a:lnTo>
                  <a:lnTo>
                    <a:pt x="1033" y="158"/>
                  </a:lnTo>
                  <a:lnTo>
                    <a:pt x="1027" y="146"/>
                  </a:lnTo>
                  <a:lnTo>
                    <a:pt x="1020" y="132"/>
                  </a:lnTo>
                  <a:lnTo>
                    <a:pt x="1027" y="125"/>
                  </a:lnTo>
                  <a:lnTo>
                    <a:pt x="1023" y="110"/>
                  </a:lnTo>
                  <a:lnTo>
                    <a:pt x="1014" y="104"/>
                  </a:lnTo>
                  <a:lnTo>
                    <a:pt x="1009" y="89"/>
                  </a:lnTo>
                  <a:lnTo>
                    <a:pt x="1000" y="59"/>
                  </a:lnTo>
                  <a:lnTo>
                    <a:pt x="958" y="33"/>
                  </a:lnTo>
                  <a:lnTo>
                    <a:pt x="927" y="38"/>
                  </a:lnTo>
                  <a:lnTo>
                    <a:pt x="897" y="28"/>
                  </a:lnTo>
                  <a:lnTo>
                    <a:pt x="873" y="59"/>
                  </a:lnTo>
                  <a:lnTo>
                    <a:pt x="849" y="88"/>
                  </a:lnTo>
                  <a:lnTo>
                    <a:pt x="808" y="90"/>
                  </a:lnTo>
                  <a:lnTo>
                    <a:pt x="789" y="75"/>
                  </a:lnTo>
                  <a:lnTo>
                    <a:pt x="753" y="72"/>
                  </a:lnTo>
                  <a:lnTo>
                    <a:pt x="729" y="90"/>
                  </a:lnTo>
                  <a:lnTo>
                    <a:pt x="674" y="78"/>
                  </a:lnTo>
                  <a:lnTo>
                    <a:pt x="632" y="78"/>
                  </a:lnTo>
                  <a:lnTo>
                    <a:pt x="594" y="56"/>
                  </a:lnTo>
                  <a:lnTo>
                    <a:pt x="556" y="41"/>
                  </a:lnTo>
                  <a:lnTo>
                    <a:pt x="520" y="3"/>
                  </a:lnTo>
                  <a:lnTo>
                    <a:pt x="460" y="0"/>
                  </a:lnTo>
                  <a:lnTo>
                    <a:pt x="418" y="9"/>
                  </a:lnTo>
                  <a:lnTo>
                    <a:pt x="385" y="25"/>
                  </a:lnTo>
                  <a:lnTo>
                    <a:pt x="364" y="43"/>
                  </a:lnTo>
                  <a:lnTo>
                    <a:pt x="339" y="51"/>
                  </a:lnTo>
                  <a:lnTo>
                    <a:pt x="298" y="69"/>
                  </a:lnTo>
                  <a:lnTo>
                    <a:pt x="261" y="81"/>
                  </a:lnTo>
                  <a:lnTo>
                    <a:pt x="208" y="69"/>
                  </a:lnTo>
                  <a:lnTo>
                    <a:pt x="198" y="96"/>
                  </a:lnTo>
                  <a:lnTo>
                    <a:pt x="180" y="122"/>
                  </a:lnTo>
                  <a:lnTo>
                    <a:pt x="160" y="154"/>
                  </a:lnTo>
                  <a:lnTo>
                    <a:pt x="110" y="147"/>
                  </a:lnTo>
                  <a:lnTo>
                    <a:pt x="67" y="140"/>
                  </a:lnTo>
                  <a:lnTo>
                    <a:pt x="71" y="115"/>
                  </a:lnTo>
                  <a:lnTo>
                    <a:pt x="110" y="96"/>
                  </a:lnTo>
                  <a:lnTo>
                    <a:pt x="145" y="96"/>
                  </a:lnTo>
                  <a:lnTo>
                    <a:pt x="173" y="84"/>
                  </a:lnTo>
                  <a:lnTo>
                    <a:pt x="160" y="62"/>
                  </a:lnTo>
                  <a:lnTo>
                    <a:pt x="131" y="47"/>
                  </a:lnTo>
                  <a:lnTo>
                    <a:pt x="116" y="13"/>
                  </a:lnTo>
                  <a:lnTo>
                    <a:pt x="99" y="23"/>
                  </a:lnTo>
                  <a:lnTo>
                    <a:pt x="82" y="7"/>
                  </a:lnTo>
                  <a:lnTo>
                    <a:pt x="61" y="5"/>
                  </a:lnTo>
                  <a:lnTo>
                    <a:pt x="22" y="24"/>
                  </a:lnTo>
                  <a:lnTo>
                    <a:pt x="42" y="59"/>
                  </a:lnTo>
                  <a:lnTo>
                    <a:pt x="23" y="69"/>
                  </a:lnTo>
                  <a:lnTo>
                    <a:pt x="16" y="84"/>
                  </a:lnTo>
                  <a:lnTo>
                    <a:pt x="25" y="101"/>
                  </a:lnTo>
                  <a:lnTo>
                    <a:pt x="35" y="122"/>
                  </a:lnTo>
                  <a:lnTo>
                    <a:pt x="53" y="136"/>
                  </a:lnTo>
                  <a:lnTo>
                    <a:pt x="28" y="154"/>
                  </a:lnTo>
                  <a:lnTo>
                    <a:pt x="0" y="178"/>
                  </a:lnTo>
                  <a:lnTo>
                    <a:pt x="18" y="203"/>
                  </a:lnTo>
                  <a:lnTo>
                    <a:pt x="53" y="22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7" name="Freeform 119">
              <a:extLst>
                <a:ext uri="{FF2B5EF4-FFF2-40B4-BE49-F238E27FC236}">
                  <a16:creationId xmlns:a16="http://schemas.microsoft.com/office/drawing/2014/main" id="{810A3EA8-426C-06B7-ABA2-2EE7F2B2ECC5}"/>
                </a:ext>
              </a:extLst>
            </p:cNvPr>
            <p:cNvSpPr>
              <a:spLocks/>
            </p:cNvSpPr>
            <p:nvPr/>
          </p:nvSpPr>
          <p:spPr bwMode="auto">
            <a:xfrm>
              <a:off x="5454722" y="3066928"/>
              <a:ext cx="268920" cy="260438"/>
            </a:xfrm>
            <a:custGeom>
              <a:avLst/>
              <a:gdLst>
                <a:gd name="T0" fmla="*/ 2147483647 w 600"/>
                <a:gd name="T1" fmla="*/ 0 h 565"/>
                <a:gd name="T2" fmla="*/ 2147483647 w 600"/>
                <a:gd name="T3" fmla="*/ 2147483647 h 565"/>
                <a:gd name="T4" fmla="*/ 2147483647 w 600"/>
                <a:gd name="T5" fmla="*/ 2147483647 h 565"/>
                <a:gd name="T6" fmla="*/ 2147483647 w 600"/>
                <a:gd name="T7" fmla="*/ 2147483647 h 565"/>
                <a:gd name="T8" fmla="*/ 2147483647 w 600"/>
                <a:gd name="T9" fmla="*/ 2147483647 h 565"/>
                <a:gd name="T10" fmla="*/ 2147483647 w 600"/>
                <a:gd name="T11" fmla="*/ 2147483647 h 565"/>
                <a:gd name="T12" fmla="*/ 2147483647 w 600"/>
                <a:gd name="T13" fmla="*/ 2147483647 h 565"/>
                <a:gd name="T14" fmla="*/ 2147483647 w 600"/>
                <a:gd name="T15" fmla="*/ 2147483647 h 565"/>
                <a:gd name="T16" fmla="*/ 2147483647 w 600"/>
                <a:gd name="T17" fmla="*/ 2147483647 h 565"/>
                <a:gd name="T18" fmla="*/ 2147483647 w 600"/>
                <a:gd name="T19" fmla="*/ 2147483647 h 565"/>
                <a:gd name="T20" fmla="*/ 2147483647 w 600"/>
                <a:gd name="T21" fmla="*/ 2147483647 h 565"/>
                <a:gd name="T22" fmla="*/ 2147483647 w 600"/>
                <a:gd name="T23" fmla="*/ 2147483647 h 565"/>
                <a:gd name="T24" fmla="*/ 0 w 600"/>
                <a:gd name="T25" fmla="*/ 2147483647 h 565"/>
                <a:gd name="T26" fmla="*/ 2147483647 w 600"/>
                <a:gd name="T27" fmla="*/ 2147483647 h 565"/>
                <a:gd name="T28" fmla="*/ 2147483647 w 600"/>
                <a:gd name="T29" fmla="*/ 2147483647 h 565"/>
                <a:gd name="T30" fmla="*/ 2147483647 w 600"/>
                <a:gd name="T31" fmla="*/ 2147483647 h 565"/>
                <a:gd name="T32" fmla="*/ 2147483647 w 600"/>
                <a:gd name="T33" fmla="*/ 2147483647 h 565"/>
                <a:gd name="T34" fmla="*/ 2147483647 w 600"/>
                <a:gd name="T35" fmla="*/ 2147483647 h 565"/>
                <a:gd name="T36" fmla="*/ 2147483647 w 600"/>
                <a:gd name="T37" fmla="*/ 2147483647 h 565"/>
                <a:gd name="T38" fmla="*/ 2147483647 w 600"/>
                <a:gd name="T39" fmla="*/ 2147483647 h 565"/>
                <a:gd name="T40" fmla="*/ 2147483647 w 600"/>
                <a:gd name="T41" fmla="*/ 2147483647 h 565"/>
                <a:gd name="T42" fmla="*/ 2147483647 w 600"/>
                <a:gd name="T43" fmla="*/ 2147483647 h 565"/>
                <a:gd name="T44" fmla="*/ 2147483647 w 600"/>
                <a:gd name="T45" fmla="*/ 2147483647 h 565"/>
                <a:gd name="T46" fmla="*/ 2147483647 w 600"/>
                <a:gd name="T47" fmla="*/ 2147483647 h 565"/>
                <a:gd name="T48" fmla="*/ 2147483647 w 600"/>
                <a:gd name="T49" fmla="*/ 2147483647 h 565"/>
                <a:gd name="T50" fmla="*/ 2147483647 w 600"/>
                <a:gd name="T51" fmla="*/ 2147483647 h 565"/>
                <a:gd name="T52" fmla="*/ 2147483647 w 600"/>
                <a:gd name="T53" fmla="*/ 2147483647 h 565"/>
                <a:gd name="T54" fmla="*/ 2147483647 w 600"/>
                <a:gd name="T55" fmla="*/ 2147483647 h 565"/>
                <a:gd name="T56" fmla="*/ 2147483647 w 600"/>
                <a:gd name="T57" fmla="*/ 2147483647 h 565"/>
                <a:gd name="T58" fmla="*/ 2147483647 w 600"/>
                <a:gd name="T59" fmla="*/ 2147483647 h 565"/>
                <a:gd name="T60" fmla="*/ 2147483647 w 600"/>
                <a:gd name="T61" fmla="*/ 2147483647 h 565"/>
                <a:gd name="T62" fmla="*/ 2147483647 w 600"/>
                <a:gd name="T63" fmla="*/ 2147483647 h 565"/>
                <a:gd name="T64" fmla="*/ 2147483647 w 600"/>
                <a:gd name="T65" fmla="*/ 2147483647 h 565"/>
                <a:gd name="T66" fmla="*/ 2147483647 w 600"/>
                <a:gd name="T67" fmla="*/ 2147483647 h 565"/>
                <a:gd name="T68" fmla="*/ 2147483647 w 600"/>
                <a:gd name="T69" fmla="*/ 2147483647 h 565"/>
                <a:gd name="T70" fmla="*/ 2147483647 w 600"/>
                <a:gd name="T71" fmla="*/ 2147483647 h 565"/>
                <a:gd name="T72" fmla="*/ 2147483647 w 600"/>
                <a:gd name="T73" fmla="*/ 2147483647 h 565"/>
                <a:gd name="T74" fmla="*/ 2147483647 w 600"/>
                <a:gd name="T75" fmla="*/ 2147483647 h 565"/>
                <a:gd name="T76" fmla="*/ 2147483647 w 600"/>
                <a:gd name="T77" fmla="*/ 2147483647 h 565"/>
                <a:gd name="T78" fmla="*/ 2147483647 w 600"/>
                <a:gd name="T79" fmla="*/ 2147483647 h 565"/>
                <a:gd name="T80" fmla="*/ 2147483647 w 600"/>
                <a:gd name="T81" fmla="*/ 2147483647 h 565"/>
                <a:gd name="T82" fmla="*/ 2147483647 w 600"/>
                <a:gd name="T83" fmla="*/ 2147483647 h 565"/>
                <a:gd name="T84" fmla="*/ 2147483647 w 600"/>
                <a:gd name="T85" fmla="*/ 2147483647 h 565"/>
                <a:gd name="T86" fmla="*/ 2147483647 w 600"/>
                <a:gd name="T87" fmla="*/ 2147483647 h 565"/>
                <a:gd name="T88" fmla="*/ 2147483647 w 600"/>
                <a:gd name="T89" fmla="*/ 2147483647 h 565"/>
                <a:gd name="T90" fmla="*/ 2147483647 w 600"/>
                <a:gd name="T91" fmla="*/ 2147483647 h 565"/>
                <a:gd name="T92" fmla="*/ 2147483647 w 600"/>
                <a:gd name="T93" fmla="*/ 2147483647 h 565"/>
                <a:gd name="T94" fmla="*/ 2147483647 w 600"/>
                <a:gd name="T95" fmla="*/ 2147483647 h 565"/>
                <a:gd name="T96" fmla="*/ 2147483647 w 600"/>
                <a:gd name="T97" fmla="*/ 2147483647 h 565"/>
                <a:gd name="T98" fmla="*/ 2147483647 w 600"/>
                <a:gd name="T99" fmla="*/ 2147483647 h 565"/>
                <a:gd name="T100" fmla="*/ 2147483647 w 600"/>
                <a:gd name="T101" fmla="*/ 2147483647 h 565"/>
                <a:gd name="T102" fmla="*/ 2147483647 w 600"/>
                <a:gd name="T103" fmla="*/ 2147483647 h 565"/>
                <a:gd name="T104" fmla="*/ 2147483647 w 600"/>
                <a:gd name="T105" fmla="*/ 2147483647 h 565"/>
                <a:gd name="T106" fmla="*/ 2147483647 w 600"/>
                <a:gd name="T107" fmla="*/ 0 h 565"/>
                <a:gd name="T108" fmla="*/ 2147483647 w 600"/>
                <a:gd name="T109" fmla="*/ 0 h 5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00"/>
                <a:gd name="T166" fmla="*/ 0 h 565"/>
                <a:gd name="T167" fmla="*/ 600 w 600"/>
                <a:gd name="T168" fmla="*/ 565 h 5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00" h="565">
                  <a:moveTo>
                    <a:pt x="260" y="0"/>
                  </a:moveTo>
                  <a:lnTo>
                    <a:pt x="243" y="26"/>
                  </a:lnTo>
                  <a:lnTo>
                    <a:pt x="218" y="44"/>
                  </a:lnTo>
                  <a:lnTo>
                    <a:pt x="202" y="58"/>
                  </a:lnTo>
                  <a:lnTo>
                    <a:pt x="190" y="106"/>
                  </a:lnTo>
                  <a:lnTo>
                    <a:pt x="168" y="135"/>
                  </a:lnTo>
                  <a:lnTo>
                    <a:pt x="183" y="164"/>
                  </a:lnTo>
                  <a:lnTo>
                    <a:pt x="189" y="202"/>
                  </a:lnTo>
                  <a:lnTo>
                    <a:pt x="146" y="206"/>
                  </a:lnTo>
                  <a:lnTo>
                    <a:pt x="114" y="225"/>
                  </a:lnTo>
                  <a:lnTo>
                    <a:pt x="71" y="243"/>
                  </a:lnTo>
                  <a:lnTo>
                    <a:pt x="21" y="279"/>
                  </a:lnTo>
                  <a:lnTo>
                    <a:pt x="0" y="314"/>
                  </a:lnTo>
                  <a:lnTo>
                    <a:pt x="15" y="348"/>
                  </a:lnTo>
                  <a:lnTo>
                    <a:pt x="21" y="379"/>
                  </a:lnTo>
                  <a:lnTo>
                    <a:pt x="49" y="367"/>
                  </a:lnTo>
                  <a:lnTo>
                    <a:pt x="95" y="371"/>
                  </a:lnTo>
                  <a:lnTo>
                    <a:pt x="143" y="395"/>
                  </a:lnTo>
                  <a:lnTo>
                    <a:pt x="190" y="423"/>
                  </a:lnTo>
                  <a:lnTo>
                    <a:pt x="254" y="453"/>
                  </a:lnTo>
                  <a:lnTo>
                    <a:pt x="283" y="472"/>
                  </a:lnTo>
                  <a:lnTo>
                    <a:pt x="310" y="500"/>
                  </a:lnTo>
                  <a:lnTo>
                    <a:pt x="335" y="529"/>
                  </a:lnTo>
                  <a:lnTo>
                    <a:pt x="378" y="551"/>
                  </a:lnTo>
                  <a:lnTo>
                    <a:pt x="411" y="564"/>
                  </a:lnTo>
                  <a:lnTo>
                    <a:pt x="462" y="557"/>
                  </a:lnTo>
                  <a:lnTo>
                    <a:pt x="498" y="565"/>
                  </a:lnTo>
                  <a:lnTo>
                    <a:pt x="507" y="508"/>
                  </a:lnTo>
                  <a:lnTo>
                    <a:pt x="545" y="515"/>
                  </a:lnTo>
                  <a:lnTo>
                    <a:pt x="573" y="516"/>
                  </a:lnTo>
                  <a:lnTo>
                    <a:pt x="600" y="503"/>
                  </a:lnTo>
                  <a:lnTo>
                    <a:pt x="597" y="465"/>
                  </a:lnTo>
                  <a:lnTo>
                    <a:pt x="583" y="428"/>
                  </a:lnTo>
                  <a:lnTo>
                    <a:pt x="596" y="397"/>
                  </a:lnTo>
                  <a:lnTo>
                    <a:pt x="590" y="356"/>
                  </a:lnTo>
                  <a:lnTo>
                    <a:pt x="569" y="348"/>
                  </a:lnTo>
                  <a:lnTo>
                    <a:pt x="540" y="331"/>
                  </a:lnTo>
                  <a:lnTo>
                    <a:pt x="510" y="308"/>
                  </a:lnTo>
                  <a:lnTo>
                    <a:pt x="499" y="293"/>
                  </a:lnTo>
                  <a:lnTo>
                    <a:pt x="489" y="272"/>
                  </a:lnTo>
                  <a:lnTo>
                    <a:pt x="480" y="241"/>
                  </a:lnTo>
                  <a:lnTo>
                    <a:pt x="478" y="220"/>
                  </a:lnTo>
                  <a:lnTo>
                    <a:pt x="483" y="202"/>
                  </a:lnTo>
                  <a:lnTo>
                    <a:pt x="466" y="170"/>
                  </a:lnTo>
                  <a:lnTo>
                    <a:pt x="495" y="116"/>
                  </a:lnTo>
                  <a:lnTo>
                    <a:pt x="466" y="110"/>
                  </a:lnTo>
                  <a:lnTo>
                    <a:pt x="435" y="108"/>
                  </a:lnTo>
                  <a:lnTo>
                    <a:pt x="419" y="85"/>
                  </a:lnTo>
                  <a:lnTo>
                    <a:pt x="407" y="59"/>
                  </a:lnTo>
                  <a:lnTo>
                    <a:pt x="401" y="39"/>
                  </a:lnTo>
                  <a:lnTo>
                    <a:pt x="391" y="19"/>
                  </a:lnTo>
                  <a:lnTo>
                    <a:pt x="368" y="11"/>
                  </a:lnTo>
                  <a:lnTo>
                    <a:pt x="346" y="13"/>
                  </a:lnTo>
                  <a:lnTo>
                    <a:pt x="289" y="0"/>
                  </a:lnTo>
                  <a:lnTo>
                    <a:pt x="260"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8" name="Freeform 120">
              <a:extLst>
                <a:ext uri="{FF2B5EF4-FFF2-40B4-BE49-F238E27FC236}">
                  <a16:creationId xmlns:a16="http://schemas.microsoft.com/office/drawing/2014/main" id="{30590FAA-1B95-D6EE-FACB-624CD55E5B22}"/>
                </a:ext>
              </a:extLst>
            </p:cNvPr>
            <p:cNvSpPr>
              <a:spLocks/>
            </p:cNvSpPr>
            <p:nvPr/>
          </p:nvSpPr>
          <p:spPr bwMode="auto">
            <a:xfrm>
              <a:off x="5519711" y="2864110"/>
              <a:ext cx="159113" cy="82972"/>
            </a:xfrm>
            <a:custGeom>
              <a:avLst/>
              <a:gdLst>
                <a:gd name="T0" fmla="*/ 2147483647 w 355"/>
                <a:gd name="T1" fmla="*/ 2147483647 h 179"/>
                <a:gd name="T2" fmla="*/ 2147483647 w 355"/>
                <a:gd name="T3" fmla="*/ 2147483647 h 179"/>
                <a:gd name="T4" fmla="*/ 2147483647 w 355"/>
                <a:gd name="T5" fmla="*/ 2147483647 h 179"/>
                <a:gd name="T6" fmla="*/ 2147483647 w 355"/>
                <a:gd name="T7" fmla="*/ 2147483647 h 179"/>
                <a:gd name="T8" fmla="*/ 2147483647 w 355"/>
                <a:gd name="T9" fmla="*/ 2147483647 h 179"/>
                <a:gd name="T10" fmla="*/ 2147483647 w 355"/>
                <a:gd name="T11" fmla="*/ 2147483647 h 179"/>
                <a:gd name="T12" fmla="*/ 2147483647 w 355"/>
                <a:gd name="T13" fmla="*/ 2147483647 h 179"/>
                <a:gd name="T14" fmla="*/ 2147483647 w 355"/>
                <a:gd name="T15" fmla="*/ 2147483647 h 179"/>
                <a:gd name="T16" fmla="*/ 2147483647 w 355"/>
                <a:gd name="T17" fmla="*/ 2147483647 h 179"/>
                <a:gd name="T18" fmla="*/ 2147483647 w 355"/>
                <a:gd name="T19" fmla="*/ 2147483647 h 179"/>
                <a:gd name="T20" fmla="*/ 2147483647 w 355"/>
                <a:gd name="T21" fmla="*/ 2147483647 h 179"/>
                <a:gd name="T22" fmla="*/ 2147483647 w 355"/>
                <a:gd name="T23" fmla="*/ 2147483647 h 179"/>
                <a:gd name="T24" fmla="*/ 2147483647 w 355"/>
                <a:gd name="T25" fmla="*/ 2147483647 h 179"/>
                <a:gd name="T26" fmla="*/ 2147483647 w 355"/>
                <a:gd name="T27" fmla="*/ 2147483647 h 179"/>
                <a:gd name="T28" fmla="*/ 2147483647 w 355"/>
                <a:gd name="T29" fmla="*/ 2147483647 h 179"/>
                <a:gd name="T30" fmla="*/ 2147483647 w 355"/>
                <a:gd name="T31" fmla="*/ 2147483647 h 179"/>
                <a:gd name="T32" fmla="*/ 2147483647 w 355"/>
                <a:gd name="T33" fmla="*/ 2147483647 h 179"/>
                <a:gd name="T34" fmla="*/ 2147483647 w 355"/>
                <a:gd name="T35" fmla="*/ 2147483647 h 179"/>
                <a:gd name="T36" fmla="*/ 0 w 355"/>
                <a:gd name="T37" fmla="*/ 0 h 179"/>
                <a:gd name="T38" fmla="*/ 2147483647 w 355"/>
                <a:gd name="T39" fmla="*/ 2147483647 h 179"/>
                <a:gd name="T40" fmla="*/ 2147483647 w 355"/>
                <a:gd name="T41" fmla="*/ 2147483647 h 179"/>
                <a:gd name="T42" fmla="*/ 2147483647 w 355"/>
                <a:gd name="T43" fmla="*/ 2147483647 h 179"/>
                <a:gd name="T44" fmla="*/ 2147483647 w 355"/>
                <a:gd name="T45" fmla="*/ 2147483647 h 179"/>
                <a:gd name="T46" fmla="*/ 2147483647 w 355"/>
                <a:gd name="T47" fmla="*/ 2147483647 h 179"/>
                <a:gd name="T48" fmla="*/ 2147483647 w 355"/>
                <a:gd name="T49" fmla="*/ 2147483647 h 179"/>
                <a:gd name="T50" fmla="*/ 2147483647 w 355"/>
                <a:gd name="T51" fmla="*/ 2147483647 h 179"/>
                <a:gd name="T52" fmla="*/ 2147483647 w 355"/>
                <a:gd name="T53" fmla="*/ 2147483647 h 17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55"/>
                <a:gd name="T82" fmla="*/ 0 h 179"/>
                <a:gd name="T83" fmla="*/ 355 w 355"/>
                <a:gd name="T84" fmla="*/ 179 h 17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55" h="179">
                  <a:moveTo>
                    <a:pt x="355" y="135"/>
                  </a:moveTo>
                  <a:lnTo>
                    <a:pt x="324" y="149"/>
                  </a:lnTo>
                  <a:lnTo>
                    <a:pt x="294" y="158"/>
                  </a:lnTo>
                  <a:lnTo>
                    <a:pt x="276" y="170"/>
                  </a:lnTo>
                  <a:lnTo>
                    <a:pt x="270" y="161"/>
                  </a:lnTo>
                  <a:lnTo>
                    <a:pt x="257" y="161"/>
                  </a:lnTo>
                  <a:lnTo>
                    <a:pt x="254" y="170"/>
                  </a:lnTo>
                  <a:lnTo>
                    <a:pt x="221" y="167"/>
                  </a:lnTo>
                  <a:lnTo>
                    <a:pt x="189" y="176"/>
                  </a:lnTo>
                  <a:lnTo>
                    <a:pt x="176" y="179"/>
                  </a:lnTo>
                  <a:lnTo>
                    <a:pt x="164" y="148"/>
                  </a:lnTo>
                  <a:lnTo>
                    <a:pt x="121" y="121"/>
                  </a:lnTo>
                  <a:lnTo>
                    <a:pt x="89" y="128"/>
                  </a:lnTo>
                  <a:lnTo>
                    <a:pt x="64" y="118"/>
                  </a:lnTo>
                  <a:lnTo>
                    <a:pt x="70" y="82"/>
                  </a:lnTo>
                  <a:lnTo>
                    <a:pt x="67" y="57"/>
                  </a:lnTo>
                  <a:lnTo>
                    <a:pt x="42" y="32"/>
                  </a:lnTo>
                  <a:lnTo>
                    <a:pt x="8" y="19"/>
                  </a:lnTo>
                  <a:lnTo>
                    <a:pt x="0" y="0"/>
                  </a:lnTo>
                  <a:lnTo>
                    <a:pt x="49" y="7"/>
                  </a:lnTo>
                  <a:lnTo>
                    <a:pt x="84" y="12"/>
                  </a:lnTo>
                  <a:lnTo>
                    <a:pt x="138" y="4"/>
                  </a:lnTo>
                  <a:lnTo>
                    <a:pt x="178" y="55"/>
                  </a:lnTo>
                  <a:lnTo>
                    <a:pt x="245" y="49"/>
                  </a:lnTo>
                  <a:lnTo>
                    <a:pt x="305" y="77"/>
                  </a:lnTo>
                  <a:lnTo>
                    <a:pt x="324" y="100"/>
                  </a:lnTo>
                  <a:lnTo>
                    <a:pt x="355" y="13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29" name="Freeform 121">
              <a:extLst>
                <a:ext uri="{FF2B5EF4-FFF2-40B4-BE49-F238E27FC236}">
                  <a16:creationId xmlns:a16="http://schemas.microsoft.com/office/drawing/2014/main" id="{838A7016-2ADE-D5C9-9FFD-5DEBD8C7601D}"/>
                </a:ext>
              </a:extLst>
            </p:cNvPr>
            <p:cNvSpPr>
              <a:spLocks/>
            </p:cNvSpPr>
            <p:nvPr/>
          </p:nvSpPr>
          <p:spPr bwMode="auto">
            <a:xfrm>
              <a:off x="5642967" y="2919423"/>
              <a:ext cx="116533" cy="108323"/>
            </a:xfrm>
            <a:custGeom>
              <a:avLst/>
              <a:gdLst>
                <a:gd name="T0" fmla="*/ 2147483647 w 260"/>
                <a:gd name="T1" fmla="*/ 2147483647 h 236"/>
                <a:gd name="T2" fmla="*/ 2147483647 w 260"/>
                <a:gd name="T3" fmla="*/ 0 h 236"/>
                <a:gd name="T4" fmla="*/ 2147483647 w 260"/>
                <a:gd name="T5" fmla="*/ 2147483647 h 236"/>
                <a:gd name="T6" fmla="*/ 2147483647 w 260"/>
                <a:gd name="T7" fmla="*/ 2147483647 h 236"/>
                <a:gd name="T8" fmla="*/ 2147483647 w 260"/>
                <a:gd name="T9" fmla="*/ 2147483647 h 236"/>
                <a:gd name="T10" fmla="*/ 2147483647 w 260"/>
                <a:gd name="T11" fmla="*/ 2147483647 h 236"/>
                <a:gd name="T12" fmla="*/ 2147483647 w 260"/>
                <a:gd name="T13" fmla="*/ 2147483647 h 236"/>
                <a:gd name="T14" fmla="*/ 2147483647 w 260"/>
                <a:gd name="T15" fmla="*/ 2147483647 h 236"/>
                <a:gd name="T16" fmla="*/ 2147483647 w 260"/>
                <a:gd name="T17" fmla="*/ 2147483647 h 236"/>
                <a:gd name="T18" fmla="*/ 2147483647 w 260"/>
                <a:gd name="T19" fmla="*/ 2147483647 h 236"/>
                <a:gd name="T20" fmla="*/ 2147483647 w 260"/>
                <a:gd name="T21" fmla="*/ 2147483647 h 236"/>
                <a:gd name="T22" fmla="*/ 2147483647 w 260"/>
                <a:gd name="T23" fmla="*/ 2147483647 h 236"/>
                <a:gd name="T24" fmla="*/ 2147483647 w 260"/>
                <a:gd name="T25" fmla="*/ 2147483647 h 236"/>
                <a:gd name="T26" fmla="*/ 2147483647 w 260"/>
                <a:gd name="T27" fmla="*/ 2147483647 h 236"/>
                <a:gd name="T28" fmla="*/ 2147483647 w 260"/>
                <a:gd name="T29" fmla="*/ 2147483647 h 236"/>
                <a:gd name="T30" fmla="*/ 2147483647 w 260"/>
                <a:gd name="T31" fmla="*/ 2147483647 h 236"/>
                <a:gd name="T32" fmla="*/ 2147483647 w 260"/>
                <a:gd name="T33" fmla="*/ 2147483647 h 236"/>
                <a:gd name="T34" fmla="*/ 2147483647 w 260"/>
                <a:gd name="T35" fmla="*/ 2147483647 h 236"/>
                <a:gd name="T36" fmla="*/ 2147483647 w 260"/>
                <a:gd name="T37" fmla="*/ 2147483647 h 236"/>
                <a:gd name="T38" fmla="*/ 2147483647 w 260"/>
                <a:gd name="T39" fmla="*/ 2147483647 h 236"/>
                <a:gd name="T40" fmla="*/ 2147483647 w 260"/>
                <a:gd name="T41" fmla="*/ 2147483647 h 236"/>
                <a:gd name="T42" fmla="*/ 2147483647 w 260"/>
                <a:gd name="T43" fmla="*/ 2147483647 h 236"/>
                <a:gd name="T44" fmla="*/ 2147483647 w 260"/>
                <a:gd name="T45" fmla="*/ 2147483647 h 236"/>
                <a:gd name="T46" fmla="*/ 2147483647 w 260"/>
                <a:gd name="T47" fmla="*/ 2147483647 h 236"/>
                <a:gd name="T48" fmla="*/ 2147483647 w 260"/>
                <a:gd name="T49" fmla="*/ 2147483647 h 236"/>
                <a:gd name="T50" fmla="*/ 2147483647 w 260"/>
                <a:gd name="T51" fmla="*/ 2147483647 h 236"/>
                <a:gd name="T52" fmla="*/ 2147483647 w 260"/>
                <a:gd name="T53" fmla="*/ 2147483647 h 236"/>
                <a:gd name="T54" fmla="*/ 2147483647 w 260"/>
                <a:gd name="T55" fmla="*/ 2147483647 h 236"/>
                <a:gd name="T56" fmla="*/ 2147483647 w 260"/>
                <a:gd name="T57" fmla="*/ 2147483647 h 236"/>
                <a:gd name="T58" fmla="*/ 0 w 260"/>
                <a:gd name="T59" fmla="*/ 2147483647 h 236"/>
                <a:gd name="T60" fmla="*/ 2147483647 w 260"/>
                <a:gd name="T61" fmla="*/ 2147483647 h 236"/>
                <a:gd name="T62" fmla="*/ 2147483647 w 260"/>
                <a:gd name="T63" fmla="*/ 2147483647 h 236"/>
                <a:gd name="T64" fmla="*/ 2147483647 w 260"/>
                <a:gd name="T65" fmla="*/ 2147483647 h 236"/>
                <a:gd name="T66" fmla="*/ 2147483647 w 260"/>
                <a:gd name="T67" fmla="*/ 2147483647 h 2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36"/>
                <a:gd name="T104" fmla="*/ 260 w 260"/>
                <a:gd name="T105" fmla="*/ 236 h 2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36">
                  <a:moveTo>
                    <a:pt x="124" y="43"/>
                  </a:moveTo>
                  <a:lnTo>
                    <a:pt x="184" y="0"/>
                  </a:lnTo>
                  <a:lnTo>
                    <a:pt x="209" y="13"/>
                  </a:lnTo>
                  <a:lnTo>
                    <a:pt x="229" y="45"/>
                  </a:lnTo>
                  <a:lnTo>
                    <a:pt x="248" y="72"/>
                  </a:lnTo>
                  <a:lnTo>
                    <a:pt x="260" y="96"/>
                  </a:lnTo>
                  <a:lnTo>
                    <a:pt x="238" y="134"/>
                  </a:lnTo>
                  <a:lnTo>
                    <a:pt x="227" y="165"/>
                  </a:lnTo>
                  <a:lnTo>
                    <a:pt x="206" y="198"/>
                  </a:lnTo>
                  <a:lnTo>
                    <a:pt x="193" y="236"/>
                  </a:lnTo>
                  <a:lnTo>
                    <a:pt x="183" y="224"/>
                  </a:lnTo>
                  <a:lnTo>
                    <a:pt x="163" y="212"/>
                  </a:lnTo>
                  <a:lnTo>
                    <a:pt x="144" y="163"/>
                  </a:lnTo>
                  <a:lnTo>
                    <a:pt x="128" y="173"/>
                  </a:lnTo>
                  <a:lnTo>
                    <a:pt x="108" y="188"/>
                  </a:lnTo>
                  <a:lnTo>
                    <a:pt x="103" y="174"/>
                  </a:lnTo>
                  <a:lnTo>
                    <a:pt x="105" y="164"/>
                  </a:lnTo>
                  <a:lnTo>
                    <a:pt x="96" y="158"/>
                  </a:lnTo>
                  <a:lnTo>
                    <a:pt x="103" y="144"/>
                  </a:lnTo>
                  <a:lnTo>
                    <a:pt x="85" y="144"/>
                  </a:lnTo>
                  <a:lnTo>
                    <a:pt x="76" y="137"/>
                  </a:lnTo>
                  <a:lnTo>
                    <a:pt x="51" y="128"/>
                  </a:lnTo>
                  <a:lnTo>
                    <a:pt x="45" y="117"/>
                  </a:lnTo>
                  <a:lnTo>
                    <a:pt x="61" y="113"/>
                  </a:lnTo>
                  <a:lnTo>
                    <a:pt x="54" y="101"/>
                  </a:lnTo>
                  <a:lnTo>
                    <a:pt x="40" y="99"/>
                  </a:lnTo>
                  <a:lnTo>
                    <a:pt x="19" y="81"/>
                  </a:lnTo>
                  <a:lnTo>
                    <a:pt x="28" y="65"/>
                  </a:lnTo>
                  <a:lnTo>
                    <a:pt x="15" y="57"/>
                  </a:lnTo>
                  <a:lnTo>
                    <a:pt x="0" y="53"/>
                  </a:lnTo>
                  <a:lnTo>
                    <a:pt x="18" y="36"/>
                  </a:lnTo>
                  <a:lnTo>
                    <a:pt x="54" y="27"/>
                  </a:lnTo>
                  <a:lnTo>
                    <a:pt x="79" y="16"/>
                  </a:lnTo>
                  <a:lnTo>
                    <a:pt x="124" y="4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0" name="Freeform 122">
              <a:extLst>
                <a:ext uri="{FF2B5EF4-FFF2-40B4-BE49-F238E27FC236}">
                  <a16:creationId xmlns:a16="http://schemas.microsoft.com/office/drawing/2014/main" id="{9A8EF693-C6A8-5327-FFA8-2B7E74A965B3}"/>
                </a:ext>
              </a:extLst>
            </p:cNvPr>
            <p:cNvSpPr>
              <a:spLocks/>
            </p:cNvSpPr>
            <p:nvPr/>
          </p:nvSpPr>
          <p:spPr bwMode="auto">
            <a:xfrm>
              <a:off x="5403178" y="3073841"/>
              <a:ext cx="163594" cy="149810"/>
            </a:xfrm>
            <a:custGeom>
              <a:avLst/>
              <a:gdLst>
                <a:gd name="T0" fmla="*/ 0 w 364"/>
                <a:gd name="T1" fmla="*/ 2147483647 h 326"/>
                <a:gd name="T2" fmla="*/ 0 w 364"/>
                <a:gd name="T3" fmla="*/ 2147483647 h 326"/>
                <a:gd name="T4" fmla="*/ 2147483647 w 364"/>
                <a:gd name="T5" fmla="*/ 2147483647 h 326"/>
                <a:gd name="T6" fmla="*/ 2147483647 w 364"/>
                <a:gd name="T7" fmla="*/ 2147483647 h 326"/>
                <a:gd name="T8" fmla="*/ 2147483647 w 364"/>
                <a:gd name="T9" fmla="*/ 2147483647 h 326"/>
                <a:gd name="T10" fmla="*/ 2147483647 w 364"/>
                <a:gd name="T11" fmla="*/ 2147483647 h 326"/>
                <a:gd name="T12" fmla="*/ 2147483647 w 364"/>
                <a:gd name="T13" fmla="*/ 2147483647 h 326"/>
                <a:gd name="T14" fmla="*/ 0 w 364"/>
                <a:gd name="T15" fmla="*/ 2147483647 h 326"/>
                <a:gd name="T16" fmla="*/ 2147483647 w 364"/>
                <a:gd name="T17" fmla="*/ 2147483647 h 326"/>
                <a:gd name="T18" fmla="*/ 2147483647 w 364"/>
                <a:gd name="T19" fmla="*/ 2147483647 h 326"/>
                <a:gd name="T20" fmla="*/ 2147483647 w 364"/>
                <a:gd name="T21" fmla="*/ 2147483647 h 326"/>
                <a:gd name="T22" fmla="*/ 2147483647 w 364"/>
                <a:gd name="T23" fmla="*/ 2147483647 h 326"/>
                <a:gd name="T24" fmla="*/ 2147483647 w 364"/>
                <a:gd name="T25" fmla="*/ 2147483647 h 326"/>
                <a:gd name="T26" fmla="*/ 2147483647 w 364"/>
                <a:gd name="T27" fmla="*/ 2147483647 h 326"/>
                <a:gd name="T28" fmla="*/ 2147483647 w 364"/>
                <a:gd name="T29" fmla="*/ 2147483647 h 326"/>
                <a:gd name="T30" fmla="*/ 2147483647 w 364"/>
                <a:gd name="T31" fmla="*/ 2147483647 h 326"/>
                <a:gd name="T32" fmla="*/ 2147483647 w 364"/>
                <a:gd name="T33" fmla="*/ 2147483647 h 326"/>
                <a:gd name="T34" fmla="*/ 2147483647 w 364"/>
                <a:gd name="T35" fmla="*/ 2147483647 h 326"/>
                <a:gd name="T36" fmla="*/ 2147483647 w 364"/>
                <a:gd name="T37" fmla="*/ 2147483647 h 326"/>
                <a:gd name="T38" fmla="*/ 2147483647 w 364"/>
                <a:gd name="T39" fmla="*/ 2147483647 h 326"/>
                <a:gd name="T40" fmla="*/ 2147483647 w 364"/>
                <a:gd name="T41" fmla="*/ 2147483647 h 326"/>
                <a:gd name="T42" fmla="*/ 2147483647 w 364"/>
                <a:gd name="T43" fmla="*/ 2147483647 h 326"/>
                <a:gd name="T44" fmla="*/ 2147483647 w 364"/>
                <a:gd name="T45" fmla="*/ 2147483647 h 326"/>
                <a:gd name="T46" fmla="*/ 2147483647 w 364"/>
                <a:gd name="T47" fmla="*/ 0 h 326"/>
                <a:gd name="T48" fmla="*/ 2147483647 w 364"/>
                <a:gd name="T49" fmla="*/ 2147483647 h 326"/>
                <a:gd name="T50" fmla="*/ 2147483647 w 364"/>
                <a:gd name="T51" fmla="*/ 2147483647 h 326"/>
                <a:gd name="T52" fmla="*/ 2147483647 w 364"/>
                <a:gd name="T53" fmla="*/ 2147483647 h 326"/>
                <a:gd name="T54" fmla="*/ 2147483647 w 364"/>
                <a:gd name="T55" fmla="*/ 2147483647 h 326"/>
                <a:gd name="T56" fmla="*/ 2147483647 w 364"/>
                <a:gd name="T57" fmla="*/ 2147483647 h 326"/>
                <a:gd name="T58" fmla="*/ 2147483647 w 364"/>
                <a:gd name="T59" fmla="*/ 2147483647 h 326"/>
                <a:gd name="T60" fmla="*/ 2147483647 w 364"/>
                <a:gd name="T61" fmla="*/ 2147483647 h 326"/>
                <a:gd name="T62" fmla="*/ 0 w 364"/>
                <a:gd name="T63" fmla="*/ 2147483647 h 3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4"/>
                <a:gd name="T97" fmla="*/ 0 h 326"/>
                <a:gd name="T98" fmla="*/ 364 w 364"/>
                <a:gd name="T99" fmla="*/ 326 h 3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4" h="326">
                  <a:moveTo>
                    <a:pt x="0" y="94"/>
                  </a:moveTo>
                  <a:lnTo>
                    <a:pt x="0" y="139"/>
                  </a:lnTo>
                  <a:lnTo>
                    <a:pt x="10" y="174"/>
                  </a:lnTo>
                  <a:lnTo>
                    <a:pt x="18" y="189"/>
                  </a:lnTo>
                  <a:lnTo>
                    <a:pt x="31" y="204"/>
                  </a:lnTo>
                  <a:lnTo>
                    <a:pt x="28" y="228"/>
                  </a:lnTo>
                  <a:lnTo>
                    <a:pt x="3" y="261"/>
                  </a:lnTo>
                  <a:lnTo>
                    <a:pt x="0" y="299"/>
                  </a:lnTo>
                  <a:lnTo>
                    <a:pt x="21" y="315"/>
                  </a:lnTo>
                  <a:lnTo>
                    <a:pt x="53" y="326"/>
                  </a:lnTo>
                  <a:lnTo>
                    <a:pt x="80" y="300"/>
                  </a:lnTo>
                  <a:lnTo>
                    <a:pt x="114" y="297"/>
                  </a:lnTo>
                  <a:lnTo>
                    <a:pt x="135" y="264"/>
                  </a:lnTo>
                  <a:lnTo>
                    <a:pt x="184" y="229"/>
                  </a:lnTo>
                  <a:lnTo>
                    <a:pt x="228" y="207"/>
                  </a:lnTo>
                  <a:lnTo>
                    <a:pt x="266" y="189"/>
                  </a:lnTo>
                  <a:lnTo>
                    <a:pt x="304" y="185"/>
                  </a:lnTo>
                  <a:lnTo>
                    <a:pt x="298" y="148"/>
                  </a:lnTo>
                  <a:lnTo>
                    <a:pt x="284" y="115"/>
                  </a:lnTo>
                  <a:lnTo>
                    <a:pt x="308" y="95"/>
                  </a:lnTo>
                  <a:lnTo>
                    <a:pt x="316" y="43"/>
                  </a:lnTo>
                  <a:lnTo>
                    <a:pt x="364" y="5"/>
                  </a:lnTo>
                  <a:lnTo>
                    <a:pt x="334" y="3"/>
                  </a:lnTo>
                  <a:lnTo>
                    <a:pt x="273" y="0"/>
                  </a:lnTo>
                  <a:lnTo>
                    <a:pt x="238" y="13"/>
                  </a:lnTo>
                  <a:lnTo>
                    <a:pt x="202" y="15"/>
                  </a:lnTo>
                  <a:lnTo>
                    <a:pt x="150" y="24"/>
                  </a:lnTo>
                  <a:lnTo>
                    <a:pt x="84" y="17"/>
                  </a:lnTo>
                  <a:lnTo>
                    <a:pt x="50" y="32"/>
                  </a:lnTo>
                  <a:lnTo>
                    <a:pt x="43" y="68"/>
                  </a:lnTo>
                  <a:lnTo>
                    <a:pt x="8" y="58"/>
                  </a:lnTo>
                  <a:lnTo>
                    <a:pt x="0" y="9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1" name="Freeform 123">
              <a:extLst>
                <a:ext uri="{FF2B5EF4-FFF2-40B4-BE49-F238E27FC236}">
                  <a16:creationId xmlns:a16="http://schemas.microsoft.com/office/drawing/2014/main" id="{5D2453B1-0194-7BEF-97AF-147DD2509145}"/>
                </a:ext>
              </a:extLst>
            </p:cNvPr>
            <p:cNvSpPr>
              <a:spLocks/>
            </p:cNvSpPr>
            <p:nvPr/>
          </p:nvSpPr>
          <p:spPr bwMode="auto">
            <a:xfrm>
              <a:off x="5678822" y="3302014"/>
              <a:ext cx="40338" cy="43790"/>
            </a:xfrm>
            <a:custGeom>
              <a:avLst/>
              <a:gdLst>
                <a:gd name="T0" fmla="*/ 18 w 176213"/>
                <a:gd name="T1" fmla="*/ 9 h 184150"/>
                <a:gd name="T2" fmla="*/ 16 w 176213"/>
                <a:gd name="T3" fmla="*/ 11 h 184150"/>
                <a:gd name="T4" fmla="*/ 19 w 176213"/>
                <a:gd name="T5" fmla="*/ 13 h 184150"/>
                <a:gd name="T6" fmla="*/ 20 w 176213"/>
                <a:gd name="T7" fmla="*/ 21 h 184150"/>
                <a:gd name="T8" fmla="*/ 16 w 176213"/>
                <a:gd name="T9" fmla="*/ 22 h 184150"/>
                <a:gd name="T10" fmla="*/ 9 w 176213"/>
                <a:gd name="T11" fmla="*/ 16 h 184150"/>
                <a:gd name="T12" fmla="*/ 0 w 176213"/>
                <a:gd name="T13" fmla="*/ 12 h 184150"/>
                <a:gd name="T14" fmla="*/ 1 w 176213"/>
                <a:gd name="T15" fmla="*/ 0 h 184150"/>
                <a:gd name="T16" fmla="*/ 10 w 176213"/>
                <a:gd name="T17" fmla="*/ 1 h 184150"/>
                <a:gd name="T18" fmla="*/ 16 w 176213"/>
                <a:gd name="T19" fmla="*/ 2 h 184150"/>
                <a:gd name="T20" fmla="*/ 18 w 176213"/>
                <a:gd name="T21" fmla="*/ 9 h 1841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6213"/>
                <a:gd name="T34" fmla="*/ 0 h 184150"/>
                <a:gd name="T35" fmla="*/ 176213 w 176213"/>
                <a:gd name="T36" fmla="*/ 184150 h 18415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6213" h="184150">
                  <a:moveTo>
                    <a:pt x="157163" y="74613"/>
                  </a:moveTo>
                  <a:lnTo>
                    <a:pt x="142875" y="96838"/>
                  </a:lnTo>
                  <a:lnTo>
                    <a:pt x="171450" y="114300"/>
                  </a:lnTo>
                  <a:lnTo>
                    <a:pt x="176213" y="176213"/>
                  </a:lnTo>
                  <a:lnTo>
                    <a:pt x="138113" y="184150"/>
                  </a:lnTo>
                  <a:lnTo>
                    <a:pt x="84138" y="131763"/>
                  </a:lnTo>
                  <a:lnTo>
                    <a:pt x="0" y="103188"/>
                  </a:lnTo>
                  <a:lnTo>
                    <a:pt x="12700" y="0"/>
                  </a:lnTo>
                  <a:lnTo>
                    <a:pt x="88044" y="12949"/>
                  </a:lnTo>
                  <a:lnTo>
                    <a:pt x="146050" y="14288"/>
                  </a:lnTo>
                  <a:lnTo>
                    <a:pt x="157163" y="7461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2" name="Freeform 124">
              <a:extLst>
                <a:ext uri="{FF2B5EF4-FFF2-40B4-BE49-F238E27FC236}">
                  <a16:creationId xmlns:a16="http://schemas.microsoft.com/office/drawing/2014/main" id="{C3CAF365-6DC1-8F7E-48E4-CFB096325FFB}"/>
                </a:ext>
              </a:extLst>
            </p:cNvPr>
            <p:cNvSpPr>
              <a:spLocks/>
            </p:cNvSpPr>
            <p:nvPr/>
          </p:nvSpPr>
          <p:spPr bwMode="auto">
            <a:xfrm>
              <a:off x="5311297" y="3129156"/>
              <a:ext cx="44820" cy="29962"/>
            </a:xfrm>
            <a:custGeom>
              <a:avLst/>
              <a:gdLst>
                <a:gd name="T0" fmla="*/ 2147483647 w 122"/>
                <a:gd name="T1" fmla="*/ 0 h 78"/>
                <a:gd name="T2" fmla="*/ 2147483647 w 122"/>
                <a:gd name="T3" fmla="*/ 2147483647 h 78"/>
                <a:gd name="T4" fmla="*/ 2147483647 w 122"/>
                <a:gd name="T5" fmla="*/ 2147483647 h 78"/>
                <a:gd name="T6" fmla="*/ 0 w 122"/>
                <a:gd name="T7" fmla="*/ 2147483647 h 78"/>
                <a:gd name="T8" fmla="*/ 2147483647 w 122"/>
                <a:gd name="T9" fmla="*/ 2147483647 h 78"/>
                <a:gd name="T10" fmla="*/ 2147483647 w 122"/>
                <a:gd name="T11" fmla="*/ 2147483647 h 78"/>
                <a:gd name="T12" fmla="*/ 2147483647 w 122"/>
                <a:gd name="T13" fmla="*/ 2147483647 h 78"/>
                <a:gd name="T14" fmla="*/ 2147483647 w 122"/>
                <a:gd name="T15" fmla="*/ 2147483647 h 78"/>
                <a:gd name="T16" fmla="*/ 2147483647 w 122"/>
                <a:gd name="T17" fmla="*/ 2147483647 h 78"/>
                <a:gd name="T18" fmla="*/ 2147483647 w 122"/>
                <a:gd name="T19" fmla="*/ 2147483647 h 78"/>
                <a:gd name="T20" fmla="*/ 2147483647 w 122"/>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78"/>
                <a:gd name="T35" fmla="*/ 122 w 122"/>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78">
                  <a:moveTo>
                    <a:pt x="92" y="0"/>
                  </a:moveTo>
                  <a:lnTo>
                    <a:pt x="50" y="1"/>
                  </a:lnTo>
                  <a:lnTo>
                    <a:pt x="20" y="7"/>
                  </a:lnTo>
                  <a:lnTo>
                    <a:pt x="0" y="50"/>
                  </a:lnTo>
                  <a:lnTo>
                    <a:pt x="29" y="78"/>
                  </a:lnTo>
                  <a:lnTo>
                    <a:pt x="51" y="78"/>
                  </a:lnTo>
                  <a:lnTo>
                    <a:pt x="76" y="67"/>
                  </a:lnTo>
                  <a:lnTo>
                    <a:pt x="101" y="50"/>
                  </a:lnTo>
                  <a:lnTo>
                    <a:pt x="121" y="29"/>
                  </a:lnTo>
                  <a:lnTo>
                    <a:pt x="122" y="7"/>
                  </a:lnTo>
                  <a:lnTo>
                    <a:pt x="92"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3" name="Freeform 125">
              <a:extLst>
                <a:ext uri="{FF2B5EF4-FFF2-40B4-BE49-F238E27FC236}">
                  <a16:creationId xmlns:a16="http://schemas.microsoft.com/office/drawing/2014/main" id="{9DB9ACB7-AB00-494C-4569-E61D5F0FA57A}"/>
                </a:ext>
              </a:extLst>
            </p:cNvPr>
            <p:cNvSpPr>
              <a:spLocks/>
            </p:cNvSpPr>
            <p:nvPr/>
          </p:nvSpPr>
          <p:spPr bwMode="auto">
            <a:xfrm>
              <a:off x="5385249" y="3209824"/>
              <a:ext cx="78436" cy="115238"/>
            </a:xfrm>
            <a:custGeom>
              <a:avLst/>
              <a:gdLst>
                <a:gd name="T0" fmla="*/ 2147483647 w 175"/>
                <a:gd name="T1" fmla="*/ 2147483647 h 248"/>
                <a:gd name="T2" fmla="*/ 2147483647 w 175"/>
                <a:gd name="T3" fmla="*/ 2147483647 h 248"/>
                <a:gd name="T4" fmla="*/ 2147483647 w 175"/>
                <a:gd name="T5" fmla="*/ 2147483647 h 248"/>
                <a:gd name="T6" fmla="*/ 2147483647 w 175"/>
                <a:gd name="T7" fmla="*/ 2147483647 h 248"/>
                <a:gd name="T8" fmla="*/ 2147483647 w 175"/>
                <a:gd name="T9" fmla="*/ 2147483647 h 248"/>
                <a:gd name="T10" fmla="*/ 2147483647 w 175"/>
                <a:gd name="T11" fmla="*/ 2147483647 h 248"/>
                <a:gd name="T12" fmla="*/ 2147483647 w 175"/>
                <a:gd name="T13" fmla="*/ 2147483647 h 248"/>
                <a:gd name="T14" fmla="*/ 2147483647 w 175"/>
                <a:gd name="T15" fmla="*/ 2147483647 h 248"/>
                <a:gd name="T16" fmla="*/ 0 w 175"/>
                <a:gd name="T17" fmla="*/ 2147483647 h 248"/>
                <a:gd name="T18" fmla="*/ 2147483647 w 175"/>
                <a:gd name="T19" fmla="*/ 2147483647 h 248"/>
                <a:gd name="T20" fmla="*/ 2147483647 w 175"/>
                <a:gd name="T21" fmla="*/ 2147483647 h 248"/>
                <a:gd name="T22" fmla="*/ 2147483647 w 175"/>
                <a:gd name="T23" fmla="*/ 2147483647 h 248"/>
                <a:gd name="T24" fmla="*/ 2147483647 w 175"/>
                <a:gd name="T25" fmla="*/ 2147483647 h 248"/>
                <a:gd name="T26" fmla="*/ 2147483647 w 175"/>
                <a:gd name="T27" fmla="*/ 2147483647 h 248"/>
                <a:gd name="T28" fmla="*/ 2147483647 w 175"/>
                <a:gd name="T29" fmla="*/ 2147483647 h 248"/>
                <a:gd name="T30" fmla="*/ 2147483647 w 175"/>
                <a:gd name="T31" fmla="*/ 2147483647 h 248"/>
                <a:gd name="T32" fmla="*/ 2147483647 w 175"/>
                <a:gd name="T33" fmla="*/ 2147483647 h 248"/>
                <a:gd name="T34" fmla="*/ 2147483647 w 175"/>
                <a:gd name="T35" fmla="*/ 2147483647 h 248"/>
                <a:gd name="T36" fmla="*/ 2147483647 w 175"/>
                <a:gd name="T37" fmla="*/ 2147483647 h 248"/>
                <a:gd name="T38" fmla="*/ 2147483647 w 175"/>
                <a:gd name="T39" fmla="*/ 2147483647 h 248"/>
                <a:gd name="T40" fmla="*/ 2147483647 w 175"/>
                <a:gd name="T41" fmla="*/ 0 h 248"/>
                <a:gd name="T42" fmla="*/ 2147483647 w 175"/>
                <a:gd name="T43" fmla="*/ 2147483647 h 248"/>
                <a:gd name="T44" fmla="*/ 2147483647 w 175"/>
                <a:gd name="T45" fmla="*/ 2147483647 h 248"/>
                <a:gd name="T46" fmla="*/ 2147483647 w 175"/>
                <a:gd name="T47" fmla="*/ 2147483647 h 248"/>
                <a:gd name="T48" fmla="*/ 2147483647 w 175"/>
                <a:gd name="T49" fmla="*/ 2147483647 h 2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5"/>
                <a:gd name="T76" fmla="*/ 0 h 248"/>
                <a:gd name="T77" fmla="*/ 175 w 175"/>
                <a:gd name="T78" fmla="*/ 248 h 2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5" h="248">
                  <a:moveTo>
                    <a:pt x="39" y="3"/>
                  </a:moveTo>
                  <a:lnTo>
                    <a:pt x="20" y="30"/>
                  </a:lnTo>
                  <a:lnTo>
                    <a:pt x="22" y="45"/>
                  </a:lnTo>
                  <a:lnTo>
                    <a:pt x="20" y="61"/>
                  </a:lnTo>
                  <a:lnTo>
                    <a:pt x="13" y="78"/>
                  </a:lnTo>
                  <a:lnTo>
                    <a:pt x="8" y="101"/>
                  </a:lnTo>
                  <a:lnTo>
                    <a:pt x="5" y="126"/>
                  </a:lnTo>
                  <a:lnTo>
                    <a:pt x="8" y="175"/>
                  </a:lnTo>
                  <a:lnTo>
                    <a:pt x="0" y="209"/>
                  </a:lnTo>
                  <a:lnTo>
                    <a:pt x="2" y="240"/>
                  </a:lnTo>
                  <a:lnTo>
                    <a:pt x="49" y="248"/>
                  </a:lnTo>
                  <a:lnTo>
                    <a:pt x="75" y="232"/>
                  </a:lnTo>
                  <a:lnTo>
                    <a:pt x="105" y="222"/>
                  </a:lnTo>
                  <a:lnTo>
                    <a:pt x="129" y="192"/>
                  </a:lnTo>
                  <a:lnTo>
                    <a:pt x="145" y="168"/>
                  </a:lnTo>
                  <a:lnTo>
                    <a:pt x="112" y="112"/>
                  </a:lnTo>
                  <a:lnTo>
                    <a:pt x="110" y="86"/>
                  </a:lnTo>
                  <a:lnTo>
                    <a:pt x="158" y="75"/>
                  </a:lnTo>
                  <a:lnTo>
                    <a:pt x="175" y="66"/>
                  </a:lnTo>
                  <a:lnTo>
                    <a:pt x="171" y="37"/>
                  </a:lnTo>
                  <a:lnTo>
                    <a:pt x="158" y="0"/>
                  </a:lnTo>
                  <a:lnTo>
                    <a:pt x="122" y="1"/>
                  </a:lnTo>
                  <a:lnTo>
                    <a:pt x="96" y="27"/>
                  </a:lnTo>
                  <a:lnTo>
                    <a:pt x="65" y="21"/>
                  </a:lnTo>
                  <a:lnTo>
                    <a:pt x="39" y="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4" name="Freeform 126">
              <a:extLst>
                <a:ext uri="{FF2B5EF4-FFF2-40B4-BE49-F238E27FC236}">
                  <a16:creationId xmlns:a16="http://schemas.microsoft.com/office/drawing/2014/main" id="{041BF19D-E3D7-7D4D-CA23-390FFBFDF25E}"/>
                </a:ext>
              </a:extLst>
            </p:cNvPr>
            <p:cNvSpPr>
              <a:spLocks/>
            </p:cNvSpPr>
            <p:nvPr/>
          </p:nvSpPr>
          <p:spPr bwMode="gray">
            <a:xfrm>
              <a:off x="5389731" y="3161424"/>
              <a:ext cx="26892" cy="41485"/>
            </a:xfrm>
            <a:custGeom>
              <a:avLst/>
              <a:gdLst>
                <a:gd name="T0" fmla="*/ 2147483647 w 61"/>
                <a:gd name="T1" fmla="*/ 2147483647 h 92"/>
                <a:gd name="T2" fmla="*/ 2147483647 w 61"/>
                <a:gd name="T3" fmla="*/ 2147483647 h 92"/>
                <a:gd name="T4" fmla="*/ 2147483647 w 61"/>
                <a:gd name="T5" fmla="*/ 2147483647 h 92"/>
                <a:gd name="T6" fmla="*/ 0 w 61"/>
                <a:gd name="T7" fmla="*/ 2147483647 h 92"/>
                <a:gd name="T8" fmla="*/ 2147483647 w 61"/>
                <a:gd name="T9" fmla="*/ 2147483647 h 92"/>
                <a:gd name="T10" fmla="*/ 2147483647 w 61"/>
                <a:gd name="T11" fmla="*/ 2147483647 h 92"/>
                <a:gd name="T12" fmla="*/ 2147483647 w 61"/>
                <a:gd name="T13" fmla="*/ 2147483647 h 92"/>
                <a:gd name="T14" fmla="*/ 2147483647 w 61"/>
                <a:gd name="T15" fmla="*/ 2147483647 h 92"/>
                <a:gd name="T16" fmla="*/ 2147483647 w 61"/>
                <a:gd name="T17" fmla="*/ 2147483647 h 92"/>
                <a:gd name="T18" fmla="*/ 2147483647 w 61"/>
                <a:gd name="T19" fmla="*/ 2147483647 h 92"/>
                <a:gd name="T20" fmla="*/ 2147483647 w 61"/>
                <a:gd name="T21" fmla="*/ 0 h 92"/>
                <a:gd name="T22" fmla="*/ 2147483647 w 61"/>
                <a:gd name="T23" fmla="*/ 2147483647 h 92"/>
                <a:gd name="T24" fmla="*/ 2147483647 w 61"/>
                <a:gd name="T25" fmla="*/ 2147483647 h 92"/>
                <a:gd name="T26" fmla="*/ 2147483647 w 61"/>
                <a:gd name="T27" fmla="*/ 2147483647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92"/>
                <a:gd name="T44" fmla="*/ 61 w 61"/>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92">
                  <a:moveTo>
                    <a:pt x="33" y="78"/>
                  </a:moveTo>
                  <a:lnTo>
                    <a:pt x="12" y="73"/>
                  </a:lnTo>
                  <a:lnTo>
                    <a:pt x="3" y="92"/>
                  </a:lnTo>
                  <a:lnTo>
                    <a:pt x="0" y="73"/>
                  </a:lnTo>
                  <a:lnTo>
                    <a:pt x="5" y="58"/>
                  </a:lnTo>
                  <a:lnTo>
                    <a:pt x="11" y="46"/>
                  </a:lnTo>
                  <a:lnTo>
                    <a:pt x="17" y="35"/>
                  </a:lnTo>
                  <a:lnTo>
                    <a:pt x="22" y="24"/>
                  </a:lnTo>
                  <a:lnTo>
                    <a:pt x="25" y="14"/>
                  </a:lnTo>
                  <a:lnTo>
                    <a:pt x="42" y="5"/>
                  </a:lnTo>
                  <a:lnTo>
                    <a:pt x="47" y="0"/>
                  </a:lnTo>
                  <a:lnTo>
                    <a:pt x="61" y="13"/>
                  </a:lnTo>
                  <a:lnTo>
                    <a:pt x="58" y="39"/>
                  </a:lnTo>
                  <a:lnTo>
                    <a:pt x="33" y="7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5" name="Freeform 127">
              <a:extLst>
                <a:ext uri="{FF2B5EF4-FFF2-40B4-BE49-F238E27FC236}">
                  <a16:creationId xmlns:a16="http://schemas.microsoft.com/office/drawing/2014/main" id="{D9B7912B-DD79-EFA6-86B5-311FB82B97BE}"/>
                </a:ext>
              </a:extLst>
            </p:cNvPr>
            <p:cNvSpPr>
              <a:spLocks/>
            </p:cNvSpPr>
            <p:nvPr/>
          </p:nvSpPr>
          <p:spPr bwMode="auto">
            <a:xfrm>
              <a:off x="5362839" y="3195996"/>
              <a:ext cx="40338" cy="112933"/>
            </a:xfrm>
            <a:custGeom>
              <a:avLst/>
              <a:gdLst>
                <a:gd name="T0" fmla="*/ 2147483647 w 89"/>
                <a:gd name="T1" fmla="*/ 2147483647 h 245"/>
                <a:gd name="T2" fmla="*/ 2147483647 w 89"/>
                <a:gd name="T3" fmla="*/ 2147483647 h 245"/>
                <a:gd name="T4" fmla="*/ 2147483647 w 89"/>
                <a:gd name="T5" fmla="*/ 2147483647 h 245"/>
                <a:gd name="T6" fmla="*/ 2147483647 w 89"/>
                <a:gd name="T7" fmla="*/ 0 h 245"/>
                <a:gd name="T8" fmla="*/ 2147483647 w 89"/>
                <a:gd name="T9" fmla="*/ 2147483647 h 245"/>
                <a:gd name="T10" fmla="*/ 2147483647 w 89"/>
                <a:gd name="T11" fmla="*/ 2147483647 h 245"/>
                <a:gd name="T12" fmla="*/ 2147483647 w 89"/>
                <a:gd name="T13" fmla="*/ 2147483647 h 245"/>
                <a:gd name="T14" fmla="*/ 2147483647 w 89"/>
                <a:gd name="T15" fmla="*/ 2147483647 h 245"/>
                <a:gd name="T16" fmla="*/ 2147483647 w 89"/>
                <a:gd name="T17" fmla="*/ 2147483647 h 245"/>
                <a:gd name="T18" fmla="*/ 2147483647 w 89"/>
                <a:gd name="T19" fmla="*/ 2147483647 h 245"/>
                <a:gd name="T20" fmla="*/ 2147483647 w 89"/>
                <a:gd name="T21" fmla="*/ 2147483647 h 245"/>
                <a:gd name="T22" fmla="*/ 2147483647 w 89"/>
                <a:gd name="T23" fmla="*/ 2147483647 h 245"/>
                <a:gd name="T24" fmla="*/ 2147483647 w 89"/>
                <a:gd name="T25" fmla="*/ 2147483647 h 245"/>
                <a:gd name="T26" fmla="*/ 2147483647 w 89"/>
                <a:gd name="T27" fmla="*/ 2147483647 h 245"/>
                <a:gd name="T28" fmla="*/ 2147483647 w 89"/>
                <a:gd name="T29" fmla="*/ 2147483647 h 245"/>
                <a:gd name="T30" fmla="*/ 2147483647 w 89"/>
                <a:gd name="T31" fmla="*/ 2147483647 h 245"/>
                <a:gd name="T32" fmla="*/ 2147483647 w 89"/>
                <a:gd name="T33" fmla="*/ 2147483647 h 245"/>
                <a:gd name="T34" fmla="*/ 0 w 89"/>
                <a:gd name="T35" fmla="*/ 2147483647 h 245"/>
                <a:gd name="T36" fmla="*/ 2147483647 w 89"/>
                <a:gd name="T37" fmla="*/ 2147483647 h 245"/>
                <a:gd name="T38" fmla="*/ 2147483647 w 89"/>
                <a:gd name="T39" fmla="*/ 2147483647 h 245"/>
                <a:gd name="T40" fmla="*/ 2147483647 w 89"/>
                <a:gd name="T41" fmla="*/ 2147483647 h 245"/>
                <a:gd name="T42" fmla="*/ 2147483647 w 89"/>
                <a:gd name="T43" fmla="*/ 2147483647 h 245"/>
                <a:gd name="T44" fmla="*/ 2147483647 w 89"/>
                <a:gd name="T45" fmla="*/ 2147483647 h 245"/>
                <a:gd name="T46" fmla="*/ 2147483647 w 89"/>
                <a:gd name="T47" fmla="*/ 2147483647 h 245"/>
                <a:gd name="T48" fmla="*/ 2147483647 w 89"/>
                <a:gd name="T49" fmla="*/ 2147483647 h 245"/>
                <a:gd name="T50" fmla="*/ 2147483647 w 89"/>
                <a:gd name="T51" fmla="*/ 2147483647 h 245"/>
                <a:gd name="T52" fmla="*/ 2147483647 w 89"/>
                <a:gd name="T53" fmla="*/ 2147483647 h 245"/>
                <a:gd name="T54" fmla="*/ 2147483647 w 89"/>
                <a:gd name="T55" fmla="*/ 2147483647 h 245"/>
                <a:gd name="T56" fmla="*/ 2147483647 w 89"/>
                <a:gd name="T57" fmla="*/ 2147483647 h 245"/>
                <a:gd name="T58" fmla="*/ 2147483647 w 89"/>
                <a:gd name="T59" fmla="*/ 2147483647 h 245"/>
                <a:gd name="T60" fmla="*/ 2147483647 w 89"/>
                <a:gd name="T61" fmla="*/ 2147483647 h 245"/>
                <a:gd name="T62" fmla="*/ 2147483647 w 89"/>
                <a:gd name="T63" fmla="*/ 2147483647 h 245"/>
                <a:gd name="T64" fmla="*/ 2147483647 w 89"/>
                <a:gd name="T65" fmla="*/ 2147483647 h 245"/>
                <a:gd name="T66" fmla="*/ 2147483647 w 89"/>
                <a:gd name="T67" fmla="*/ 2147483647 h 245"/>
                <a:gd name="T68" fmla="*/ 2147483647 w 89"/>
                <a:gd name="T69" fmla="*/ 2147483647 h 245"/>
                <a:gd name="T70" fmla="*/ 2147483647 w 89"/>
                <a:gd name="T71" fmla="*/ 2147483647 h 245"/>
                <a:gd name="T72" fmla="*/ 2147483647 w 89"/>
                <a:gd name="T73" fmla="*/ 2147483647 h 245"/>
                <a:gd name="T74" fmla="*/ 2147483647 w 89"/>
                <a:gd name="T75" fmla="*/ 2147483647 h 245"/>
                <a:gd name="T76" fmla="*/ 2147483647 w 89"/>
                <a:gd name="T77" fmla="*/ 2147483647 h 245"/>
                <a:gd name="T78" fmla="*/ 2147483647 w 89"/>
                <a:gd name="T79" fmla="*/ 2147483647 h 245"/>
                <a:gd name="T80" fmla="*/ 2147483647 w 89"/>
                <a:gd name="T81" fmla="*/ 2147483647 h 245"/>
                <a:gd name="T82" fmla="*/ 2147483647 w 89"/>
                <a:gd name="T83" fmla="*/ 2147483647 h 245"/>
                <a:gd name="T84" fmla="*/ 2147483647 w 89"/>
                <a:gd name="T85" fmla="*/ 2147483647 h 245"/>
                <a:gd name="T86" fmla="*/ 2147483647 w 89"/>
                <a:gd name="T87" fmla="*/ 2147483647 h 245"/>
                <a:gd name="T88" fmla="*/ 2147483647 w 89"/>
                <a:gd name="T89" fmla="*/ 2147483647 h 245"/>
                <a:gd name="T90" fmla="*/ 2147483647 w 89"/>
                <a:gd name="T91" fmla="*/ 2147483647 h 245"/>
                <a:gd name="T92" fmla="*/ 2147483647 w 89"/>
                <a:gd name="T93" fmla="*/ 2147483647 h 245"/>
                <a:gd name="T94" fmla="*/ 2147483647 w 89"/>
                <a:gd name="T95" fmla="*/ 2147483647 h 245"/>
                <a:gd name="T96" fmla="*/ 2147483647 w 89"/>
                <a:gd name="T97" fmla="*/ 2147483647 h 245"/>
                <a:gd name="T98" fmla="*/ 2147483647 w 89"/>
                <a:gd name="T99" fmla="*/ 2147483647 h 245"/>
                <a:gd name="T100" fmla="*/ 2147483647 w 89"/>
                <a:gd name="T101" fmla="*/ 2147483647 h 245"/>
                <a:gd name="T102" fmla="*/ 2147483647 w 89"/>
                <a:gd name="T103" fmla="*/ 2147483647 h 24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9"/>
                <a:gd name="T157" fmla="*/ 0 h 245"/>
                <a:gd name="T158" fmla="*/ 89 w 89"/>
                <a:gd name="T159" fmla="*/ 245 h 24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9" h="245">
                  <a:moveTo>
                    <a:pt x="80" y="49"/>
                  </a:moveTo>
                  <a:lnTo>
                    <a:pt x="88" y="40"/>
                  </a:lnTo>
                  <a:lnTo>
                    <a:pt x="89" y="4"/>
                  </a:lnTo>
                  <a:lnTo>
                    <a:pt x="72" y="0"/>
                  </a:lnTo>
                  <a:lnTo>
                    <a:pt x="61" y="12"/>
                  </a:lnTo>
                  <a:lnTo>
                    <a:pt x="56" y="25"/>
                  </a:lnTo>
                  <a:lnTo>
                    <a:pt x="52" y="35"/>
                  </a:lnTo>
                  <a:lnTo>
                    <a:pt x="50" y="46"/>
                  </a:lnTo>
                  <a:lnTo>
                    <a:pt x="46" y="61"/>
                  </a:lnTo>
                  <a:lnTo>
                    <a:pt x="40" y="73"/>
                  </a:lnTo>
                  <a:lnTo>
                    <a:pt x="35" y="83"/>
                  </a:lnTo>
                  <a:lnTo>
                    <a:pt x="30" y="94"/>
                  </a:lnTo>
                  <a:lnTo>
                    <a:pt x="24" y="99"/>
                  </a:lnTo>
                  <a:lnTo>
                    <a:pt x="19" y="105"/>
                  </a:lnTo>
                  <a:lnTo>
                    <a:pt x="16" y="111"/>
                  </a:lnTo>
                  <a:lnTo>
                    <a:pt x="27" y="120"/>
                  </a:lnTo>
                  <a:lnTo>
                    <a:pt x="10" y="135"/>
                  </a:lnTo>
                  <a:lnTo>
                    <a:pt x="0" y="153"/>
                  </a:lnTo>
                  <a:lnTo>
                    <a:pt x="48" y="245"/>
                  </a:lnTo>
                  <a:lnTo>
                    <a:pt x="50" y="227"/>
                  </a:lnTo>
                  <a:lnTo>
                    <a:pt x="55" y="202"/>
                  </a:lnTo>
                  <a:lnTo>
                    <a:pt x="51" y="156"/>
                  </a:lnTo>
                  <a:lnTo>
                    <a:pt x="57" y="124"/>
                  </a:lnTo>
                  <a:lnTo>
                    <a:pt x="63" y="106"/>
                  </a:lnTo>
                  <a:lnTo>
                    <a:pt x="59" y="110"/>
                  </a:lnTo>
                  <a:lnTo>
                    <a:pt x="57" y="112"/>
                  </a:lnTo>
                  <a:lnTo>
                    <a:pt x="54" y="113"/>
                  </a:lnTo>
                  <a:lnTo>
                    <a:pt x="51" y="113"/>
                  </a:lnTo>
                  <a:lnTo>
                    <a:pt x="48" y="114"/>
                  </a:lnTo>
                  <a:lnTo>
                    <a:pt x="46" y="111"/>
                  </a:lnTo>
                  <a:lnTo>
                    <a:pt x="49" y="105"/>
                  </a:lnTo>
                  <a:lnTo>
                    <a:pt x="49" y="102"/>
                  </a:lnTo>
                  <a:lnTo>
                    <a:pt x="50" y="99"/>
                  </a:lnTo>
                  <a:lnTo>
                    <a:pt x="53" y="95"/>
                  </a:lnTo>
                  <a:lnTo>
                    <a:pt x="55" y="94"/>
                  </a:lnTo>
                  <a:lnTo>
                    <a:pt x="57" y="94"/>
                  </a:lnTo>
                  <a:lnTo>
                    <a:pt x="58" y="92"/>
                  </a:lnTo>
                  <a:lnTo>
                    <a:pt x="52" y="90"/>
                  </a:lnTo>
                  <a:lnTo>
                    <a:pt x="50" y="91"/>
                  </a:lnTo>
                  <a:lnTo>
                    <a:pt x="48" y="89"/>
                  </a:lnTo>
                  <a:lnTo>
                    <a:pt x="51" y="87"/>
                  </a:lnTo>
                  <a:lnTo>
                    <a:pt x="50" y="84"/>
                  </a:lnTo>
                  <a:lnTo>
                    <a:pt x="49" y="74"/>
                  </a:lnTo>
                  <a:lnTo>
                    <a:pt x="51" y="70"/>
                  </a:lnTo>
                  <a:lnTo>
                    <a:pt x="50" y="68"/>
                  </a:lnTo>
                  <a:lnTo>
                    <a:pt x="50" y="66"/>
                  </a:lnTo>
                  <a:lnTo>
                    <a:pt x="52" y="61"/>
                  </a:lnTo>
                  <a:lnTo>
                    <a:pt x="56" y="57"/>
                  </a:lnTo>
                  <a:lnTo>
                    <a:pt x="58" y="58"/>
                  </a:lnTo>
                  <a:lnTo>
                    <a:pt x="63" y="59"/>
                  </a:lnTo>
                  <a:lnTo>
                    <a:pt x="64" y="63"/>
                  </a:lnTo>
                  <a:lnTo>
                    <a:pt x="80" y="4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6" name="Freeform 128">
              <a:extLst>
                <a:ext uri="{FF2B5EF4-FFF2-40B4-BE49-F238E27FC236}">
                  <a16:creationId xmlns:a16="http://schemas.microsoft.com/office/drawing/2014/main" id="{E86F5D16-7D3A-C015-4009-72A8B36DC6E4}"/>
                </a:ext>
              </a:extLst>
            </p:cNvPr>
            <p:cNvSpPr>
              <a:spLocks/>
            </p:cNvSpPr>
            <p:nvPr/>
          </p:nvSpPr>
          <p:spPr bwMode="auto">
            <a:xfrm>
              <a:off x="5383009" y="3221347"/>
              <a:ext cx="8965" cy="27657"/>
            </a:xfrm>
            <a:custGeom>
              <a:avLst/>
              <a:gdLst>
                <a:gd name="T0" fmla="*/ 2147483647 w 26"/>
                <a:gd name="T1" fmla="*/ 2147483647 h 68"/>
                <a:gd name="T2" fmla="*/ 2147483647 w 26"/>
                <a:gd name="T3" fmla="*/ 2147483647 h 68"/>
                <a:gd name="T4" fmla="*/ 2147483647 w 26"/>
                <a:gd name="T5" fmla="*/ 2147483647 h 68"/>
                <a:gd name="T6" fmla="*/ 2147483647 w 26"/>
                <a:gd name="T7" fmla="*/ 2147483647 h 68"/>
                <a:gd name="T8" fmla="*/ 2147483647 w 26"/>
                <a:gd name="T9" fmla="*/ 2147483647 h 68"/>
                <a:gd name="T10" fmla="*/ 2147483647 w 26"/>
                <a:gd name="T11" fmla="*/ 0 h 68"/>
                <a:gd name="T12" fmla="*/ 2147483647 w 26"/>
                <a:gd name="T13" fmla="*/ 2147483647 h 68"/>
                <a:gd name="T14" fmla="*/ 2147483647 w 26"/>
                <a:gd name="T15" fmla="*/ 2147483647 h 68"/>
                <a:gd name="T16" fmla="*/ 2147483647 w 26"/>
                <a:gd name="T17" fmla="*/ 2147483647 h 68"/>
                <a:gd name="T18" fmla="*/ 2147483647 w 26"/>
                <a:gd name="T19" fmla="*/ 2147483647 h 68"/>
                <a:gd name="T20" fmla="*/ 2147483647 w 26"/>
                <a:gd name="T21" fmla="*/ 2147483647 h 68"/>
                <a:gd name="T22" fmla="*/ 2147483647 w 26"/>
                <a:gd name="T23" fmla="*/ 2147483647 h 68"/>
                <a:gd name="T24" fmla="*/ 2147483647 w 26"/>
                <a:gd name="T25" fmla="*/ 2147483647 h 68"/>
                <a:gd name="T26" fmla="*/ 2147483647 w 26"/>
                <a:gd name="T27" fmla="*/ 2147483647 h 68"/>
                <a:gd name="T28" fmla="*/ 2147483647 w 26"/>
                <a:gd name="T29" fmla="*/ 2147483647 h 68"/>
                <a:gd name="T30" fmla="*/ 2147483647 w 26"/>
                <a:gd name="T31" fmla="*/ 2147483647 h 68"/>
                <a:gd name="T32" fmla="*/ 2147483647 w 26"/>
                <a:gd name="T33" fmla="*/ 2147483647 h 68"/>
                <a:gd name="T34" fmla="*/ 2147483647 w 26"/>
                <a:gd name="T35" fmla="*/ 2147483647 h 68"/>
                <a:gd name="T36" fmla="*/ 2147483647 w 26"/>
                <a:gd name="T37" fmla="*/ 2147483647 h 68"/>
                <a:gd name="T38" fmla="*/ 2147483647 w 26"/>
                <a:gd name="T39" fmla="*/ 2147483647 h 68"/>
                <a:gd name="T40" fmla="*/ 2147483647 w 26"/>
                <a:gd name="T41" fmla="*/ 2147483647 h 68"/>
                <a:gd name="T42" fmla="*/ 2147483647 w 26"/>
                <a:gd name="T43" fmla="*/ 2147483647 h 68"/>
                <a:gd name="T44" fmla="*/ 2147483647 w 26"/>
                <a:gd name="T45" fmla="*/ 2147483647 h 68"/>
                <a:gd name="T46" fmla="*/ 2147483647 w 26"/>
                <a:gd name="T47" fmla="*/ 2147483647 h 68"/>
                <a:gd name="T48" fmla="*/ 2147483647 w 26"/>
                <a:gd name="T49" fmla="*/ 2147483647 h 68"/>
                <a:gd name="T50" fmla="*/ 2147483647 w 26"/>
                <a:gd name="T51" fmla="*/ 2147483647 h 68"/>
                <a:gd name="T52" fmla="*/ 2147483647 w 26"/>
                <a:gd name="T53" fmla="*/ 2147483647 h 68"/>
                <a:gd name="T54" fmla="*/ 0 w 26"/>
                <a:gd name="T55" fmla="*/ 2147483647 h 68"/>
                <a:gd name="T56" fmla="*/ 2147483647 w 26"/>
                <a:gd name="T57" fmla="*/ 2147483647 h 68"/>
                <a:gd name="T58" fmla="*/ 2147483647 w 26"/>
                <a:gd name="T59" fmla="*/ 2147483647 h 68"/>
                <a:gd name="T60" fmla="*/ 2147483647 w 26"/>
                <a:gd name="T61" fmla="*/ 2147483647 h 68"/>
                <a:gd name="T62" fmla="*/ 2147483647 w 26"/>
                <a:gd name="T63" fmla="*/ 2147483647 h 68"/>
                <a:gd name="T64" fmla="*/ 2147483647 w 26"/>
                <a:gd name="T65" fmla="*/ 2147483647 h 68"/>
                <a:gd name="T66" fmla="*/ 2147483647 w 26"/>
                <a:gd name="T67" fmla="*/ 2147483647 h 68"/>
                <a:gd name="T68" fmla="*/ 2147483647 w 26"/>
                <a:gd name="T69" fmla="*/ 2147483647 h 68"/>
                <a:gd name="T70" fmla="*/ 2147483647 w 26"/>
                <a:gd name="T71" fmla="*/ 2147483647 h 68"/>
                <a:gd name="T72" fmla="*/ 2147483647 w 26"/>
                <a:gd name="T73" fmla="*/ 2147483647 h 68"/>
                <a:gd name="T74" fmla="*/ 2147483647 w 26"/>
                <a:gd name="T75" fmla="*/ 2147483647 h 68"/>
                <a:gd name="T76" fmla="*/ 2147483647 w 26"/>
                <a:gd name="T77" fmla="*/ 2147483647 h 68"/>
                <a:gd name="T78" fmla="*/ 2147483647 w 26"/>
                <a:gd name="T79" fmla="*/ 2147483647 h 68"/>
                <a:gd name="T80" fmla="*/ 2147483647 w 26"/>
                <a:gd name="T81" fmla="*/ 2147483647 h 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
                <a:gd name="T124" fmla="*/ 0 h 68"/>
                <a:gd name="T125" fmla="*/ 26 w 26"/>
                <a:gd name="T126" fmla="*/ 68 h 6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 h="68">
                  <a:moveTo>
                    <a:pt x="24" y="9"/>
                  </a:moveTo>
                  <a:lnTo>
                    <a:pt x="21" y="7"/>
                  </a:lnTo>
                  <a:lnTo>
                    <a:pt x="20" y="3"/>
                  </a:lnTo>
                  <a:lnTo>
                    <a:pt x="16" y="2"/>
                  </a:lnTo>
                  <a:lnTo>
                    <a:pt x="14" y="2"/>
                  </a:lnTo>
                  <a:lnTo>
                    <a:pt x="12" y="0"/>
                  </a:lnTo>
                  <a:lnTo>
                    <a:pt x="10" y="2"/>
                  </a:lnTo>
                  <a:lnTo>
                    <a:pt x="6" y="5"/>
                  </a:lnTo>
                  <a:lnTo>
                    <a:pt x="5" y="10"/>
                  </a:lnTo>
                  <a:lnTo>
                    <a:pt x="4" y="11"/>
                  </a:lnTo>
                  <a:lnTo>
                    <a:pt x="4" y="15"/>
                  </a:lnTo>
                  <a:lnTo>
                    <a:pt x="6" y="17"/>
                  </a:lnTo>
                  <a:lnTo>
                    <a:pt x="3" y="21"/>
                  </a:lnTo>
                  <a:lnTo>
                    <a:pt x="3" y="28"/>
                  </a:lnTo>
                  <a:lnTo>
                    <a:pt x="4" y="33"/>
                  </a:lnTo>
                  <a:lnTo>
                    <a:pt x="6" y="36"/>
                  </a:lnTo>
                  <a:lnTo>
                    <a:pt x="2" y="39"/>
                  </a:lnTo>
                  <a:lnTo>
                    <a:pt x="4" y="42"/>
                  </a:lnTo>
                  <a:lnTo>
                    <a:pt x="7" y="39"/>
                  </a:lnTo>
                  <a:lnTo>
                    <a:pt x="11" y="41"/>
                  </a:lnTo>
                  <a:lnTo>
                    <a:pt x="14" y="42"/>
                  </a:lnTo>
                  <a:lnTo>
                    <a:pt x="12" y="45"/>
                  </a:lnTo>
                  <a:lnTo>
                    <a:pt x="11" y="45"/>
                  </a:lnTo>
                  <a:lnTo>
                    <a:pt x="8" y="47"/>
                  </a:lnTo>
                  <a:lnTo>
                    <a:pt x="4" y="51"/>
                  </a:lnTo>
                  <a:lnTo>
                    <a:pt x="2" y="54"/>
                  </a:lnTo>
                  <a:lnTo>
                    <a:pt x="3" y="58"/>
                  </a:lnTo>
                  <a:lnTo>
                    <a:pt x="0" y="66"/>
                  </a:lnTo>
                  <a:lnTo>
                    <a:pt x="1" y="67"/>
                  </a:lnTo>
                  <a:lnTo>
                    <a:pt x="2" y="68"/>
                  </a:lnTo>
                  <a:lnTo>
                    <a:pt x="6" y="67"/>
                  </a:lnTo>
                  <a:lnTo>
                    <a:pt x="10" y="68"/>
                  </a:lnTo>
                  <a:lnTo>
                    <a:pt x="14" y="66"/>
                  </a:lnTo>
                  <a:lnTo>
                    <a:pt x="20" y="59"/>
                  </a:lnTo>
                  <a:lnTo>
                    <a:pt x="21" y="51"/>
                  </a:lnTo>
                  <a:lnTo>
                    <a:pt x="24" y="46"/>
                  </a:lnTo>
                  <a:lnTo>
                    <a:pt x="26" y="42"/>
                  </a:lnTo>
                  <a:lnTo>
                    <a:pt x="26" y="32"/>
                  </a:lnTo>
                  <a:lnTo>
                    <a:pt x="26" y="17"/>
                  </a:lnTo>
                  <a:lnTo>
                    <a:pt x="25" y="12"/>
                  </a:lnTo>
                  <a:lnTo>
                    <a:pt x="24" y="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7" name="Freeform 129">
              <a:extLst>
                <a:ext uri="{FF2B5EF4-FFF2-40B4-BE49-F238E27FC236}">
                  <a16:creationId xmlns:a16="http://schemas.microsoft.com/office/drawing/2014/main" id="{67BFEC19-D9C3-B4E6-9444-2B589BDFEEB7}"/>
                </a:ext>
              </a:extLst>
            </p:cNvPr>
            <p:cNvSpPr>
              <a:spLocks/>
            </p:cNvSpPr>
            <p:nvPr/>
          </p:nvSpPr>
          <p:spPr bwMode="auto">
            <a:xfrm>
              <a:off x="4343181" y="2188811"/>
              <a:ext cx="197210" cy="417163"/>
            </a:xfrm>
            <a:custGeom>
              <a:avLst/>
              <a:gdLst>
                <a:gd name="T0" fmla="*/ 2147483647 w 514"/>
                <a:gd name="T1" fmla="*/ 2147483647 h 1066"/>
                <a:gd name="T2" fmla="*/ 2147483647 w 514"/>
                <a:gd name="T3" fmla="*/ 2147483647 h 1066"/>
                <a:gd name="T4" fmla="*/ 2147483647 w 514"/>
                <a:gd name="T5" fmla="*/ 2147483647 h 1066"/>
                <a:gd name="T6" fmla="*/ 2147483647 w 514"/>
                <a:gd name="T7" fmla="*/ 2147483647 h 1066"/>
                <a:gd name="T8" fmla="*/ 2147483647 w 514"/>
                <a:gd name="T9" fmla="*/ 2147483647 h 1066"/>
                <a:gd name="T10" fmla="*/ 2147483647 w 514"/>
                <a:gd name="T11" fmla="*/ 2147483647 h 1066"/>
                <a:gd name="T12" fmla="*/ 2147483647 w 514"/>
                <a:gd name="T13" fmla="*/ 2147483647 h 1066"/>
                <a:gd name="T14" fmla="*/ 2147483647 w 514"/>
                <a:gd name="T15" fmla="*/ 2147483647 h 1066"/>
                <a:gd name="T16" fmla="*/ 2147483647 w 514"/>
                <a:gd name="T17" fmla="*/ 2147483647 h 1066"/>
                <a:gd name="T18" fmla="*/ 2147483647 w 514"/>
                <a:gd name="T19" fmla="*/ 2147483647 h 1066"/>
                <a:gd name="T20" fmla="*/ 2147483647 w 514"/>
                <a:gd name="T21" fmla="*/ 2147483647 h 1066"/>
                <a:gd name="T22" fmla="*/ 2147483647 w 514"/>
                <a:gd name="T23" fmla="*/ 2147483647 h 1066"/>
                <a:gd name="T24" fmla="*/ 2147483647 w 514"/>
                <a:gd name="T25" fmla="*/ 2147483647 h 1066"/>
                <a:gd name="T26" fmla="*/ 2147483647 w 514"/>
                <a:gd name="T27" fmla="*/ 2147483647 h 1066"/>
                <a:gd name="T28" fmla="*/ 2147483647 w 514"/>
                <a:gd name="T29" fmla="*/ 2147483647 h 1066"/>
                <a:gd name="T30" fmla="*/ 2147483647 w 514"/>
                <a:gd name="T31" fmla="*/ 2147483647 h 1066"/>
                <a:gd name="T32" fmla="*/ 2147483647 w 514"/>
                <a:gd name="T33" fmla="*/ 2147483647 h 1066"/>
                <a:gd name="T34" fmla="*/ 2147483647 w 514"/>
                <a:gd name="T35" fmla="*/ 2147483647 h 1066"/>
                <a:gd name="T36" fmla="*/ 2147483647 w 514"/>
                <a:gd name="T37" fmla="*/ 2147483647 h 1066"/>
                <a:gd name="T38" fmla="*/ 2147483647 w 514"/>
                <a:gd name="T39" fmla="*/ 2147483647 h 1066"/>
                <a:gd name="T40" fmla="*/ 2147483647 w 514"/>
                <a:gd name="T41" fmla="*/ 2147483647 h 1066"/>
                <a:gd name="T42" fmla="*/ 2147483647 w 514"/>
                <a:gd name="T43" fmla="*/ 2147483647 h 1066"/>
                <a:gd name="T44" fmla="*/ 2147483647 w 514"/>
                <a:gd name="T45" fmla="*/ 2147483647 h 1066"/>
                <a:gd name="T46" fmla="*/ 2147483647 w 514"/>
                <a:gd name="T47" fmla="*/ 2147483647 h 1066"/>
                <a:gd name="T48" fmla="*/ 2147483647 w 514"/>
                <a:gd name="T49" fmla="*/ 2147483647 h 1066"/>
                <a:gd name="T50" fmla="*/ 2147483647 w 514"/>
                <a:gd name="T51" fmla="*/ 2147483647 h 1066"/>
                <a:gd name="T52" fmla="*/ 2147483647 w 514"/>
                <a:gd name="T53" fmla="*/ 2147483647 h 1066"/>
                <a:gd name="T54" fmla="*/ 2147483647 w 514"/>
                <a:gd name="T55" fmla="*/ 2147483647 h 1066"/>
                <a:gd name="T56" fmla="*/ 2147483647 w 514"/>
                <a:gd name="T57" fmla="*/ 2147483647 h 1066"/>
                <a:gd name="T58" fmla="*/ 0 w 514"/>
                <a:gd name="T59" fmla="*/ 2147483647 h 1066"/>
                <a:gd name="T60" fmla="*/ 2147483647 w 514"/>
                <a:gd name="T61" fmla="*/ 2147483647 h 1066"/>
                <a:gd name="T62" fmla="*/ 2147483647 w 514"/>
                <a:gd name="T63" fmla="*/ 2147483647 h 1066"/>
                <a:gd name="T64" fmla="*/ 2147483647 w 514"/>
                <a:gd name="T65" fmla="*/ 2147483647 h 1066"/>
                <a:gd name="T66" fmla="*/ 2147483647 w 514"/>
                <a:gd name="T67" fmla="*/ 2147483647 h 1066"/>
                <a:gd name="T68" fmla="*/ 2147483647 w 514"/>
                <a:gd name="T69" fmla="*/ 2147483647 h 1066"/>
                <a:gd name="T70" fmla="*/ 2147483647 w 514"/>
                <a:gd name="T71" fmla="*/ 2147483647 h 1066"/>
                <a:gd name="T72" fmla="*/ 2147483647 w 514"/>
                <a:gd name="T73" fmla="*/ 2147483647 h 1066"/>
                <a:gd name="T74" fmla="*/ 2147483647 w 514"/>
                <a:gd name="T75" fmla="*/ 2147483647 h 1066"/>
                <a:gd name="T76" fmla="*/ 2147483647 w 514"/>
                <a:gd name="T77" fmla="*/ 2147483647 h 1066"/>
                <a:gd name="T78" fmla="*/ 2147483647 w 514"/>
                <a:gd name="T79" fmla="*/ 2147483647 h 1066"/>
                <a:gd name="T80" fmla="*/ 2147483647 w 514"/>
                <a:gd name="T81" fmla="*/ 2147483647 h 1066"/>
                <a:gd name="T82" fmla="*/ 2147483647 w 514"/>
                <a:gd name="T83" fmla="*/ 2147483647 h 1066"/>
                <a:gd name="T84" fmla="*/ 2147483647 w 514"/>
                <a:gd name="T85" fmla="*/ 2147483647 h 1066"/>
                <a:gd name="T86" fmla="*/ 2147483647 w 514"/>
                <a:gd name="T87" fmla="*/ 2147483647 h 1066"/>
                <a:gd name="T88" fmla="*/ 2147483647 w 514"/>
                <a:gd name="T89" fmla="*/ 2147483647 h 1066"/>
                <a:gd name="T90" fmla="*/ 2147483647 w 514"/>
                <a:gd name="T91" fmla="*/ 2147483647 h 1066"/>
                <a:gd name="T92" fmla="*/ 2147483647 w 514"/>
                <a:gd name="T93" fmla="*/ 2147483647 h 1066"/>
                <a:gd name="T94" fmla="*/ 2147483647 w 514"/>
                <a:gd name="T95" fmla="*/ 2147483647 h 1066"/>
                <a:gd name="T96" fmla="*/ 2147483647 w 514"/>
                <a:gd name="T97" fmla="*/ 2147483647 h 1066"/>
                <a:gd name="T98" fmla="*/ 2147483647 w 514"/>
                <a:gd name="T99" fmla="*/ 2147483647 h 1066"/>
                <a:gd name="T100" fmla="*/ 2147483647 w 514"/>
                <a:gd name="T101" fmla="*/ 2147483647 h 1066"/>
                <a:gd name="T102" fmla="*/ 2147483647 w 514"/>
                <a:gd name="T103" fmla="*/ 2147483647 h 1066"/>
                <a:gd name="T104" fmla="*/ 2147483647 w 514"/>
                <a:gd name="T105" fmla="*/ 2147483647 h 1066"/>
                <a:gd name="T106" fmla="*/ 2147483647 w 514"/>
                <a:gd name="T107" fmla="*/ 2147483647 h 1066"/>
                <a:gd name="T108" fmla="*/ 2147483647 w 514"/>
                <a:gd name="T109" fmla="*/ 2147483647 h 1066"/>
                <a:gd name="T110" fmla="*/ 2147483647 w 514"/>
                <a:gd name="T111" fmla="*/ 2147483647 h 1066"/>
                <a:gd name="T112" fmla="*/ 2147483647 w 514"/>
                <a:gd name="T113" fmla="*/ 2147483647 h 106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4"/>
                <a:gd name="T172" fmla="*/ 0 h 1066"/>
                <a:gd name="T173" fmla="*/ 514 w 514"/>
                <a:gd name="T174" fmla="*/ 1066 h 106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4" h="1066">
                  <a:moveTo>
                    <a:pt x="169" y="0"/>
                  </a:moveTo>
                  <a:lnTo>
                    <a:pt x="204" y="11"/>
                  </a:lnTo>
                  <a:lnTo>
                    <a:pt x="234" y="8"/>
                  </a:lnTo>
                  <a:lnTo>
                    <a:pt x="285" y="4"/>
                  </a:lnTo>
                  <a:lnTo>
                    <a:pt x="285" y="31"/>
                  </a:lnTo>
                  <a:lnTo>
                    <a:pt x="260" y="49"/>
                  </a:lnTo>
                  <a:lnTo>
                    <a:pt x="230" y="77"/>
                  </a:lnTo>
                  <a:lnTo>
                    <a:pt x="161" y="103"/>
                  </a:lnTo>
                  <a:lnTo>
                    <a:pt x="182" y="147"/>
                  </a:lnTo>
                  <a:lnTo>
                    <a:pt x="210" y="131"/>
                  </a:lnTo>
                  <a:lnTo>
                    <a:pt x="257" y="123"/>
                  </a:lnTo>
                  <a:lnTo>
                    <a:pt x="314" y="136"/>
                  </a:lnTo>
                  <a:lnTo>
                    <a:pt x="347" y="137"/>
                  </a:lnTo>
                  <a:lnTo>
                    <a:pt x="366" y="160"/>
                  </a:lnTo>
                  <a:lnTo>
                    <a:pt x="349" y="182"/>
                  </a:lnTo>
                  <a:lnTo>
                    <a:pt x="331" y="212"/>
                  </a:lnTo>
                  <a:lnTo>
                    <a:pt x="313" y="243"/>
                  </a:lnTo>
                  <a:lnTo>
                    <a:pt x="264" y="295"/>
                  </a:lnTo>
                  <a:lnTo>
                    <a:pt x="251" y="323"/>
                  </a:lnTo>
                  <a:lnTo>
                    <a:pt x="222" y="339"/>
                  </a:lnTo>
                  <a:lnTo>
                    <a:pt x="262" y="351"/>
                  </a:lnTo>
                  <a:lnTo>
                    <a:pt x="287" y="355"/>
                  </a:lnTo>
                  <a:lnTo>
                    <a:pt x="316" y="378"/>
                  </a:lnTo>
                  <a:lnTo>
                    <a:pt x="335" y="412"/>
                  </a:lnTo>
                  <a:lnTo>
                    <a:pt x="347" y="453"/>
                  </a:lnTo>
                  <a:lnTo>
                    <a:pt x="366" y="500"/>
                  </a:lnTo>
                  <a:lnTo>
                    <a:pt x="378" y="538"/>
                  </a:lnTo>
                  <a:lnTo>
                    <a:pt x="413" y="575"/>
                  </a:lnTo>
                  <a:lnTo>
                    <a:pt x="396" y="619"/>
                  </a:lnTo>
                  <a:lnTo>
                    <a:pt x="385" y="652"/>
                  </a:lnTo>
                  <a:lnTo>
                    <a:pt x="394" y="681"/>
                  </a:lnTo>
                  <a:lnTo>
                    <a:pt x="412" y="705"/>
                  </a:lnTo>
                  <a:lnTo>
                    <a:pt x="440" y="736"/>
                  </a:lnTo>
                  <a:lnTo>
                    <a:pt x="440" y="763"/>
                  </a:lnTo>
                  <a:lnTo>
                    <a:pt x="472" y="745"/>
                  </a:lnTo>
                  <a:lnTo>
                    <a:pt x="514" y="759"/>
                  </a:lnTo>
                  <a:lnTo>
                    <a:pt x="504" y="778"/>
                  </a:lnTo>
                  <a:lnTo>
                    <a:pt x="507" y="817"/>
                  </a:lnTo>
                  <a:lnTo>
                    <a:pt x="481" y="850"/>
                  </a:lnTo>
                  <a:lnTo>
                    <a:pt x="451" y="876"/>
                  </a:lnTo>
                  <a:lnTo>
                    <a:pt x="433" y="909"/>
                  </a:lnTo>
                  <a:lnTo>
                    <a:pt x="474" y="907"/>
                  </a:lnTo>
                  <a:lnTo>
                    <a:pt x="478" y="936"/>
                  </a:lnTo>
                  <a:lnTo>
                    <a:pt x="456" y="966"/>
                  </a:lnTo>
                  <a:lnTo>
                    <a:pt x="434" y="998"/>
                  </a:lnTo>
                  <a:lnTo>
                    <a:pt x="394" y="1002"/>
                  </a:lnTo>
                  <a:lnTo>
                    <a:pt x="349" y="987"/>
                  </a:lnTo>
                  <a:lnTo>
                    <a:pt x="309" y="984"/>
                  </a:lnTo>
                  <a:lnTo>
                    <a:pt x="285" y="996"/>
                  </a:lnTo>
                  <a:lnTo>
                    <a:pt x="250" y="993"/>
                  </a:lnTo>
                  <a:lnTo>
                    <a:pt x="235" y="1010"/>
                  </a:lnTo>
                  <a:lnTo>
                    <a:pt x="204" y="994"/>
                  </a:lnTo>
                  <a:lnTo>
                    <a:pt x="171" y="986"/>
                  </a:lnTo>
                  <a:lnTo>
                    <a:pt x="131" y="985"/>
                  </a:lnTo>
                  <a:lnTo>
                    <a:pt x="119" y="1008"/>
                  </a:lnTo>
                  <a:lnTo>
                    <a:pt x="107" y="1036"/>
                  </a:lnTo>
                  <a:lnTo>
                    <a:pt x="71" y="1028"/>
                  </a:lnTo>
                  <a:lnTo>
                    <a:pt x="57" y="1047"/>
                  </a:lnTo>
                  <a:lnTo>
                    <a:pt x="13" y="1066"/>
                  </a:lnTo>
                  <a:lnTo>
                    <a:pt x="0" y="1047"/>
                  </a:lnTo>
                  <a:lnTo>
                    <a:pt x="15" y="1024"/>
                  </a:lnTo>
                  <a:lnTo>
                    <a:pt x="37" y="996"/>
                  </a:lnTo>
                  <a:lnTo>
                    <a:pt x="66" y="975"/>
                  </a:lnTo>
                  <a:lnTo>
                    <a:pt x="82" y="939"/>
                  </a:lnTo>
                  <a:lnTo>
                    <a:pt x="99" y="928"/>
                  </a:lnTo>
                  <a:lnTo>
                    <a:pt x="137" y="926"/>
                  </a:lnTo>
                  <a:lnTo>
                    <a:pt x="170" y="931"/>
                  </a:lnTo>
                  <a:lnTo>
                    <a:pt x="196" y="915"/>
                  </a:lnTo>
                  <a:lnTo>
                    <a:pt x="210" y="890"/>
                  </a:lnTo>
                  <a:lnTo>
                    <a:pt x="188" y="890"/>
                  </a:lnTo>
                  <a:lnTo>
                    <a:pt x="160" y="896"/>
                  </a:lnTo>
                  <a:lnTo>
                    <a:pt x="126" y="898"/>
                  </a:lnTo>
                  <a:lnTo>
                    <a:pt x="92" y="873"/>
                  </a:lnTo>
                  <a:lnTo>
                    <a:pt x="66" y="889"/>
                  </a:lnTo>
                  <a:lnTo>
                    <a:pt x="34" y="894"/>
                  </a:lnTo>
                  <a:lnTo>
                    <a:pt x="9" y="864"/>
                  </a:lnTo>
                  <a:lnTo>
                    <a:pt x="60" y="829"/>
                  </a:lnTo>
                  <a:lnTo>
                    <a:pt x="89" y="796"/>
                  </a:lnTo>
                  <a:lnTo>
                    <a:pt x="119" y="761"/>
                  </a:lnTo>
                  <a:lnTo>
                    <a:pt x="96" y="747"/>
                  </a:lnTo>
                  <a:lnTo>
                    <a:pt x="69" y="739"/>
                  </a:lnTo>
                  <a:lnTo>
                    <a:pt x="75" y="697"/>
                  </a:lnTo>
                  <a:lnTo>
                    <a:pt x="99" y="703"/>
                  </a:lnTo>
                  <a:lnTo>
                    <a:pt x="124" y="709"/>
                  </a:lnTo>
                  <a:lnTo>
                    <a:pt x="153" y="703"/>
                  </a:lnTo>
                  <a:lnTo>
                    <a:pt x="180" y="666"/>
                  </a:lnTo>
                  <a:lnTo>
                    <a:pt x="192" y="686"/>
                  </a:lnTo>
                  <a:lnTo>
                    <a:pt x="223" y="686"/>
                  </a:lnTo>
                  <a:lnTo>
                    <a:pt x="227" y="662"/>
                  </a:lnTo>
                  <a:lnTo>
                    <a:pt x="208" y="647"/>
                  </a:lnTo>
                  <a:lnTo>
                    <a:pt x="211" y="613"/>
                  </a:lnTo>
                  <a:lnTo>
                    <a:pt x="201" y="569"/>
                  </a:lnTo>
                  <a:lnTo>
                    <a:pt x="179" y="533"/>
                  </a:lnTo>
                  <a:lnTo>
                    <a:pt x="179" y="479"/>
                  </a:lnTo>
                  <a:lnTo>
                    <a:pt x="133" y="474"/>
                  </a:lnTo>
                  <a:lnTo>
                    <a:pt x="84" y="485"/>
                  </a:lnTo>
                  <a:lnTo>
                    <a:pt x="76" y="440"/>
                  </a:lnTo>
                  <a:lnTo>
                    <a:pt x="101" y="420"/>
                  </a:lnTo>
                  <a:lnTo>
                    <a:pt x="123" y="393"/>
                  </a:lnTo>
                  <a:lnTo>
                    <a:pt x="108" y="355"/>
                  </a:lnTo>
                  <a:lnTo>
                    <a:pt x="130" y="331"/>
                  </a:lnTo>
                  <a:lnTo>
                    <a:pt x="100" y="328"/>
                  </a:lnTo>
                  <a:lnTo>
                    <a:pt x="69" y="333"/>
                  </a:lnTo>
                  <a:lnTo>
                    <a:pt x="60" y="312"/>
                  </a:lnTo>
                  <a:lnTo>
                    <a:pt x="64" y="261"/>
                  </a:lnTo>
                  <a:lnTo>
                    <a:pt x="33" y="224"/>
                  </a:lnTo>
                  <a:lnTo>
                    <a:pt x="60" y="197"/>
                  </a:lnTo>
                  <a:lnTo>
                    <a:pt x="91" y="168"/>
                  </a:lnTo>
                  <a:lnTo>
                    <a:pt x="88" y="139"/>
                  </a:lnTo>
                  <a:lnTo>
                    <a:pt x="72" y="98"/>
                  </a:lnTo>
                  <a:lnTo>
                    <a:pt x="96" y="81"/>
                  </a:lnTo>
                  <a:lnTo>
                    <a:pt x="123" y="57"/>
                  </a:lnTo>
                  <a:lnTo>
                    <a:pt x="142" y="37"/>
                  </a:lnTo>
                  <a:lnTo>
                    <a:pt x="140" y="2"/>
                  </a:lnTo>
                  <a:lnTo>
                    <a:pt x="169"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8" name="Freeform 130">
              <a:extLst>
                <a:ext uri="{FF2B5EF4-FFF2-40B4-BE49-F238E27FC236}">
                  <a16:creationId xmlns:a16="http://schemas.microsoft.com/office/drawing/2014/main" id="{27953351-F340-BDEA-32CC-0DBCD7304872}"/>
                </a:ext>
              </a:extLst>
            </p:cNvPr>
            <p:cNvSpPr>
              <a:spLocks/>
            </p:cNvSpPr>
            <p:nvPr/>
          </p:nvSpPr>
          <p:spPr bwMode="auto">
            <a:xfrm rot="290201">
              <a:off x="4213202" y="2366279"/>
              <a:ext cx="123254" cy="184381"/>
            </a:xfrm>
            <a:custGeom>
              <a:avLst/>
              <a:gdLst>
                <a:gd name="T0" fmla="*/ 2147483647 w 1176"/>
                <a:gd name="T1" fmla="*/ 2147483647 h 1616"/>
                <a:gd name="T2" fmla="*/ 2147483647 w 1176"/>
                <a:gd name="T3" fmla="*/ 2147483647 h 1616"/>
                <a:gd name="T4" fmla="*/ 2147483647 w 1176"/>
                <a:gd name="T5" fmla="*/ 2147483647 h 1616"/>
                <a:gd name="T6" fmla="*/ 2147483647 w 1176"/>
                <a:gd name="T7" fmla="*/ 2147483647 h 1616"/>
                <a:gd name="T8" fmla="*/ 2147483647 w 1176"/>
                <a:gd name="T9" fmla="*/ 2147483647 h 1616"/>
                <a:gd name="T10" fmla="*/ 2147483647 w 1176"/>
                <a:gd name="T11" fmla="*/ 2147483647 h 1616"/>
                <a:gd name="T12" fmla="*/ 2147483647 w 1176"/>
                <a:gd name="T13" fmla="*/ 2147483647 h 1616"/>
                <a:gd name="T14" fmla="*/ 2147483647 w 1176"/>
                <a:gd name="T15" fmla="*/ 0 h 1616"/>
                <a:gd name="T16" fmla="*/ 2147483647 w 1176"/>
                <a:gd name="T17" fmla="*/ 2147483647 h 1616"/>
                <a:gd name="T18" fmla="*/ 2147483647 w 1176"/>
                <a:gd name="T19" fmla="*/ 2147483647 h 1616"/>
                <a:gd name="T20" fmla="*/ 2147483647 w 1176"/>
                <a:gd name="T21" fmla="*/ 2147483647 h 1616"/>
                <a:gd name="T22" fmla="*/ 2147483647 w 1176"/>
                <a:gd name="T23" fmla="*/ 2147483647 h 1616"/>
                <a:gd name="T24" fmla="*/ 2147483647 w 1176"/>
                <a:gd name="T25" fmla="*/ 2147483647 h 1616"/>
                <a:gd name="T26" fmla="*/ 2147483647 w 1176"/>
                <a:gd name="T27" fmla="*/ 2147483647 h 1616"/>
                <a:gd name="T28" fmla="*/ 2147483647 w 1176"/>
                <a:gd name="T29" fmla="*/ 2147483647 h 1616"/>
                <a:gd name="T30" fmla="*/ 2147483647 w 1176"/>
                <a:gd name="T31" fmla="*/ 2147483647 h 1616"/>
                <a:gd name="T32" fmla="*/ 2147483647 w 1176"/>
                <a:gd name="T33" fmla="*/ 2147483647 h 1616"/>
                <a:gd name="T34" fmla="*/ 2147483647 w 1176"/>
                <a:gd name="T35" fmla="*/ 2147483647 h 1616"/>
                <a:gd name="T36" fmla="*/ 2147483647 w 1176"/>
                <a:gd name="T37" fmla="*/ 2147483647 h 1616"/>
                <a:gd name="T38" fmla="*/ 2147483647 w 1176"/>
                <a:gd name="T39" fmla="*/ 2147483647 h 1616"/>
                <a:gd name="T40" fmla="*/ 2147483647 w 1176"/>
                <a:gd name="T41" fmla="*/ 2147483647 h 1616"/>
                <a:gd name="T42" fmla="*/ 2147483647 w 1176"/>
                <a:gd name="T43" fmla="*/ 2147483647 h 1616"/>
                <a:gd name="T44" fmla="*/ 2147483647 w 1176"/>
                <a:gd name="T45" fmla="*/ 2147483647 h 1616"/>
                <a:gd name="T46" fmla="*/ 2147483647 w 1176"/>
                <a:gd name="T47" fmla="*/ 2147483647 h 1616"/>
                <a:gd name="T48" fmla="*/ 2147483647 w 1176"/>
                <a:gd name="T49" fmla="*/ 2147483647 h 1616"/>
                <a:gd name="T50" fmla="*/ 2147483647 w 1176"/>
                <a:gd name="T51" fmla="*/ 2147483647 h 1616"/>
                <a:gd name="T52" fmla="*/ 2147483647 w 1176"/>
                <a:gd name="T53" fmla="*/ 2147483647 h 1616"/>
                <a:gd name="T54" fmla="*/ 2147483647 w 1176"/>
                <a:gd name="T55" fmla="*/ 2147483647 h 1616"/>
                <a:gd name="T56" fmla="*/ 2147483647 w 1176"/>
                <a:gd name="T57" fmla="*/ 2147483647 h 1616"/>
                <a:gd name="T58" fmla="*/ 2147483647 w 1176"/>
                <a:gd name="T59" fmla="*/ 2147483647 h 1616"/>
                <a:gd name="T60" fmla="*/ 2147483647 w 1176"/>
                <a:gd name="T61" fmla="*/ 2147483647 h 1616"/>
                <a:gd name="T62" fmla="*/ 2147483647 w 1176"/>
                <a:gd name="T63" fmla="*/ 2147483647 h 1616"/>
                <a:gd name="T64" fmla="*/ 2147483647 w 1176"/>
                <a:gd name="T65" fmla="*/ 2147483647 h 1616"/>
                <a:gd name="T66" fmla="*/ 2147483647 w 1176"/>
                <a:gd name="T67" fmla="*/ 2147483647 h 1616"/>
                <a:gd name="T68" fmla="*/ 0 w 1176"/>
                <a:gd name="T69" fmla="*/ 2147483647 h 1616"/>
                <a:gd name="T70" fmla="*/ 2147483647 w 1176"/>
                <a:gd name="T71" fmla="*/ 2147483647 h 1616"/>
                <a:gd name="T72" fmla="*/ 2147483647 w 1176"/>
                <a:gd name="T73" fmla="*/ 2147483647 h 1616"/>
                <a:gd name="T74" fmla="*/ 2147483647 w 1176"/>
                <a:gd name="T75" fmla="*/ 2147483647 h 1616"/>
                <a:gd name="T76" fmla="*/ 2147483647 w 1176"/>
                <a:gd name="T77" fmla="*/ 2147483647 h 1616"/>
                <a:gd name="T78" fmla="*/ 2147483647 w 1176"/>
                <a:gd name="T79" fmla="*/ 2147483647 h 1616"/>
                <a:gd name="T80" fmla="*/ 2147483647 w 1176"/>
                <a:gd name="T81" fmla="*/ 2147483647 h 1616"/>
                <a:gd name="T82" fmla="*/ 2147483647 w 1176"/>
                <a:gd name="T83" fmla="*/ 2147483647 h 1616"/>
                <a:gd name="T84" fmla="*/ 2147483647 w 1176"/>
                <a:gd name="T85" fmla="*/ 2147483647 h 1616"/>
                <a:gd name="T86" fmla="*/ 2147483647 w 1176"/>
                <a:gd name="T87" fmla="*/ 2147483647 h 1616"/>
                <a:gd name="T88" fmla="*/ 2147483647 w 1176"/>
                <a:gd name="T89" fmla="*/ 2147483647 h 1616"/>
                <a:gd name="T90" fmla="*/ 2147483647 w 1176"/>
                <a:gd name="T91" fmla="*/ 2147483647 h 1616"/>
                <a:gd name="T92" fmla="*/ 2147483647 w 1176"/>
                <a:gd name="T93" fmla="*/ 2147483647 h 1616"/>
                <a:gd name="T94" fmla="*/ 2147483647 w 1176"/>
                <a:gd name="T95" fmla="*/ 2147483647 h 1616"/>
                <a:gd name="T96" fmla="*/ 2147483647 w 1176"/>
                <a:gd name="T97" fmla="*/ 2147483647 h 1616"/>
                <a:gd name="T98" fmla="*/ 2147483647 w 1176"/>
                <a:gd name="T99" fmla="*/ 2147483647 h 1616"/>
                <a:gd name="T100" fmla="*/ 2147483647 w 1176"/>
                <a:gd name="T101" fmla="*/ 2147483647 h 1616"/>
                <a:gd name="T102" fmla="*/ 2147483647 w 1176"/>
                <a:gd name="T103" fmla="*/ 2147483647 h 1616"/>
                <a:gd name="T104" fmla="*/ 2147483647 w 1176"/>
                <a:gd name="T105" fmla="*/ 2147483647 h 1616"/>
                <a:gd name="T106" fmla="*/ 2147483647 w 1176"/>
                <a:gd name="T107" fmla="*/ 2147483647 h 1616"/>
                <a:gd name="T108" fmla="*/ 2147483647 w 1176"/>
                <a:gd name="T109" fmla="*/ 2147483647 h 1616"/>
                <a:gd name="T110" fmla="*/ 2147483647 w 1176"/>
                <a:gd name="T111" fmla="*/ 2147483647 h 1616"/>
                <a:gd name="T112" fmla="*/ 2147483647 w 1176"/>
                <a:gd name="T113" fmla="*/ 2147483647 h 16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76"/>
                <a:gd name="T172" fmla="*/ 0 h 1616"/>
                <a:gd name="T173" fmla="*/ 1176 w 1176"/>
                <a:gd name="T174" fmla="*/ 1616 h 16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76" h="1616">
                  <a:moveTo>
                    <a:pt x="664" y="464"/>
                  </a:moveTo>
                  <a:lnTo>
                    <a:pt x="608" y="320"/>
                  </a:lnTo>
                  <a:lnTo>
                    <a:pt x="664" y="256"/>
                  </a:lnTo>
                  <a:lnTo>
                    <a:pt x="744" y="264"/>
                  </a:lnTo>
                  <a:lnTo>
                    <a:pt x="792" y="168"/>
                  </a:lnTo>
                  <a:lnTo>
                    <a:pt x="928" y="112"/>
                  </a:lnTo>
                  <a:lnTo>
                    <a:pt x="952" y="32"/>
                  </a:lnTo>
                  <a:lnTo>
                    <a:pt x="904" y="0"/>
                  </a:lnTo>
                  <a:lnTo>
                    <a:pt x="856" y="64"/>
                  </a:lnTo>
                  <a:lnTo>
                    <a:pt x="813" y="147"/>
                  </a:lnTo>
                  <a:lnTo>
                    <a:pt x="768" y="160"/>
                  </a:lnTo>
                  <a:lnTo>
                    <a:pt x="760" y="48"/>
                  </a:lnTo>
                  <a:lnTo>
                    <a:pt x="632" y="48"/>
                  </a:lnTo>
                  <a:lnTo>
                    <a:pt x="584" y="104"/>
                  </a:lnTo>
                  <a:lnTo>
                    <a:pt x="584" y="184"/>
                  </a:lnTo>
                  <a:lnTo>
                    <a:pt x="480" y="256"/>
                  </a:lnTo>
                  <a:lnTo>
                    <a:pt x="560" y="280"/>
                  </a:lnTo>
                  <a:lnTo>
                    <a:pt x="584" y="336"/>
                  </a:lnTo>
                  <a:lnTo>
                    <a:pt x="544" y="424"/>
                  </a:lnTo>
                  <a:lnTo>
                    <a:pt x="504" y="496"/>
                  </a:lnTo>
                  <a:lnTo>
                    <a:pt x="432" y="432"/>
                  </a:lnTo>
                  <a:lnTo>
                    <a:pt x="384" y="496"/>
                  </a:lnTo>
                  <a:lnTo>
                    <a:pt x="280" y="432"/>
                  </a:lnTo>
                  <a:lnTo>
                    <a:pt x="195" y="457"/>
                  </a:lnTo>
                  <a:lnTo>
                    <a:pt x="152" y="552"/>
                  </a:lnTo>
                  <a:lnTo>
                    <a:pt x="184" y="632"/>
                  </a:lnTo>
                  <a:lnTo>
                    <a:pt x="120" y="680"/>
                  </a:lnTo>
                  <a:lnTo>
                    <a:pt x="144" y="856"/>
                  </a:lnTo>
                  <a:lnTo>
                    <a:pt x="192" y="896"/>
                  </a:lnTo>
                  <a:lnTo>
                    <a:pt x="240" y="976"/>
                  </a:lnTo>
                  <a:lnTo>
                    <a:pt x="216" y="1080"/>
                  </a:lnTo>
                  <a:lnTo>
                    <a:pt x="216" y="1168"/>
                  </a:lnTo>
                  <a:lnTo>
                    <a:pt x="88" y="1200"/>
                  </a:lnTo>
                  <a:lnTo>
                    <a:pt x="40" y="1288"/>
                  </a:lnTo>
                  <a:lnTo>
                    <a:pt x="0" y="1448"/>
                  </a:lnTo>
                  <a:lnTo>
                    <a:pt x="40" y="1552"/>
                  </a:lnTo>
                  <a:lnTo>
                    <a:pt x="120" y="1528"/>
                  </a:lnTo>
                  <a:lnTo>
                    <a:pt x="160" y="1616"/>
                  </a:lnTo>
                  <a:lnTo>
                    <a:pt x="288" y="1616"/>
                  </a:lnTo>
                  <a:lnTo>
                    <a:pt x="424" y="1552"/>
                  </a:lnTo>
                  <a:lnTo>
                    <a:pt x="520" y="1456"/>
                  </a:lnTo>
                  <a:lnTo>
                    <a:pt x="624" y="1448"/>
                  </a:lnTo>
                  <a:lnTo>
                    <a:pt x="728" y="1376"/>
                  </a:lnTo>
                  <a:lnTo>
                    <a:pt x="1006" y="1327"/>
                  </a:lnTo>
                  <a:lnTo>
                    <a:pt x="1048" y="1224"/>
                  </a:lnTo>
                  <a:lnTo>
                    <a:pt x="1112" y="1112"/>
                  </a:lnTo>
                  <a:lnTo>
                    <a:pt x="1160" y="1000"/>
                  </a:lnTo>
                  <a:lnTo>
                    <a:pt x="1144" y="888"/>
                  </a:lnTo>
                  <a:lnTo>
                    <a:pt x="1176" y="768"/>
                  </a:lnTo>
                  <a:lnTo>
                    <a:pt x="1136" y="664"/>
                  </a:lnTo>
                  <a:lnTo>
                    <a:pt x="1088" y="568"/>
                  </a:lnTo>
                  <a:lnTo>
                    <a:pt x="1024" y="528"/>
                  </a:lnTo>
                  <a:lnTo>
                    <a:pt x="984" y="456"/>
                  </a:lnTo>
                  <a:lnTo>
                    <a:pt x="912" y="440"/>
                  </a:lnTo>
                  <a:lnTo>
                    <a:pt x="848" y="496"/>
                  </a:lnTo>
                  <a:lnTo>
                    <a:pt x="776" y="528"/>
                  </a:lnTo>
                  <a:lnTo>
                    <a:pt x="664" y="46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39" name="Freeform 131">
              <a:extLst>
                <a:ext uri="{FF2B5EF4-FFF2-40B4-BE49-F238E27FC236}">
                  <a16:creationId xmlns:a16="http://schemas.microsoft.com/office/drawing/2014/main" id="{54B6E49C-4AC3-6288-F5C2-38932B53A834}"/>
                </a:ext>
              </a:extLst>
            </p:cNvPr>
            <p:cNvSpPr>
              <a:spLocks/>
            </p:cNvSpPr>
            <p:nvPr/>
          </p:nvSpPr>
          <p:spPr bwMode="auto">
            <a:xfrm>
              <a:off x="4280432" y="2375499"/>
              <a:ext cx="71712" cy="59923"/>
            </a:xfrm>
            <a:custGeom>
              <a:avLst/>
              <a:gdLst>
                <a:gd name="T0" fmla="*/ 2147483647 w 161"/>
                <a:gd name="T1" fmla="*/ 0 h 130"/>
                <a:gd name="T2" fmla="*/ 2147483647 w 161"/>
                <a:gd name="T3" fmla="*/ 2147483647 h 130"/>
                <a:gd name="T4" fmla="*/ 2147483647 w 161"/>
                <a:gd name="T5" fmla="*/ 2147483647 h 130"/>
                <a:gd name="T6" fmla="*/ 2147483647 w 161"/>
                <a:gd name="T7" fmla="*/ 2147483647 h 130"/>
                <a:gd name="T8" fmla="*/ 2147483647 w 161"/>
                <a:gd name="T9" fmla="*/ 2147483647 h 130"/>
                <a:gd name="T10" fmla="*/ 2147483647 w 161"/>
                <a:gd name="T11" fmla="*/ 2147483647 h 130"/>
                <a:gd name="T12" fmla="*/ 2147483647 w 161"/>
                <a:gd name="T13" fmla="*/ 2147483647 h 130"/>
                <a:gd name="T14" fmla="*/ 0 w 161"/>
                <a:gd name="T15" fmla="*/ 2147483647 h 130"/>
                <a:gd name="T16" fmla="*/ 2147483647 w 161"/>
                <a:gd name="T17" fmla="*/ 2147483647 h 130"/>
                <a:gd name="T18" fmla="*/ 2147483647 w 161"/>
                <a:gd name="T19" fmla="*/ 2147483647 h 130"/>
                <a:gd name="T20" fmla="*/ 2147483647 w 161"/>
                <a:gd name="T21" fmla="*/ 2147483647 h 130"/>
                <a:gd name="T22" fmla="*/ 2147483647 w 161"/>
                <a:gd name="T23" fmla="*/ 2147483647 h 130"/>
                <a:gd name="T24" fmla="*/ 2147483647 w 161"/>
                <a:gd name="T25" fmla="*/ 2147483647 h 130"/>
                <a:gd name="T26" fmla="*/ 2147483647 w 161"/>
                <a:gd name="T27" fmla="*/ 2147483647 h 130"/>
                <a:gd name="T28" fmla="*/ 2147483647 w 161"/>
                <a:gd name="T29" fmla="*/ 2147483647 h 130"/>
                <a:gd name="T30" fmla="*/ 2147483647 w 161"/>
                <a:gd name="T31" fmla="*/ 2147483647 h 130"/>
                <a:gd name="T32" fmla="*/ 2147483647 w 161"/>
                <a:gd name="T33" fmla="*/ 2147483647 h 130"/>
                <a:gd name="T34" fmla="*/ 2147483647 w 161"/>
                <a:gd name="T35" fmla="*/ 2147483647 h 130"/>
                <a:gd name="T36" fmla="*/ 2147483647 w 161"/>
                <a:gd name="T37" fmla="*/ 2147483647 h 130"/>
                <a:gd name="T38" fmla="*/ 2147483647 w 161"/>
                <a:gd name="T39" fmla="*/ 2147483647 h 130"/>
                <a:gd name="T40" fmla="*/ 2147483647 w 161"/>
                <a:gd name="T41" fmla="*/ 2147483647 h 130"/>
                <a:gd name="T42" fmla="*/ 2147483647 w 161"/>
                <a:gd name="T43" fmla="*/ 2147483647 h 130"/>
                <a:gd name="T44" fmla="*/ 2147483647 w 161"/>
                <a:gd name="T45" fmla="*/ 2147483647 h 130"/>
                <a:gd name="T46" fmla="*/ 2147483647 w 161"/>
                <a:gd name="T47" fmla="*/ 2147483647 h 130"/>
                <a:gd name="T48" fmla="*/ 2147483647 w 161"/>
                <a:gd name="T49" fmla="*/ 2147483647 h 130"/>
                <a:gd name="T50" fmla="*/ 2147483647 w 161"/>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
                <a:gd name="T79" fmla="*/ 0 h 130"/>
                <a:gd name="T80" fmla="*/ 161 w 161"/>
                <a:gd name="T81" fmla="*/ 130 h 1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 h="130">
                  <a:moveTo>
                    <a:pt x="138" y="0"/>
                  </a:moveTo>
                  <a:lnTo>
                    <a:pt x="124" y="9"/>
                  </a:lnTo>
                  <a:lnTo>
                    <a:pt x="106" y="8"/>
                  </a:lnTo>
                  <a:lnTo>
                    <a:pt x="77" y="14"/>
                  </a:lnTo>
                  <a:lnTo>
                    <a:pt x="45" y="26"/>
                  </a:lnTo>
                  <a:lnTo>
                    <a:pt x="32" y="48"/>
                  </a:lnTo>
                  <a:lnTo>
                    <a:pt x="13" y="45"/>
                  </a:lnTo>
                  <a:lnTo>
                    <a:pt x="0" y="58"/>
                  </a:lnTo>
                  <a:lnTo>
                    <a:pt x="9" y="96"/>
                  </a:lnTo>
                  <a:lnTo>
                    <a:pt x="32" y="114"/>
                  </a:lnTo>
                  <a:lnTo>
                    <a:pt x="53" y="111"/>
                  </a:lnTo>
                  <a:lnTo>
                    <a:pt x="69" y="97"/>
                  </a:lnTo>
                  <a:lnTo>
                    <a:pt x="84" y="101"/>
                  </a:lnTo>
                  <a:lnTo>
                    <a:pt x="91" y="118"/>
                  </a:lnTo>
                  <a:lnTo>
                    <a:pt x="105" y="130"/>
                  </a:lnTo>
                  <a:lnTo>
                    <a:pt x="117" y="124"/>
                  </a:lnTo>
                  <a:lnTo>
                    <a:pt x="128" y="123"/>
                  </a:lnTo>
                  <a:lnTo>
                    <a:pt x="142" y="116"/>
                  </a:lnTo>
                  <a:lnTo>
                    <a:pt x="158" y="103"/>
                  </a:lnTo>
                  <a:lnTo>
                    <a:pt x="161" y="93"/>
                  </a:lnTo>
                  <a:lnTo>
                    <a:pt x="160" y="79"/>
                  </a:lnTo>
                  <a:lnTo>
                    <a:pt x="149" y="68"/>
                  </a:lnTo>
                  <a:lnTo>
                    <a:pt x="154" y="58"/>
                  </a:lnTo>
                  <a:lnTo>
                    <a:pt x="157" y="40"/>
                  </a:lnTo>
                  <a:lnTo>
                    <a:pt x="146" y="23"/>
                  </a:lnTo>
                  <a:lnTo>
                    <a:pt x="138"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0" name="Freeform 132">
              <a:extLst>
                <a:ext uri="{FF2B5EF4-FFF2-40B4-BE49-F238E27FC236}">
                  <a16:creationId xmlns:a16="http://schemas.microsoft.com/office/drawing/2014/main" id="{CB22C9B8-D725-E568-82E7-C2226760EE8F}"/>
                </a:ext>
              </a:extLst>
            </p:cNvPr>
            <p:cNvSpPr>
              <a:spLocks/>
            </p:cNvSpPr>
            <p:nvPr/>
          </p:nvSpPr>
          <p:spPr bwMode="auto">
            <a:xfrm>
              <a:off x="5051339" y="2509174"/>
              <a:ext cx="452683" cy="320361"/>
            </a:xfrm>
            <a:custGeom>
              <a:avLst/>
              <a:gdLst>
                <a:gd name="T0" fmla="*/ 35 w 1879600"/>
                <a:gd name="T1" fmla="*/ 11 h 1290637"/>
                <a:gd name="T2" fmla="*/ 25 w 1879600"/>
                <a:gd name="T3" fmla="*/ 31 h 1290637"/>
                <a:gd name="T4" fmla="*/ 16 w 1879600"/>
                <a:gd name="T5" fmla="*/ 53 h 1290637"/>
                <a:gd name="T6" fmla="*/ 6 w 1879600"/>
                <a:gd name="T7" fmla="*/ 76 h 1290637"/>
                <a:gd name="T8" fmla="*/ 5 w 1879600"/>
                <a:gd name="T9" fmla="*/ 99 h 1290637"/>
                <a:gd name="T10" fmla="*/ 32 w 1879600"/>
                <a:gd name="T11" fmla="*/ 107 h 1290637"/>
                <a:gd name="T12" fmla="*/ 59 w 1879600"/>
                <a:gd name="T13" fmla="*/ 99 h 1290637"/>
                <a:gd name="T14" fmla="*/ 84 w 1879600"/>
                <a:gd name="T15" fmla="*/ 95 h 1290637"/>
                <a:gd name="T16" fmla="*/ 108 w 1879600"/>
                <a:gd name="T17" fmla="*/ 105 h 1290637"/>
                <a:gd name="T18" fmla="*/ 122 w 1879600"/>
                <a:gd name="T19" fmla="*/ 132 h 1290637"/>
                <a:gd name="T20" fmla="*/ 115 w 1879600"/>
                <a:gd name="T21" fmla="*/ 143 h 1290637"/>
                <a:gd name="T22" fmla="*/ 102 w 1879600"/>
                <a:gd name="T23" fmla="*/ 152 h 1290637"/>
                <a:gd name="T24" fmla="*/ 95 w 1879600"/>
                <a:gd name="T25" fmla="*/ 163 h 1290637"/>
                <a:gd name="T26" fmla="*/ 114 w 1879600"/>
                <a:gd name="T27" fmla="*/ 166 h 1290637"/>
                <a:gd name="T28" fmla="*/ 128 w 1879600"/>
                <a:gd name="T29" fmla="*/ 148 h 1290637"/>
                <a:gd name="T30" fmla="*/ 143 w 1879600"/>
                <a:gd name="T31" fmla="*/ 136 h 1290637"/>
                <a:gd name="T32" fmla="*/ 153 w 1879600"/>
                <a:gd name="T33" fmla="*/ 143 h 1290637"/>
                <a:gd name="T34" fmla="*/ 170 w 1879600"/>
                <a:gd name="T35" fmla="*/ 145 h 1290637"/>
                <a:gd name="T36" fmla="*/ 173 w 1879600"/>
                <a:gd name="T37" fmla="*/ 156 h 1290637"/>
                <a:gd name="T38" fmla="*/ 167 w 1879600"/>
                <a:gd name="T39" fmla="*/ 165 h 1290637"/>
                <a:gd name="T40" fmla="*/ 175 w 1879600"/>
                <a:gd name="T41" fmla="*/ 176 h 1290637"/>
                <a:gd name="T42" fmla="*/ 185 w 1879600"/>
                <a:gd name="T43" fmla="*/ 186 h 1290637"/>
                <a:gd name="T44" fmla="*/ 207 w 1879600"/>
                <a:gd name="T45" fmla="*/ 174 h 1290637"/>
                <a:gd name="T46" fmla="*/ 218 w 1879600"/>
                <a:gd name="T47" fmla="*/ 167 h 1290637"/>
                <a:gd name="T48" fmla="*/ 209 w 1879600"/>
                <a:gd name="T49" fmla="*/ 166 h 1290637"/>
                <a:gd name="T50" fmla="*/ 196 w 1879600"/>
                <a:gd name="T51" fmla="*/ 161 h 1290637"/>
                <a:gd name="T52" fmla="*/ 195 w 1879600"/>
                <a:gd name="T53" fmla="*/ 145 h 1290637"/>
                <a:gd name="T54" fmla="*/ 214 w 1879600"/>
                <a:gd name="T55" fmla="*/ 138 h 1290637"/>
                <a:gd name="T56" fmla="*/ 234 w 1879600"/>
                <a:gd name="T57" fmla="*/ 129 h 1290637"/>
                <a:gd name="T58" fmla="*/ 249 w 1879600"/>
                <a:gd name="T59" fmla="*/ 118 h 1290637"/>
                <a:gd name="T60" fmla="*/ 269 w 1879600"/>
                <a:gd name="T61" fmla="*/ 91 h 1290637"/>
                <a:gd name="T62" fmla="*/ 265 w 1879600"/>
                <a:gd name="T63" fmla="*/ 65 h 1290637"/>
                <a:gd name="T64" fmla="*/ 243 w 1879600"/>
                <a:gd name="T65" fmla="*/ 63 h 1290637"/>
                <a:gd name="T66" fmla="*/ 215 w 1879600"/>
                <a:gd name="T67" fmla="*/ 48 h 1290637"/>
                <a:gd name="T68" fmla="*/ 196 w 1879600"/>
                <a:gd name="T69" fmla="*/ 31 h 1290637"/>
                <a:gd name="T70" fmla="*/ 179 w 1879600"/>
                <a:gd name="T71" fmla="*/ 1 h 1290637"/>
                <a:gd name="T72" fmla="*/ 148 w 1879600"/>
                <a:gd name="T73" fmla="*/ 7 h 1290637"/>
                <a:gd name="T74" fmla="*/ 134 w 1879600"/>
                <a:gd name="T75" fmla="*/ 11 h 1290637"/>
                <a:gd name="T76" fmla="*/ 130 w 1879600"/>
                <a:gd name="T77" fmla="*/ 21 h 1290637"/>
                <a:gd name="T78" fmla="*/ 113 w 1879600"/>
                <a:gd name="T79" fmla="*/ 19 h 1290637"/>
                <a:gd name="T80" fmla="*/ 103 w 1879600"/>
                <a:gd name="T81" fmla="*/ 16 h 1290637"/>
                <a:gd name="T82" fmla="*/ 88 w 1879600"/>
                <a:gd name="T83" fmla="*/ 12 h 1290637"/>
                <a:gd name="T84" fmla="*/ 66 w 1879600"/>
                <a:gd name="T85" fmla="*/ 8 h 12906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79600"/>
                <a:gd name="T130" fmla="*/ 0 h 1290637"/>
                <a:gd name="T131" fmla="*/ 1879600 w 1879600"/>
                <a:gd name="T132" fmla="*/ 1290637 h 12906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79600" h="1290637">
                  <a:moveTo>
                    <a:pt x="331788" y="61912"/>
                  </a:moveTo>
                  <a:lnTo>
                    <a:pt x="277813" y="77787"/>
                  </a:lnTo>
                  <a:lnTo>
                    <a:pt x="239713" y="77787"/>
                  </a:lnTo>
                  <a:lnTo>
                    <a:pt x="207963" y="92075"/>
                  </a:lnTo>
                  <a:lnTo>
                    <a:pt x="182563" y="133350"/>
                  </a:lnTo>
                  <a:lnTo>
                    <a:pt x="174625" y="209550"/>
                  </a:lnTo>
                  <a:lnTo>
                    <a:pt x="201613" y="290512"/>
                  </a:lnTo>
                  <a:lnTo>
                    <a:pt x="165100" y="328612"/>
                  </a:lnTo>
                  <a:lnTo>
                    <a:pt x="111125" y="363537"/>
                  </a:lnTo>
                  <a:lnTo>
                    <a:pt x="61913" y="392112"/>
                  </a:lnTo>
                  <a:lnTo>
                    <a:pt x="57150" y="444500"/>
                  </a:lnTo>
                  <a:lnTo>
                    <a:pt x="39688" y="522287"/>
                  </a:lnTo>
                  <a:lnTo>
                    <a:pt x="0" y="555625"/>
                  </a:lnTo>
                  <a:lnTo>
                    <a:pt x="25400" y="649287"/>
                  </a:lnTo>
                  <a:lnTo>
                    <a:pt x="36451" y="676525"/>
                  </a:lnTo>
                  <a:lnTo>
                    <a:pt x="69850" y="725487"/>
                  </a:lnTo>
                  <a:lnTo>
                    <a:pt x="136525" y="733425"/>
                  </a:lnTo>
                  <a:lnTo>
                    <a:pt x="220663" y="728662"/>
                  </a:lnTo>
                  <a:lnTo>
                    <a:pt x="288925" y="738187"/>
                  </a:lnTo>
                  <a:lnTo>
                    <a:pt x="360363" y="725487"/>
                  </a:lnTo>
                  <a:lnTo>
                    <a:pt x="407988" y="679450"/>
                  </a:lnTo>
                  <a:lnTo>
                    <a:pt x="477838" y="668337"/>
                  </a:lnTo>
                  <a:lnTo>
                    <a:pt x="517525" y="639762"/>
                  </a:lnTo>
                  <a:lnTo>
                    <a:pt x="584200" y="647700"/>
                  </a:lnTo>
                  <a:lnTo>
                    <a:pt x="646113" y="657225"/>
                  </a:lnTo>
                  <a:lnTo>
                    <a:pt x="715963" y="688975"/>
                  </a:lnTo>
                  <a:lnTo>
                    <a:pt x="749300" y="719137"/>
                  </a:lnTo>
                  <a:lnTo>
                    <a:pt x="765175" y="801687"/>
                  </a:lnTo>
                  <a:lnTo>
                    <a:pt x="806450" y="847725"/>
                  </a:lnTo>
                  <a:lnTo>
                    <a:pt x="846138" y="904875"/>
                  </a:lnTo>
                  <a:lnTo>
                    <a:pt x="841375" y="963612"/>
                  </a:lnTo>
                  <a:lnTo>
                    <a:pt x="820738" y="981075"/>
                  </a:lnTo>
                  <a:lnTo>
                    <a:pt x="796925" y="981075"/>
                  </a:lnTo>
                  <a:lnTo>
                    <a:pt x="758825" y="957262"/>
                  </a:lnTo>
                  <a:lnTo>
                    <a:pt x="720725" y="963612"/>
                  </a:lnTo>
                  <a:lnTo>
                    <a:pt x="701675" y="1042987"/>
                  </a:lnTo>
                  <a:lnTo>
                    <a:pt x="684213" y="1073150"/>
                  </a:lnTo>
                  <a:lnTo>
                    <a:pt x="665163" y="1092200"/>
                  </a:lnTo>
                  <a:lnTo>
                    <a:pt x="657225" y="1116012"/>
                  </a:lnTo>
                  <a:lnTo>
                    <a:pt x="696913" y="1135062"/>
                  </a:lnTo>
                  <a:lnTo>
                    <a:pt x="741363" y="1138237"/>
                  </a:lnTo>
                  <a:lnTo>
                    <a:pt x="792163" y="1138237"/>
                  </a:lnTo>
                  <a:lnTo>
                    <a:pt x="820738" y="1077912"/>
                  </a:lnTo>
                  <a:lnTo>
                    <a:pt x="849313" y="1054100"/>
                  </a:lnTo>
                  <a:lnTo>
                    <a:pt x="889000" y="1016000"/>
                  </a:lnTo>
                  <a:lnTo>
                    <a:pt x="915988" y="981075"/>
                  </a:lnTo>
                  <a:lnTo>
                    <a:pt x="963613" y="949325"/>
                  </a:lnTo>
                  <a:lnTo>
                    <a:pt x="987425" y="933450"/>
                  </a:lnTo>
                  <a:lnTo>
                    <a:pt x="1016000" y="903287"/>
                  </a:lnTo>
                  <a:lnTo>
                    <a:pt x="1046163" y="923925"/>
                  </a:lnTo>
                  <a:lnTo>
                    <a:pt x="1057275" y="977900"/>
                  </a:lnTo>
                  <a:lnTo>
                    <a:pt x="1082675" y="1004887"/>
                  </a:lnTo>
                  <a:lnTo>
                    <a:pt x="1120775" y="996950"/>
                  </a:lnTo>
                  <a:lnTo>
                    <a:pt x="1174750" y="992187"/>
                  </a:lnTo>
                  <a:lnTo>
                    <a:pt x="1217613" y="1009650"/>
                  </a:lnTo>
                  <a:lnTo>
                    <a:pt x="1238250" y="1047750"/>
                  </a:lnTo>
                  <a:lnTo>
                    <a:pt x="1198563" y="1066800"/>
                  </a:lnTo>
                  <a:lnTo>
                    <a:pt x="1165225" y="1082675"/>
                  </a:lnTo>
                  <a:lnTo>
                    <a:pt x="1147763" y="1100137"/>
                  </a:lnTo>
                  <a:lnTo>
                    <a:pt x="1152525" y="1131887"/>
                  </a:lnTo>
                  <a:lnTo>
                    <a:pt x="1187450" y="1146175"/>
                  </a:lnTo>
                  <a:lnTo>
                    <a:pt x="1222375" y="1163637"/>
                  </a:lnTo>
                  <a:lnTo>
                    <a:pt x="1211263" y="1206500"/>
                  </a:lnTo>
                  <a:lnTo>
                    <a:pt x="1222375" y="1258887"/>
                  </a:lnTo>
                  <a:lnTo>
                    <a:pt x="1236663" y="1290637"/>
                  </a:lnTo>
                  <a:lnTo>
                    <a:pt x="1281113" y="1270000"/>
                  </a:lnTo>
                  <a:lnTo>
                    <a:pt x="1311275" y="1235075"/>
                  </a:lnTo>
                  <a:lnTo>
                    <a:pt x="1381125" y="1203325"/>
                  </a:lnTo>
                  <a:lnTo>
                    <a:pt x="1430338" y="1190625"/>
                  </a:lnTo>
                  <a:lnTo>
                    <a:pt x="1473200" y="1185862"/>
                  </a:lnTo>
                  <a:lnTo>
                    <a:pt x="1512888" y="1181100"/>
                  </a:lnTo>
                  <a:lnTo>
                    <a:pt x="1511300" y="1144587"/>
                  </a:lnTo>
                  <a:lnTo>
                    <a:pt x="1508125" y="1104900"/>
                  </a:lnTo>
                  <a:lnTo>
                    <a:pt x="1477963" y="1100137"/>
                  </a:lnTo>
                  <a:lnTo>
                    <a:pt x="1446213" y="1133475"/>
                  </a:lnTo>
                  <a:lnTo>
                    <a:pt x="1411288" y="1143000"/>
                  </a:lnTo>
                  <a:lnTo>
                    <a:pt x="1387475" y="1143000"/>
                  </a:lnTo>
                  <a:lnTo>
                    <a:pt x="1355725" y="1101725"/>
                  </a:lnTo>
                  <a:lnTo>
                    <a:pt x="1328738" y="1077912"/>
                  </a:lnTo>
                  <a:lnTo>
                    <a:pt x="1333500" y="1041400"/>
                  </a:lnTo>
                  <a:lnTo>
                    <a:pt x="1346200" y="995362"/>
                  </a:lnTo>
                  <a:lnTo>
                    <a:pt x="1395413" y="965200"/>
                  </a:lnTo>
                  <a:lnTo>
                    <a:pt x="1438275" y="952500"/>
                  </a:lnTo>
                  <a:lnTo>
                    <a:pt x="1482725" y="947737"/>
                  </a:lnTo>
                  <a:lnTo>
                    <a:pt x="1533525" y="911225"/>
                  </a:lnTo>
                  <a:lnTo>
                    <a:pt x="1585913" y="915987"/>
                  </a:lnTo>
                  <a:lnTo>
                    <a:pt x="1616075" y="882650"/>
                  </a:lnTo>
                  <a:lnTo>
                    <a:pt x="1671638" y="874712"/>
                  </a:lnTo>
                  <a:lnTo>
                    <a:pt x="1706563" y="842962"/>
                  </a:lnTo>
                  <a:lnTo>
                    <a:pt x="1722438" y="806450"/>
                  </a:lnTo>
                  <a:lnTo>
                    <a:pt x="1849438" y="752475"/>
                  </a:lnTo>
                  <a:lnTo>
                    <a:pt x="1879600" y="685800"/>
                  </a:lnTo>
                  <a:lnTo>
                    <a:pt x="1860550" y="623887"/>
                  </a:lnTo>
                  <a:lnTo>
                    <a:pt x="1865313" y="530225"/>
                  </a:lnTo>
                  <a:lnTo>
                    <a:pt x="1879600" y="471487"/>
                  </a:lnTo>
                  <a:lnTo>
                    <a:pt x="1836738" y="444500"/>
                  </a:lnTo>
                  <a:lnTo>
                    <a:pt x="1797050" y="454025"/>
                  </a:lnTo>
                  <a:lnTo>
                    <a:pt x="1728788" y="423862"/>
                  </a:lnTo>
                  <a:lnTo>
                    <a:pt x="1679575" y="428625"/>
                  </a:lnTo>
                  <a:lnTo>
                    <a:pt x="1614488" y="342900"/>
                  </a:lnTo>
                  <a:lnTo>
                    <a:pt x="1544638" y="330200"/>
                  </a:lnTo>
                  <a:lnTo>
                    <a:pt x="1487488" y="330200"/>
                  </a:lnTo>
                  <a:lnTo>
                    <a:pt x="1439863" y="268287"/>
                  </a:lnTo>
                  <a:lnTo>
                    <a:pt x="1403350" y="239712"/>
                  </a:lnTo>
                  <a:lnTo>
                    <a:pt x="1354138" y="209550"/>
                  </a:lnTo>
                  <a:lnTo>
                    <a:pt x="1265238" y="166687"/>
                  </a:lnTo>
                  <a:lnTo>
                    <a:pt x="1282700" y="90487"/>
                  </a:lnTo>
                  <a:lnTo>
                    <a:pt x="1239838" y="9525"/>
                  </a:lnTo>
                  <a:lnTo>
                    <a:pt x="1184275" y="0"/>
                  </a:lnTo>
                  <a:lnTo>
                    <a:pt x="1116013" y="47625"/>
                  </a:lnTo>
                  <a:lnTo>
                    <a:pt x="1020763" y="47625"/>
                  </a:lnTo>
                  <a:lnTo>
                    <a:pt x="996950" y="14287"/>
                  </a:lnTo>
                  <a:lnTo>
                    <a:pt x="947738" y="42862"/>
                  </a:lnTo>
                  <a:lnTo>
                    <a:pt x="923925" y="73025"/>
                  </a:lnTo>
                  <a:lnTo>
                    <a:pt x="920750" y="109537"/>
                  </a:lnTo>
                  <a:lnTo>
                    <a:pt x="927100" y="142875"/>
                  </a:lnTo>
                  <a:lnTo>
                    <a:pt x="896938" y="146050"/>
                  </a:lnTo>
                  <a:lnTo>
                    <a:pt x="863600" y="111125"/>
                  </a:lnTo>
                  <a:lnTo>
                    <a:pt x="814388" y="107950"/>
                  </a:lnTo>
                  <a:lnTo>
                    <a:pt x="784225" y="131762"/>
                  </a:lnTo>
                  <a:lnTo>
                    <a:pt x="763588" y="85725"/>
                  </a:lnTo>
                  <a:lnTo>
                    <a:pt x="735013" y="92075"/>
                  </a:lnTo>
                  <a:lnTo>
                    <a:pt x="712788" y="112712"/>
                  </a:lnTo>
                  <a:lnTo>
                    <a:pt x="692150" y="82550"/>
                  </a:lnTo>
                  <a:lnTo>
                    <a:pt x="655638" y="82550"/>
                  </a:lnTo>
                  <a:lnTo>
                    <a:pt x="609600" y="85725"/>
                  </a:lnTo>
                  <a:lnTo>
                    <a:pt x="558800" y="57150"/>
                  </a:lnTo>
                  <a:lnTo>
                    <a:pt x="511175" y="82550"/>
                  </a:lnTo>
                  <a:lnTo>
                    <a:pt x="458788" y="53975"/>
                  </a:lnTo>
                  <a:lnTo>
                    <a:pt x="392113" y="53975"/>
                  </a:lnTo>
                  <a:lnTo>
                    <a:pt x="331788" y="6191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1" name="Freeform 133">
              <a:extLst>
                <a:ext uri="{FF2B5EF4-FFF2-40B4-BE49-F238E27FC236}">
                  <a16:creationId xmlns:a16="http://schemas.microsoft.com/office/drawing/2014/main" id="{4D1C8A6E-CCB2-BA15-18CF-0524164AF32F}"/>
                </a:ext>
              </a:extLst>
            </p:cNvPr>
            <p:cNvSpPr>
              <a:spLocks/>
            </p:cNvSpPr>
            <p:nvPr/>
          </p:nvSpPr>
          <p:spPr bwMode="auto">
            <a:xfrm>
              <a:off x="5084954" y="2336317"/>
              <a:ext cx="233065" cy="209735"/>
            </a:xfrm>
            <a:custGeom>
              <a:avLst/>
              <a:gdLst>
                <a:gd name="T0" fmla="*/ 2147483647 w 610"/>
                <a:gd name="T1" fmla="*/ 2147483647 h 532"/>
                <a:gd name="T2" fmla="*/ 2147483647 w 610"/>
                <a:gd name="T3" fmla="*/ 2147483647 h 532"/>
                <a:gd name="T4" fmla="*/ 2147483647 w 610"/>
                <a:gd name="T5" fmla="*/ 2147483647 h 532"/>
                <a:gd name="T6" fmla="*/ 2147483647 w 610"/>
                <a:gd name="T7" fmla="*/ 2147483647 h 532"/>
                <a:gd name="T8" fmla="*/ 2147483647 w 610"/>
                <a:gd name="T9" fmla="*/ 2147483647 h 532"/>
                <a:gd name="T10" fmla="*/ 2147483647 w 610"/>
                <a:gd name="T11" fmla="*/ 2147483647 h 532"/>
                <a:gd name="T12" fmla="*/ 2147483647 w 610"/>
                <a:gd name="T13" fmla="*/ 2147483647 h 532"/>
                <a:gd name="T14" fmla="*/ 2147483647 w 610"/>
                <a:gd name="T15" fmla="*/ 2147483647 h 532"/>
                <a:gd name="T16" fmla="*/ 2147483647 w 610"/>
                <a:gd name="T17" fmla="*/ 2147483647 h 532"/>
                <a:gd name="T18" fmla="*/ 2147483647 w 610"/>
                <a:gd name="T19" fmla="*/ 2147483647 h 532"/>
                <a:gd name="T20" fmla="*/ 2147483647 w 610"/>
                <a:gd name="T21" fmla="*/ 2147483647 h 532"/>
                <a:gd name="T22" fmla="*/ 2147483647 w 610"/>
                <a:gd name="T23" fmla="*/ 2147483647 h 532"/>
                <a:gd name="T24" fmla="*/ 2147483647 w 610"/>
                <a:gd name="T25" fmla="*/ 2147483647 h 532"/>
                <a:gd name="T26" fmla="*/ 2147483647 w 610"/>
                <a:gd name="T27" fmla="*/ 2147483647 h 532"/>
                <a:gd name="T28" fmla="*/ 2147483647 w 610"/>
                <a:gd name="T29" fmla="*/ 2147483647 h 532"/>
                <a:gd name="T30" fmla="*/ 2147483647 w 610"/>
                <a:gd name="T31" fmla="*/ 2147483647 h 532"/>
                <a:gd name="T32" fmla="*/ 2147483647 w 610"/>
                <a:gd name="T33" fmla="*/ 2147483647 h 532"/>
                <a:gd name="T34" fmla="*/ 2147483647 w 610"/>
                <a:gd name="T35" fmla="*/ 2147483647 h 532"/>
                <a:gd name="T36" fmla="*/ 2147483647 w 610"/>
                <a:gd name="T37" fmla="*/ 2147483647 h 532"/>
                <a:gd name="T38" fmla="*/ 2147483647 w 610"/>
                <a:gd name="T39" fmla="*/ 2147483647 h 532"/>
                <a:gd name="T40" fmla="*/ 2147483647 w 610"/>
                <a:gd name="T41" fmla="*/ 2147483647 h 532"/>
                <a:gd name="T42" fmla="*/ 2147483647 w 610"/>
                <a:gd name="T43" fmla="*/ 2147483647 h 532"/>
                <a:gd name="T44" fmla="*/ 2147483647 w 610"/>
                <a:gd name="T45" fmla="*/ 2147483647 h 532"/>
                <a:gd name="T46" fmla="*/ 2147483647 w 610"/>
                <a:gd name="T47" fmla="*/ 2147483647 h 532"/>
                <a:gd name="T48" fmla="*/ 2147483647 w 610"/>
                <a:gd name="T49" fmla="*/ 2147483647 h 532"/>
                <a:gd name="T50" fmla="*/ 2147483647 w 610"/>
                <a:gd name="T51" fmla="*/ 2147483647 h 532"/>
                <a:gd name="T52" fmla="*/ 2147483647 w 610"/>
                <a:gd name="T53" fmla="*/ 2147483647 h 532"/>
                <a:gd name="T54" fmla="*/ 2147483647 w 610"/>
                <a:gd name="T55" fmla="*/ 0 h 532"/>
                <a:gd name="T56" fmla="*/ 2147483647 w 610"/>
                <a:gd name="T57" fmla="*/ 2147483647 h 532"/>
                <a:gd name="T58" fmla="*/ 2147483647 w 610"/>
                <a:gd name="T59" fmla="*/ 2147483647 h 532"/>
                <a:gd name="T60" fmla="*/ 2147483647 w 610"/>
                <a:gd name="T61" fmla="*/ 2147483647 h 532"/>
                <a:gd name="T62" fmla="*/ 2147483647 w 610"/>
                <a:gd name="T63" fmla="*/ 2147483647 h 532"/>
                <a:gd name="T64" fmla="*/ 2147483647 w 610"/>
                <a:gd name="T65" fmla="*/ 2147483647 h 532"/>
                <a:gd name="T66" fmla="*/ 2147483647 w 610"/>
                <a:gd name="T67" fmla="*/ 2147483647 h 532"/>
                <a:gd name="T68" fmla="*/ 2147483647 w 610"/>
                <a:gd name="T69" fmla="*/ 2147483647 h 532"/>
                <a:gd name="T70" fmla="*/ 2147483647 w 610"/>
                <a:gd name="T71" fmla="*/ 2147483647 h 532"/>
                <a:gd name="T72" fmla="*/ 2147483647 w 610"/>
                <a:gd name="T73" fmla="*/ 2147483647 h 532"/>
                <a:gd name="T74" fmla="*/ 2147483647 w 610"/>
                <a:gd name="T75" fmla="*/ 2147483647 h 532"/>
                <a:gd name="T76" fmla="*/ 2147483647 w 610"/>
                <a:gd name="T77" fmla="*/ 2147483647 h 532"/>
                <a:gd name="T78" fmla="*/ 2147483647 w 610"/>
                <a:gd name="T79" fmla="*/ 2147483647 h 532"/>
                <a:gd name="T80" fmla="*/ 2147483647 w 610"/>
                <a:gd name="T81" fmla="*/ 2147483647 h 532"/>
                <a:gd name="T82" fmla="*/ 2147483647 w 610"/>
                <a:gd name="T83" fmla="*/ 2147483647 h 532"/>
                <a:gd name="T84" fmla="*/ 2147483647 w 610"/>
                <a:gd name="T85" fmla="*/ 2147483647 h 532"/>
                <a:gd name="T86" fmla="*/ 2147483647 w 610"/>
                <a:gd name="T87" fmla="*/ 2147483647 h 532"/>
                <a:gd name="T88" fmla="*/ 2147483647 w 610"/>
                <a:gd name="T89" fmla="*/ 2147483647 h 532"/>
                <a:gd name="T90" fmla="*/ 2147483647 w 610"/>
                <a:gd name="T91" fmla="*/ 2147483647 h 532"/>
                <a:gd name="T92" fmla="*/ 2147483647 w 610"/>
                <a:gd name="T93" fmla="*/ 2147483647 h 532"/>
                <a:gd name="T94" fmla="*/ 2147483647 w 610"/>
                <a:gd name="T95" fmla="*/ 2147483647 h 532"/>
                <a:gd name="T96" fmla="*/ 0 w 610"/>
                <a:gd name="T97" fmla="*/ 2147483647 h 532"/>
                <a:gd name="T98" fmla="*/ 2147483647 w 610"/>
                <a:gd name="T99" fmla="*/ 2147483647 h 532"/>
                <a:gd name="T100" fmla="*/ 2147483647 w 610"/>
                <a:gd name="T101" fmla="*/ 2147483647 h 532"/>
                <a:gd name="T102" fmla="*/ 2147483647 w 610"/>
                <a:gd name="T103" fmla="*/ 2147483647 h 532"/>
                <a:gd name="T104" fmla="*/ 2147483647 w 610"/>
                <a:gd name="T105" fmla="*/ 2147483647 h 532"/>
                <a:gd name="T106" fmla="*/ 2147483647 w 610"/>
                <a:gd name="T107" fmla="*/ 2147483647 h 532"/>
                <a:gd name="T108" fmla="*/ 2147483647 w 610"/>
                <a:gd name="T109" fmla="*/ 2147483647 h 532"/>
                <a:gd name="T110" fmla="*/ 2147483647 w 610"/>
                <a:gd name="T111" fmla="*/ 2147483647 h 532"/>
                <a:gd name="T112" fmla="*/ 2147483647 w 610"/>
                <a:gd name="T113" fmla="*/ 2147483647 h 532"/>
                <a:gd name="T114" fmla="*/ 2147483647 w 610"/>
                <a:gd name="T115" fmla="*/ 2147483647 h 532"/>
                <a:gd name="T116" fmla="*/ 2147483647 w 610"/>
                <a:gd name="T117" fmla="*/ 2147483647 h 532"/>
                <a:gd name="T118" fmla="*/ 2147483647 w 610"/>
                <a:gd name="T119" fmla="*/ 2147483647 h 532"/>
                <a:gd name="T120" fmla="*/ 2147483647 w 610"/>
                <a:gd name="T121" fmla="*/ 2147483647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10"/>
                <a:gd name="T184" fmla="*/ 0 h 532"/>
                <a:gd name="T185" fmla="*/ 610 w 61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10" h="532">
                  <a:moveTo>
                    <a:pt x="346" y="492"/>
                  </a:moveTo>
                  <a:lnTo>
                    <a:pt x="361" y="510"/>
                  </a:lnTo>
                  <a:lnTo>
                    <a:pt x="373" y="501"/>
                  </a:lnTo>
                  <a:lnTo>
                    <a:pt x="390" y="492"/>
                  </a:lnTo>
                  <a:lnTo>
                    <a:pt x="405" y="525"/>
                  </a:lnTo>
                  <a:lnTo>
                    <a:pt x="424" y="510"/>
                  </a:lnTo>
                  <a:lnTo>
                    <a:pt x="453" y="508"/>
                  </a:lnTo>
                  <a:lnTo>
                    <a:pt x="478" y="532"/>
                  </a:lnTo>
                  <a:lnTo>
                    <a:pt x="499" y="531"/>
                  </a:lnTo>
                  <a:lnTo>
                    <a:pt x="493" y="514"/>
                  </a:lnTo>
                  <a:lnTo>
                    <a:pt x="495" y="489"/>
                  </a:lnTo>
                  <a:lnTo>
                    <a:pt x="508" y="468"/>
                  </a:lnTo>
                  <a:lnTo>
                    <a:pt x="537" y="451"/>
                  </a:lnTo>
                  <a:lnTo>
                    <a:pt x="526" y="423"/>
                  </a:lnTo>
                  <a:lnTo>
                    <a:pt x="517" y="382"/>
                  </a:lnTo>
                  <a:lnTo>
                    <a:pt x="571" y="366"/>
                  </a:lnTo>
                  <a:lnTo>
                    <a:pt x="610" y="348"/>
                  </a:lnTo>
                  <a:lnTo>
                    <a:pt x="592" y="310"/>
                  </a:lnTo>
                  <a:lnTo>
                    <a:pt x="558" y="292"/>
                  </a:lnTo>
                  <a:lnTo>
                    <a:pt x="552" y="255"/>
                  </a:lnTo>
                  <a:lnTo>
                    <a:pt x="529" y="223"/>
                  </a:lnTo>
                  <a:lnTo>
                    <a:pt x="495" y="183"/>
                  </a:lnTo>
                  <a:lnTo>
                    <a:pt x="480" y="148"/>
                  </a:lnTo>
                  <a:lnTo>
                    <a:pt x="495" y="97"/>
                  </a:lnTo>
                  <a:lnTo>
                    <a:pt x="474" y="66"/>
                  </a:lnTo>
                  <a:lnTo>
                    <a:pt x="414" y="40"/>
                  </a:lnTo>
                  <a:lnTo>
                    <a:pt x="349" y="27"/>
                  </a:lnTo>
                  <a:lnTo>
                    <a:pt x="288" y="0"/>
                  </a:lnTo>
                  <a:lnTo>
                    <a:pt x="255" y="27"/>
                  </a:lnTo>
                  <a:lnTo>
                    <a:pt x="226" y="64"/>
                  </a:lnTo>
                  <a:lnTo>
                    <a:pt x="222" y="101"/>
                  </a:lnTo>
                  <a:lnTo>
                    <a:pt x="202" y="130"/>
                  </a:lnTo>
                  <a:lnTo>
                    <a:pt x="187" y="150"/>
                  </a:lnTo>
                  <a:lnTo>
                    <a:pt x="154" y="154"/>
                  </a:lnTo>
                  <a:lnTo>
                    <a:pt x="151" y="181"/>
                  </a:lnTo>
                  <a:lnTo>
                    <a:pt x="159" y="210"/>
                  </a:lnTo>
                  <a:lnTo>
                    <a:pt x="142" y="229"/>
                  </a:lnTo>
                  <a:lnTo>
                    <a:pt x="117" y="247"/>
                  </a:lnTo>
                  <a:lnTo>
                    <a:pt x="90" y="256"/>
                  </a:lnTo>
                  <a:lnTo>
                    <a:pt x="47" y="253"/>
                  </a:lnTo>
                  <a:lnTo>
                    <a:pt x="18" y="265"/>
                  </a:lnTo>
                  <a:lnTo>
                    <a:pt x="10" y="288"/>
                  </a:lnTo>
                  <a:lnTo>
                    <a:pt x="21" y="318"/>
                  </a:lnTo>
                  <a:lnTo>
                    <a:pt x="45" y="346"/>
                  </a:lnTo>
                  <a:lnTo>
                    <a:pt x="27" y="363"/>
                  </a:lnTo>
                  <a:lnTo>
                    <a:pt x="13" y="384"/>
                  </a:lnTo>
                  <a:lnTo>
                    <a:pt x="25" y="406"/>
                  </a:lnTo>
                  <a:lnTo>
                    <a:pt x="12" y="424"/>
                  </a:lnTo>
                  <a:lnTo>
                    <a:pt x="0" y="451"/>
                  </a:lnTo>
                  <a:lnTo>
                    <a:pt x="13" y="486"/>
                  </a:lnTo>
                  <a:lnTo>
                    <a:pt x="27" y="520"/>
                  </a:lnTo>
                  <a:lnTo>
                    <a:pt x="43" y="499"/>
                  </a:lnTo>
                  <a:lnTo>
                    <a:pt x="64" y="489"/>
                  </a:lnTo>
                  <a:lnTo>
                    <a:pt x="90" y="489"/>
                  </a:lnTo>
                  <a:lnTo>
                    <a:pt x="124" y="478"/>
                  </a:lnTo>
                  <a:lnTo>
                    <a:pt x="159" y="477"/>
                  </a:lnTo>
                  <a:lnTo>
                    <a:pt x="198" y="474"/>
                  </a:lnTo>
                  <a:lnTo>
                    <a:pt x="231" y="492"/>
                  </a:lnTo>
                  <a:lnTo>
                    <a:pt x="264" y="475"/>
                  </a:lnTo>
                  <a:lnTo>
                    <a:pt x="295" y="493"/>
                  </a:lnTo>
                  <a:lnTo>
                    <a:pt x="346" y="49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2" name="Freeform 134">
              <a:extLst>
                <a:ext uri="{FF2B5EF4-FFF2-40B4-BE49-F238E27FC236}">
                  <a16:creationId xmlns:a16="http://schemas.microsoft.com/office/drawing/2014/main" id="{665A93A0-0E65-4331-C56B-5E652BEA294B}"/>
                </a:ext>
              </a:extLst>
            </p:cNvPr>
            <p:cNvSpPr>
              <a:spLocks/>
            </p:cNvSpPr>
            <p:nvPr/>
          </p:nvSpPr>
          <p:spPr bwMode="auto">
            <a:xfrm>
              <a:off x="5080471" y="2165764"/>
              <a:ext cx="118774" cy="103715"/>
            </a:xfrm>
            <a:custGeom>
              <a:avLst/>
              <a:gdLst>
                <a:gd name="T0" fmla="*/ 2147483647 w 307"/>
                <a:gd name="T1" fmla="*/ 2147483647 h 265"/>
                <a:gd name="T2" fmla="*/ 2147483647 w 307"/>
                <a:gd name="T3" fmla="*/ 2147483647 h 265"/>
                <a:gd name="T4" fmla="*/ 2147483647 w 307"/>
                <a:gd name="T5" fmla="*/ 2147483647 h 265"/>
                <a:gd name="T6" fmla="*/ 2147483647 w 307"/>
                <a:gd name="T7" fmla="*/ 2147483647 h 265"/>
                <a:gd name="T8" fmla="*/ 2147483647 w 307"/>
                <a:gd name="T9" fmla="*/ 2147483647 h 265"/>
                <a:gd name="T10" fmla="*/ 2147483647 w 307"/>
                <a:gd name="T11" fmla="*/ 2147483647 h 265"/>
                <a:gd name="T12" fmla="*/ 2147483647 w 307"/>
                <a:gd name="T13" fmla="*/ 2147483647 h 265"/>
                <a:gd name="T14" fmla="*/ 2147483647 w 307"/>
                <a:gd name="T15" fmla="*/ 0 h 265"/>
                <a:gd name="T16" fmla="*/ 2147483647 w 307"/>
                <a:gd name="T17" fmla="*/ 2147483647 h 265"/>
                <a:gd name="T18" fmla="*/ 2147483647 w 307"/>
                <a:gd name="T19" fmla="*/ 2147483647 h 265"/>
                <a:gd name="T20" fmla="*/ 2147483647 w 307"/>
                <a:gd name="T21" fmla="*/ 2147483647 h 265"/>
                <a:gd name="T22" fmla="*/ 2147483647 w 307"/>
                <a:gd name="T23" fmla="*/ 2147483647 h 265"/>
                <a:gd name="T24" fmla="*/ 0 w 307"/>
                <a:gd name="T25" fmla="*/ 2147483647 h 265"/>
                <a:gd name="T26" fmla="*/ 2147483647 w 307"/>
                <a:gd name="T27" fmla="*/ 2147483647 h 265"/>
                <a:gd name="T28" fmla="*/ 2147483647 w 307"/>
                <a:gd name="T29" fmla="*/ 2147483647 h 265"/>
                <a:gd name="T30" fmla="*/ 2147483647 w 307"/>
                <a:gd name="T31" fmla="*/ 2147483647 h 265"/>
                <a:gd name="T32" fmla="*/ 2147483647 w 307"/>
                <a:gd name="T33" fmla="*/ 2147483647 h 265"/>
                <a:gd name="T34" fmla="*/ 2147483647 w 307"/>
                <a:gd name="T35" fmla="*/ 2147483647 h 265"/>
                <a:gd name="T36" fmla="*/ 2147483647 w 307"/>
                <a:gd name="T37" fmla="*/ 2147483647 h 265"/>
                <a:gd name="T38" fmla="*/ 2147483647 w 307"/>
                <a:gd name="T39" fmla="*/ 2147483647 h 265"/>
                <a:gd name="T40" fmla="*/ 2147483647 w 307"/>
                <a:gd name="T41" fmla="*/ 2147483647 h 265"/>
                <a:gd name="T42" fmla="*/ 2147483647 w 307"/>
                <a:gd name="T43" fmla="*/ 2147483647 h 265"/>
                <a:gd name="T44" fmla="*/ 2147483647 w 307"/>
                <a:gd name="T45" fmla="*/ 2147483647 h 265"/>
                <a:gd name="T46" fmla="*/ 2147483647 w 307"/>
                <a:gd name="T47" fmla="*/ 2147483647 h 265"/>
                <a:gd name="T48" fmla="*/ 2147483647 w 307"/>
                <a:gd name="T49" fmla="*/ 2147483647 h 265"/>
                <a:gd name="T50" fmla="*/ 2147483647 w 307"/>
                <a:gd name="T51" fmla="*/ 2147483647 h 265"/>
                <a:gd name="T52" fmla="*/ 2147483647 w 307"/>
                <a:gd name="T53" fmla="*/ 2147483647 h 265"/>
                <a:gd name="T54" fmla="*/ 2147483647 w 307"/>
                <a:gd name="T55" fmla="*/ 2147483647 h 265"/>
                <a:gd name="T56" fmla="*/ 2147483647 w 307"/>
                <a:gd name="T57" fmla="*/ 2147483647 h 265"/>
                <a:gd name="T58" fmla="*/ 2147483647 w 307"/>
                <a:gd name="T59" fmla="*/ 2147483647 h 265"/>
                <a:gd name="T60" fmla="*/ 2147483647 w 307"/>
                <a:gd name="T61" fmla="*/ 2147483647 h 265"/>
                <a:gd name="T62" fmla="*/ 2147483647 w 307"/>
                <a:gd name="T63" fmla="*/ 2147483647 h 2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7"/>
                <a:gd name="T97" fmla="*/ 0 h 265"/>
                <a:gd name="T98" fmla="*/ 307 w 307"/>
                <a:gd name="T99" fmla="*/ 265 h 2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7" h="265">
                  <a:moveTo>
                    <a:pt x="307" y="41"/>
                  </a:moveTo>
                  <a:lnTo>
                    <a:pt x="271" y="31"/>
                  </a:lnTo>
                  <a:lnTo>
                    <a:pt x="237" y="23"/>
                  </a:lnTo>
                  <a:lnTo>
                    <a:pt x="216" y="6"/>
                  </a:lnTo>
                  <a:lnTo>
                    <a:pt x="188" y="2"/>
                  </a:lnTo>
                  <a:lnTo>
                    <a:pt x="155" y="3"/>
                  </a:lnTo>
                  <a:lnTo>
                    <a:pt x="140" y="16"/>
                  </a:lnTo>
                  <a:lnTo>
                    <a:pt x="107" y="0"/>
                  </a:lnTo>
                  <a:lnTo>
                    <a:pt x="73" y="7"/>
                  </a:lnTo>
                  <a:lnTo>
                    <a:pt x="59" y="25"/>
                  </a:lnTo>
                  <a:lnTo>
                    <a:pt x="31" y="31"/>
                  </a:lnTo>
                  <a:lnTo>
                    <a:pt x="4" y="46"/>
                  </a:lnTo>
                  <a:lnTo>
                    <a:pt x="0" y="83"/>
                  </a:lnTo>
                  <a:lnTo>
                    <a:pt x="18" y="102"/>
                  </a:lnTo>
                  <a:lnTo>
                    <a:pt x="12" y="134"/>
                  </a:lnTo>
                  <a:lnTo>
                    <a:pt x="35" y="149"/>
                  </a:lnTo>
                  <a:lnTo>
                    <a:pt x="52" y="151"/>
                  </a:lnTo>
                  <a:lnTo>
                    <a:pt x="75" y="148"/>
                  </a:lnTo>
                  <a:lnTo>
                    <a:pt x="85" y="162"/>
                  </a:lnTo>
                  <a:lnTo>
                    <a:pt x="92" y="182"/>
                  </a:lnTo>
                  <a:lnTo>
                    <a:pt x="106" y="188"/>
                  </a:lnTo>
                  <a:lnTo>
                    <a:pt x="137" y="194"/>
                  </a:lnTo>
                  <a:lnTo>
                    <a:pt x="155" y="226"/>
                  </a:lnTo>
                  <a:lnTo>
                    <a:pt x="179" y="241"/>
                  </a:lnTo>
                  <a:lnTo>
                    <a:pt x="202" y="236"/>
                  </a:lnTo>
                  <a:lnTo>
                    <a:pt x="227" y="253"/>
                  </a:lnTo>
                  <a:lnTo>
                    <a:pt x="253" y="256"/>
                  </a:lnTo>
                  <a:lnTo>
                    <a:pt x="269" y="265"/>
                  </a:lnTo>
                  <a:lnTo>
                    <a:pt x="289" y="193"/>
                  </a:lnTo>
                  <a:lnTo>
                    <a:pt x="287" y="166"/>
                  </a:lnTo>
                  <a:lnTo>
                    <a:pt x="290" y="116"/>
                  </a:lnTo>
                  <a:lnTo>
                    <a:pt x="307" y="4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3" name="Freeform 135">
              <a:extLst>
                <a:ext uri="{FF2B5EF4-FFF2-40B4-BE49-F238E27FC236}">
                  <a16:creationId xmlns:a16="http://schemas.microsoft.com/office/drawing/2014/main" id="{3698BDA3-DB53-BA2C-BC65-17175E19F83D}"/>
                </a:ext>
              </a:extLst>
            </p:cNvPr>
            <p:cNvSpPr>
              <a:spLocks/>
            </p:cNvSpPr>
            <p:nvPr/>
          </p:nvSpPr>
          <p:spPr bwMode="auto">
            <a:xfrm>
              <a:off x="5013241" y="2310966"/>
              <a:ext cx="168076" cy="129068"/>
            </a:xfrm>
            <a:custGeom>
              <a:avLst/>
              <a:gdLst>
                <a:gd name="T0" fmla="*/ 2147483647 w 439"/>
                <a:gd name="T1" fmla="*/ 2147483647 h 324"/>
                <a:gd name="T2" fmla="*/ 2147483647 w 439"/>
                <a:gd name="T3" fmla="*/ 2147483647 h 324"/>
                <a:gd name="T4" fmla="*/ 2147483647 w 439"/>
                <a:gd name="T5" fmla="*/ 2147483647 h 324"/>
                <a:gd name="T6" fmla="*/ 2147483647 w 439"/>
                <a:gd name="T7" fmla="*/ 2147483647 h 324"/>
                <a:gd name="T8" fmla="*/ 2147483647 w 439"/>
                <a:gd name="T9" fmla="*/ 2147483647 h 324"/>
                <a:gd name="T10" fmla="*/ 2147483647 w 439"/>
                <a:gd name="T11" fmla="*/ 2147483647 h 324"/>
                <a:gd name="T12" fmla="*/ 2147483647 w 439"/>
                <a:gd name="T13" fmla="*/ 2147483647 h 324"/>
                <a:gd name="T14" fmla="*/ 2147483647 w 439"/>
                <a:gd name="T15" fmla="*/ 2147483647 h 324"/>
                <a:gd name="T16" fmla="*/ 2147483647 w 439"/>
                <a:gd name="T17" fmla="*/ 2147483647 h 324"/>
                <a:gd name="T18" fmla="*/ 2147483647 w 439"/>
                <a:gd name="T19" fmla="*/ 2147483647 h 324"/>
                <a:gd name="T20" fmla="*/ 2147483647 w 439"/>
                <a:gd name="T21" fmla="*/ 2147483647 h 324"/>
                <a:gd name="T22" fmla="*/ 2147483647 w 439"/>
                <a:gd name="T23" fmla="*/ 2147483647 h 324"/>
                <a:gd name="T24" fmla="*/ 2147483647 w 439"/>
                <a:gd name="T25" fmla="*/ 0 h 324"/>
                <a:gd name="T26" fmla="*/ 2147483647 w 439"/>
                <a:gd name="T27" fmla="*/ 2147483647 h 324"/>
                <a:gd name="T28" fmla="*/ 2147483647 w 439"/>
                <a:gd name="T29" fmla="*/ 2147483647 h 324"/>
                <a:gd name="T30" fmla="*/ 2147483647 w 439"/>
                <a:gd name="T31" fmla="*/ 2147483647 h 324"/>
                <a:gd name="T32" fmla="*/ 2147483647 w 439"/>
                <a:gd name="T33" fmla="*/ 2147483647 h 324"/>
                <a:gd name="T34" fmla="*/ 2147483647 w 439"/>
                <a:gd name="T35" fmla="*/ 2147483647 h 324"/>
                <a:gd name="T36" fmla="*/ 2147483647 w 439"/>
                <a:gd name="T37" fmla="*/ 2147483647 h 324"/>
                <a:gd name="T38" fmla="*/ 2147483647 w 439"/>
                <a:gd name="T39" fmla="*/ 2147483647 h 324"/>
                <a:gd name="T40" fmla="*/ 0 w 439"/>
                <a:gd name="T41" fmla="*/ 2147483647 h 324"/>
                <a:gd name="T42" fmla="*/ 2147483647 w 439"/>
                <a:gd name="T43" fmla="*/ 2147483647 h 324"/>
                <a:gd name="T44" fmla="*/ 2147483647 w 439"/>
                <a:gd name="T45" fmla="*/ 2147483647 h 324"/>
                <a:gd name="T46" fmla="*/ 2147483647 w 439"/>
                <a:gd name="T47" fmla="*/ 2147483647 h 324"/>
                <a:gd name="T48" fmla="*/ 2147483647 w 439"/>
                <a:gd name="T49" fmla="*/ 2147483647 h 324"/>
                <a:gd name="T50" fmla="*/ 2147483647 w 439"/>
                <a:gd name="T51" fmla="*/ 2147483647 h 324"/>
                <a:gd name="T52" fmla="*/ 2147483647 w 439"/>
                <a:gd name="T53" fmla="*/ 2147483647 h 324"/>
                <a:gd name="T54" fmla="*/ 2147483647 w 439"/>
                <a:gd name="T55" fmla="*/ 2147483647 h 324"/>
                <a:gd name="T56" fmla="*/ 2147483647 w 439"/>
                <a:gd name="T57" fmla="*/ 2147483647 h 324"/>
                <a:gd name="T58" fmla="*/ 2147483647 w 439"/>
                <a:gd name="T59" fmla="*/ 2147483647 h 324"/>
                <a:gd name="T60" fmla="*/ 2147483647 w 439"/>
                <a:gd name="T61" fmla="*/ 2147483647 h 324"/>
                <a:gd name="T62" fmla="*/ 2147483647 w 439"/>
                <a:gd name="T63" fmla="*/ 2147483647 h 324"/>
                <a:gd name="T64" fmla="*/ 2147483647 w 439"/>
                <a:gd name="T65" fmla="*/ 2147483647 h 324"/>
                <a:gd name="T66" fmla="*/ 2147483647 w 439"/>
                <a:gd name="T67" fmla="*/ 2147483647 h 324"/>
                <a:gd name="T68" fmla="*/ 2147483647 w 439"/>
                <a:gd name="T69" fmla="*/ 2147483647 h 324"/>
                <a:gd name="T70" fmla="*/ 2147483647 w 439"/>
                <a:gd name="T71" fmla="*/ 2147483647 h 324"/>
                <a:gd name="T72" fmla="*/ 2147483647 w 439"/>
                <a:gd name="T73" fmla="*/ 2147483647 h 324"/>
                <a:gd name="T74" fmla="*/ 2147483647 w 439"/>
                <a:gd name="T75" fmla="*/ 2147483647 h 324"/>
                <a:gd name="T76" fmla="*/ 2147483647 w 439"/>
                <a:gd name="T77" fmla="*/ 2147483647 h 324"/>
                <a:gd name="T78" fmla="*/ 2147483647 w 439"/>
                <a:gd name="T79" fmla="*/ 2147483647 h 324"/>
                <a:gd name="T80" fmla="*/ 2147483647 w 439"/>
                <a:gd name="T81" fmla="*/ 2147483647 h 324"/>
                <a:gd name="T82" fmla="*/ 2147483647 w 439"/>
                <a:gd name="T83" fmla="*/ 2147483647 h 324"/>
                <a:gd name="T84" fmla="*/ 2147483647 w 439"/>
                <a:gd name="T85" fmla="*/ 2147483647 h 324"/>
                <a:gd name="T86" fmla="*/ 2147483647 w 439"/>
                <a:gd name="T87" fmla="*/ 2147483647 h 3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9"/>
                <a:gd name="T133" fmla="*/ 0 h 324"/>
                <a:gd name="T134" fmla="*/ 439 w 439"/>
                <a:gd name="T135" fmla="*/ 324 h 3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9" h="324">
                  <a:moveTo>
                    <a:pt x="406" y="164"/>
                  </a:moveTo>
                  <a:lnTo>
                    <a:pt x="415" y="122"/>
                  </a:lnTo>
                  <a:lnTo>
                    <a:pt x="439" y="90"/>
                  </a:lnTo>
                  <a:lnTo>
                    <a:pt x="400" y="93"/>
                  </a:lnTo>
                  <a:lnTo>
                    <a:pt x="341" y="39"/>
                  </a:lnTo>
                  <a:lnTo>
                    <a:pt x="319" y="34"/>
                  </a:lnTo>
                  <a:lnTo>
                    <a:pt x="305" y="6"/>
                  </a:lnTo>
                  <a:lnTo>
                    <a:pt x="286" y="20"/>
                  </a:lnTo>
                  <a:lnTo>
                    <a:pt x="257" y="23"/>
                  </a:lnTo>
                  <a:lnTo>
                    <a:pt x="227" y="6"/>
                  </a:lnTo>
                  <a:lnTo>
                    <a:pt x="205" y="6"/>
                  </a:lnTo>
                  <a:lnTo>
                    <a:pt x="190" y="12"/>
                  </a:lnTo>
                  <a:lnTo>
                    <a:pt x="164" y="0"/>
                  </a:lnTo>
                  <a:lnTo>
                    <a:pt x="125" y="2"/>
                  </a:lnTo>
                  <a:lnTo>
                    <a:pt x="76" y="11"/>
                  </a:lnTo>
                  <a:lnTo>
                    <a:pt x="61" y="30"/>
                  </a:lnTo>
                  <a:lnTo>
                    <a:pt x="37" y="47"/>
                  </a:lnTo>
                  <a:lnTo>
                    <a:pt x="19" y="57"/>
                  </a:lnTo>
                  <a:lnTo>
                    <a:pt x="7" y="78"/>
                  </a:lnTo>
                  <a:lnTo>
                    <a:pt x="13" y="106"/>
                  </a:lnTo>
                  <a:lnTo>
                    <a:pt x="0" y="126"/>
                  </a:lnTo>
                  <a:lnTo>
                    <a:pt x="28" y="137"/>
                  </a:lnTo>
                  <a:lnTo>
                    <a:pt x="63" y="150"/>
                  </a:lnTo>
                  <a:lnTo>
                    <a:pt x="87" y="175"/>
                  </a:lnTo>
                  <a:lnTo>
                    <a:pt x="107" y="164"/>
                  </a:lnTo>
                  <a:lnTo>
                    <a:pt x="122" y="169"/>
                  </a:lnTo>
                  <a:lnTo>
                    <a:pt x="138" y="191"/>
                  </a:lnTo>
                  <a:lnTo>
                    <a:pt x="121" y="236"/>
                  </a:lnTo>
                  <a:lnTo>
                    <a:pt x="126" y="249"/>
                  </a:lnTo>
                  <a:lnTo>
                    <a:pt x="144" y="242"/>
                  </a:lnTo>
                  <a:lnTo>
                    <a:pt x="149" y="261"/>
                  </a:lnTo>
                  <a:lnTo>
                    <a:pt x="164" y="271"/>
                  </a:lnTo>
                  <a:lnTo>
                    <a:pt x="185" y="275"/>
                  </a:lnTo>
                  <a:lnTo>
                    <a:pt x="182" y="314"/>
                  </a:lnTo>
                  <a:lnTo>
                    <a:pt x="206" y="324"/>
                  </a:lnTo>
                  <a:lnTo>
                    <a:pt x="236" y="312"/>
                  </a:lnTo>
                  <a:lnTo>
                    <a:pt x="275" y="315"/>
                  </a:lnTo>
                  <a:lnTo>
                    <a:pt x="310" y="303"/>
                  </a:lnTo>
                  <a:lnTo>
                    <a:pt x="328" y="290"/>
                  </a:lnTo>
                  <a:lnTo>
                    <a:pt x="346" y="270"/>
                  </a:lnTo>
                  <a:lnTo>
                    <a:pt x="337" y="243"/>
                  </a:lnTo>
                  <a:lnTo>
                    <a:pt x="341" y="215"/>
                  </a:lnTo>
                  <a:lnTo>
                    <a:pt x="374" y="207"/>
                  </a:lnTo>
                  <a:lnTo>
                    <a:pt x="406" y="16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4" name="Freeform 136">
              <a:extLst>
                <a:ext uri="{FF2B5EF4-FFF2-40B4-BE49-F238E27FC236}">
                  <a16:creationId xmlns:a16="http://schemas.microsoft.com/office/drawing/2014/main" id="{639410B2-47B5-8AE1-9591-E6FCE6ED7AED}"/>
                </a:ext>
              </a:extLst>
            </p:cNvPr>
            <p:cNvSpPr>
              <a:spLocks/>
            </p:cNvSpPr>
            <p:nvPr/>
          </p:nvSpPr>
          <p:spPr bwMode="auto">
            <a:xfrm>
              <a:off x="5026688" y="2239516"/>
              <a:ext cx="170317" cy="110628"/>
            </a:xfrm>
            <a:custGeom>
              <a:avLst/>
              <a:gdLst>
                <a:gd name="T0" fmla="*/ 2147483647 w 380"/>
                <a:gd name="T1" fmla="*/ 2147483647 h 241"/>
                <a:gd name="T2" fmla="*/ 2147483647 w 380"/>
                <a:gd name="T3" fmla="*/ 2147483647 h 241"/>
                <a:gd name="T4" fmla="*/ 2147483647 w 380"/>
                <a:gd name="T5" fmla="*/ 2147483647 h 241"/>
                <a:gd name="T6" fmla="*/ 2147483647 w 380"/>
                <a:gd name="T7" fmla="*/ 2147483647 h 241"/>
                <a:gd name="T8" fmla="*/ 2147483647 w 380"/>
                <a:gd name="T9" fmla="*/ 2147483647 h 241"/>
                <a:gd name="T10" fmla="*/ 0 w 380"/>
                <a:gd name="T11" fmla="*/ 2147483647 h 241"/>
                <a:gd name="T12" fmla="*/ 2147483647 w 380"/>
                <a:gd name="T13" fmla="*/ 2147483647 h 241"/>
                <a:gd name="T14" fmla="*/ 2147483647 w 380"/>
                <a:gd name="T15" fmla="*/ 2147483647 h 241"/>
                <a:gd name="T16" fmla="*/ 2147483647 w 380"/>
                <a:gd name="T17" fmla="*/ 2147483647 h 241"/>
                <a:gd name="T18" fmla="*/ 2147483647 w 380"/>
                <a:gd name="T19" fmla="*/ 2147483647 h 241"/>
                <a:gd name="T20" fmla="*/ 2147483647 w 380"/>
                <a:gd name="T21" fmla="*/ 2147483647 h 241"/>
                <a:gd name="T22" fmla="*/ 2147483647 w 380"/>
                <a:gd name="T23" fmla="*/ 2147483647 h 241"/>
                <a:gd name="T24" fmla="*/ 2147483647 w 380"/>
                <a:gd name="T25" fmla="*/ 2147483647 h 241"/>
                <a:gd name="T26" fmla="*/ 2147483647 w 380"/>
                <a:gd name="T27" fmla="*/ 2147483647 h 241"/>
                <a:gd name="T28" fmla="*/ 2147483647 w 380"/>
                <a:gd name="T29" fmla="*/ 2147483647 h 241"/>
                <a:gd name="T30" fmla="*/ 2147483647 w 380"/>
                <a:gd name="T31" fmla="*/ 2147483647 h 241"/>
                <a:gd name="T32" fmla="*/ 2147483647 w 380"/>
                <a:gd name="T33" fmla="*/ 2147483647 h 241"/>
                <a:gd name="T34" fmla="*/ 2147483647 w 380"/>
                <a:gd name="T35" fmla="*/ 2147483647 h 241"/>
                <a:gd name="T36" fmla="*/ 2147483647 w 380"/>
                <a:gd name="T37" fmla="*/ 2147483647 h 241"/>
                <a:gd name="T38" fmla="*/ 2147483647 w 380"/>
                <a:gd name="T39" fmla="*/ 2147483647 h 241"/>
                <a:gd name="T40" fmla="*/ 2147483647 w 380"/>
                <a:gd name="T41" fmla="*/ 2147483647 h 241"/>
                <a:gd name="T42" fmla="*/ 2147483647 w 380"/>
                <a:gd name="T43" fmla="*/ 2147483647 h 241"/>
                <a:gd name="T44" fmla="*/ 2147483647 w 380"/>
                <a:gd name="T45" fmla="*/ 2147483647 h 241"/>
                <a:gd name="T46" fmla="*/ 2147483647 w 380"/>
                <a:gd name="T47" fmla="*/ 2147483647 h 241"/>
                <a:gd name="T48" fmla="*/ 2147483647 w 380"/>
                <a:gd name="T49" fmla="*/ 2147483647 h 241"/>
                <a:gd name="T50" fmla="*/ 2147483647 w 380"/>
                <a:gd name="T51" fmla="*/ 2147483647 h 241"/>
                <a:gd name="T52" fmla="*/ 2147483647 w 380"/>
                <a:gd name="T53" fmla="*/ 2147483647 h 241"/>
                <a:gd name="T54" fmla="*/ 2147483647 w 380"/>
                <a:gd name="T55" fmla="*/ 2147483647 h 241"/>
                <a:gd name="T56" fmla="*/ 2147483647 w 380"/>
                <a:gd name="T57" fmla="*/ 2147483647 h 241"/>
                <a:gd name="T58" fmla="*/ 2147483647 w 380"/>
                <a:gd name="T59" fmla="*/ 2147483647 h 241"/>
                <a:gd name="T60" fmla="*/ 2147483647 w 380"/>
                <a:gd name="T61" fmla="*/ 2147483647 h 241"/>
                <a:gd name="T62" fmla="*/ 2147483647 w 380"/>
                <a:gd name="T63" fmla="*/ 2147483647 h 241"/>
                <a:gd name="T64" fmla="*/ 2147483647 w 380"/>
                <a:gd name="T65" fmla="*/ 2147483647 h 241"/>
                <a:gd name="T66" fmla="*/ 2147483647 w 380"/>
                <a:gd name="T67" fmla="*/ 2147483647 h 241"/>
                <a:gd name="T68" fmla="*/ 2147483647 w 380"/>
                <a:gd name="T69" fmla="*/ 2147483647 h 241"/>
                <a:gd name="T70" fmla="*/ 2147483647 w 380"/>
                <a:gd name="T71" fmla="*/ 0 h 241"/>
                <a:gd name="T72" fmla="*/ 2147483647 w 380"/>
                <a:gd name="T73" fmla="*/ 2147483647 h 241"/>
                <a:gd name="T74" fmla="*/ 2147483647 w 380"/>
                <a:gd name="T75" fmla="*/ 2147483647 h 241"/>
                <a:gd name="T76" fmla="*/ 2147483647 w 380"/>
                <a:gd name="T77" fmla="*/ 2147483647 h 241"/>
                <a:gd name="T78" fmla="*/ 2147483647 w 380"/>
                <a:gd name="T79" fmla="*/ 2147483647 h 241"/>
                <a:gd name="T80" fmla="*/ 2147483647 w 380"/>
                <a:gd name="T81" fmla="*/ 2147483647 h 241"/>
                <a:gd name="T82" fmla="*/ 2147483647 w 380"/>
                <a:gd name="T83" fmla="*/ 2147483647 h 241"/>
                <a:gd name="T84" fmla="*/ 2147483647 w 380"/>
                <a:gd name="T85" fmla="*/ 2147483647 h 241"/>
                <a:gd name="T86" fmla="*/ 2147483647 w 380"/>
                <a:gd name="T87" fmla="*/ 2147483647 h 241"/>
                <a:gd name="T88" fmla="*/ 2147483647 w 380"/>
                <a:gd name="T89" fmla="*/ 2147483647 h 241"/>
                <a:gd name="T90" fmla="*/ 2147483647 w 380"/>
                <a:gd name="T91" fmla="*/ 2147483647 h 241"/>
                <a:gd name="T92" fmla="*/ 2147483647 w 380"/>
                <a:gd name="T93" fmla="*/ 2147483647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0"/>
                <a:gd name="T142" fmla="*/ 0 h 241"/>
                <a:gd name="T143" fmla="*/ 380 w 380"/>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0" h="241">
                  <a:moveTo>
                    <a:pt x="65" y="39"/>
                  </a:moveTo>
                  <a:lnTo>
                    <a:pt x="42" y="56"/>
                  </a:lnTo>
                  <a:lnTo>
                    <a:pt x="34" y="94"/>
                  </a:lnTo>
                  <a:lnTo>
                    <a:pt x="16" y="119"/>
                  </a:lnTo>
                  <a:lnTo>
                    <a:pt x="1" y="141"/>
                  </a:lnTo>
                  <a:lnTo>
                    <a:pt x="0" y="165"/>
                  </a:lnTo>
                  <a:lnTo>
                    <a:pt x="5" y="196"/>
                  </a:lnTo>
                  <a:lnTo>
                    <a:pt x="19" y="187"/>
                  </a:lnTo>
                  <a:lnTo>
                    <a:pt x="33" y="172"/>
                  </a:lnTo>
                  <a:lnTo>
                    <a:pt x="56" y="167"/>
                  </a:lnTo>
                  <a:lnTo>
                    <a:pt x="84" y="162"/>
                  </a:lnTo>
                  <a:lnTo>
                    <a:pt x="108" y="162"/>
                  </a:lnTo>
                  <a:lnTo>
                    <a:pt x="131" y="174"/>
                  </a:lnTo>
                  <a:lnTo>
                    <a:pt x="143" y="166"/>
                  </a:lnTo>
                  <a:lnTo>
                    <a:pt x="159" y="166"/>
                  </a:lnTo>
                  <a:lnTo>
                    <a:pt x="180" y="178"/>
                  </a:lnTo>
                  <a:lnTo>
                    <a:pt x="196" y="182"/>
                  </a:lnTo>
                  <a:lnTo>
                    <a:pt x="215" y="178"/>
                  </a:lnTo>
                  <a:lnTo>
                    <a:pt x="229" y="169"/>
                  </a:lnTo>
                  <a:lnTo>
                    <a:pt x="241" y="193"/>
                  </a:lnTo>
                  <a:lnTo>
                    <a:pt x="259" y="195"/>
                  </a:lnTo>
                  <a:lnTo>
                    <a:pt x="277" y="209"/>
                  </a:lnTo>
                  <a:lnTo>
                    <a:pt x="299" y="228"/>
                  </a:lnTo>
                  <a:lnTo>
                    <a:pt x="312" y="241"/>
                  </a:lnTo>
                  <a:lnTo>
                    <a:pt x="331" y="239"/>
                  </a:lnTo>
                  <a:lnTo>
                    <a:pt x="349" y="238"/>
                  </a:lnTo>
                  <a:lnTo>
                    <a:pt x="380" y="211"/>
                  </a:lnTo>
                  <a:lnTo>
                    <a:pt x="377" y="113"/>
                  </a:lnTo>
                  <a:lnTo>
                    <a:pt x="357" y="71"/>
                  </a:lnTo>
                  <a:lnTo>
                    <a:pt x="338" y="63"/>
                  </a:lnTo>
                  <a:lnTo>
                    <a:pt x="318" y="61"/>
                  </a:lnTo>
                  <a:lnTo>
                    <a:pt x="298" y="47"/>
                  </a:lnTo>
                  <a:lnTo>
                    <a:pt x="277" y="48"/>
                  </a:lnTo>
                  <a:lnTo>
                    <a:pt x="256" y="38"/>
                  </a:lnTo>
                  <a:lnTo>
                    <a:pt x="242" y="3"/>
                  </a:lnTo>
                  <a:lnTo>
                    <a:pt x="207" y="0"/>
                  </a:lnTo>
                  <a:lnTo>
                    <a:pt x="200" y="21"/>
                  </a:lnTo>
                  <a:lnTo>
                    <a:pt x="193" y="37"/>
                  </a:lnTo>
                  <a:lnTo>
                    <a:pt x="183" y="66"/>
                  </a:lnTo>
                  <a:lnTo>
                    <a:pt x="193" y="93"/>
                  </a:lnTo>
                  <a:lnTo>
                    <a:pt x="174" y="108"/>
                  </a:lnTo>
                  <a:lnTo>
                    <a:pt x="160" y="126"/>
                  </a:lnTo>
                  <a:lnTo>
                    <a:pt x="138" y="129"/>
                  </a:lnTo>
                  <a:lnTo>
                    <a:pt x="121" y="103"/>
                  </a:lnTo>
                  <a:lnTo>
                    <a:pt x="112" y="80"/>
                  </a:lnTo>
                  <a:lnTo>
                    <a:pt x="81" y="58"/>
                  </a:lnTo>
                  <a:lnTo>
                    <a:pt x="65" y="3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5" name="Freeform 137">
              <a:extLst>
                <a:ext uri="{FF2B5EF4-FFF2-40B4-BE49-F238E27FC236}">
                  <a16:creationId xmlns:a16="http://schemas.microsoft.com/office/drawing/2014/main" id="{2DECB08B-52D1-4EDD-E502-F1AE389C6D79}"/>
                </a:ext>
              </a:extLst>
            </p:cNvPr>
            <p:cNvSpPr>
              <a:spLocks/>
            </p:cNvSpPr>
            <p:nvPr/>
          </p:nvSpPr>
          <p:spPr bwMode="auto">
            <a:xfrm>
              <a:off x="4957217" y="2350146"/>
              <a:ext cx="109809" cy="55315"/>
            </a:xfrm>
            <a:custGeom>
              <a:avLst/>
              <a:gdLst>
                <a:gd name="T0" fmla="*/ 2147483647 w 284"/>
                <a:gd name="T1" fmla="*/ 2147483647 h 138"/>
                <a:gd name="T2" fmla="*/ 2147483647 w 284"/>
                <a:gd name="T3" fmla="*/ 0 h 138"/>
                <a:gd name="T4" fmla="*/ 2147483647 w 284"/>
                <a:gd name="T5" fmla="*/ 2147483647 h 138"/>
                <a:gd name="T6" fmla="*/ 2147483647 w 284"/>
                <a:gd name="T7" fmla="*/ 2147483647 h 138"/>
                <a:gd name="T8" fmla="*/ 2147483647 w 284"/>
                <a:gd name="T9" fmla="*/ 2147483647 h 138"/>
                <a:gd name="T10" fmla="*/ 2147483647 w 284"/>
                <a:gd name="T11" fmla="*/ 2147483647 h 138"/>
                <a:gd name="T12" fmla="*/ 2147483647 w 284"/>
                <a:gd name="T13" fmla="*/ 2147483647 h 138"/>
                <a:gd name="T14" fmla="*/ 2147483647 w 284"/>
                <a:gd name="T15" fmla="*/ 2147483647 h 138"/>
                <a:gd name="T16" fmla="*/ 2147483647 w 284"/>
                <a:gd name="T17" fmla="*/ 2147483647 h 138"/>
                <a:gd name="T18" fmla="*/ 2147483647 w 284"/>
                <a:gd name="T19" fmla="*/ 2147483647 h 138"/>
                <a:gd name="T20" fmla="*/ 2147483647 w 284"/>
                <a:gd name="T21" fmla="*/ 2147483647 h 138"/>
                <a:gd name="T22" fmla="*/ 2147483647 w 284"/>
                <a:gd name="T23" fmla="*/ 2147483647 h 138"/>
                <a:gd name="T24" fmla="*/ 2147483647 w 284"/>
                <a:gd name="T25" fmla="*/ 2147483647 h 138"/>
                <a:gd name="T26" fmla="*/ 0 w 284"/>
                <a:gd name="T27" fmla="*/ 2147483647 h 138"/>
                <a:gd name="T28" fmla="*/ 2147483647 w 284"/>
                <a:gd name="T29" fmla="*/ 2147483647 h 138"/>
                <a:gd name="T30" fmla="*/ 2147483647 w 284"/>
                <a:gd name="T31" fmla="*/ 2147483647 h 138"/>
                <a:gd name="T32" fmla="*/ 2147483647 w 284"/>
                <a:gd name="T33" fmla="*/ 2147483647 h 138"/>
                <a:gd name="T34" fmla="*/ 2147483647 w 284"/>
                <a:gd name="T35" fmla="*/ 2147483647 h 138"/>
                <a:gd name="T36" fmla="*/ 2147483647 w 284"/>
                <a:gd name="T37" fmla="*/ 2147483647 h 138"/>
                <a:gd name="T38" fmla="*/ 2147483647 w 284"/>
                <a:gd name="T39" fmla="*/ 2147483647 h 138"/>
                <a:gd name="T40" fmla="*/ 2147483647 w 284"/>
                <a:gd name="T41" fmla="*/ 2147483647 h 138"/>
                <a:gd name="T42" fmla="*/ 2147483647 w 284"/>
                <a:gd name="T43" fmla="*/ 2147483647 h 138"/>
                <a:gd name="T44" fmla="*/ 2147483647 w 284"/>
                <a:gd name="T45" fmla="*/ 2147483647 h 138"/>
                <a:gd name="T46" fmla="*/ 2147483647 w 284"/>
                <a:gd name="T47" fmla="*/ 2147483647 h 138"/>
                <a:gd name="T48" fmla="*/ 2147483647 w 284"/>
                <a:gd name="T49" fmla="*/ 2147483647 h 138"/>
                <a:gd name="T50" fmla="*/ 2147483647 w 284"/>
                <a:gd name="T51" fmla="*/ 2147483647 h 138"/>
                <a:gd name="T52" fmla="*/ 2147483647 w 284"/>
                <a:gd name="T53" fmla="*/ 2147483647 h 138"/>
                <a:gd name="T54" fmla="*/ 2147483647 w 284"/>
                <a:gd name="T55" fmla="*/ 2147483647 h 138"/>
                <a:gd name="T56" fmla="*/ 2147483647 w 284"/>
                <a:gd name="T57" fmla="*/ 2147483647 h 138"/>
                <a:gd name="T58" fmla="*/ 2147483647 w 28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4"/>
                <a:gd name="T91" fmla="*/ 0 h 138"/>
                <a:gd name="T92" fmla="*/ 284 w 28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4" h="138">
                  <a:moveTo>
                    <a:pt x="119" y="7"/>
                  </a:moveTo>
                  <a:lnTo>
                    <a:pt x="86" y="0"/>
                  </a:lnTo>
                  <a:lnTo>
                    <a:pt x="72" y="12"/>
                  </a:lnTo>
                  <a:lnTo>
                    <a:pt x="59" y="11"/>
                  </a:lnTo>
                  <a:lnTo>
                    <a:pt x="58" y="25"/>
                  </a:lnTo>
                  <a:lnTo>
                    <a:pt x="46" y="24"/>
                  </a:lnTo>
                  <a:lnTo>
                    <a:pt x="20" y="22"/>
                  </a:lnTo>
                  <a:lnTo>
                    <a:pt x="19" y="36"/>
                  </a:lnTo>
                  <a:lnTo>
                    <a:pt x="18" y="49"/>
                  </a:lnTo>
                  <a:lnTo>
                    <a:pt x="29" y="50"/>
                  </a:lnTo>
                  <a:lnTo>
                    <a:pt x="41" y="59"/>
                  </a:lnTo>
                  <a:lnTo>
                    <a:pt x="28" y="71"/>
                  </a:lnTo>
                  <a:lnTo>
                    <a:pt x="19" y="80"/>
                  </a:lnTo>
                  <a:lnTo>
                    <a:pt x="0" y="97"/>
                  </a:lnTo>
                  <a:lnTo>
                    <a:pt x="24" y="117"/>
                  </a:lnTo>
                  <a:lnTo>
                    <a:pt x="48" y="114"/>
                  </a:lnTo>
                  <a:lnTo>
                    <a:pt x="62" y="133"/>
                  </a:lnTo>
                  <a:lnTo>
                    <a:pt x="107" y="123"/>
                  </a:lnTo>
                  <a:lnTo>
                    <a:pt x="164" y="130"/>
                  </a:lnTo>
                  <a:lnTo>
                    <a:pt x="201" y="130"/>
                  </a:lnTo>
                  <a:lnTo>
                    <a:pt x="231" y="129"/>
                  </a:lnTo>
                  <a:lnTo>
                    <a:pt x="269" y="138"/>
                  </a:lnTo>
                  <a:lnTo>
                    <a:pt x="284" y="94"/>
                  </a:lnTo>
                  <a:lnTo>
                    <a:pt x="272" y="70"/>
                  </a:lnTo>
                  <a:lnTo>
                    <a:pt x="254" y="69"/>
                  </a:lnTo>
                  <a:lnTo>
                    <a:pt x="233" y="78"/>
                  </a:lnTo>
                  <a:lnTo>
                    <a:pt x="213" y="51"/>
                  </a:lnTo>
                  <a:lnTo>
                    <a:pt x="188" y="43"/>
                  </a:lnTo>
                  <a:lnTo>
                    <a:pt x="153" y="28"/>
                  </a:lnTo>
                  <a:lnTo>
                    <a:pt x="119" y="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6" name="Freeform 138">
              <a:extLst>
                <a:ext uri="{FF2B5EF4-FFF2-40B4-BE49-F238E27FC236}">
                  <a16:creationId xmlns:a16="http://schemas.microsoft.com/office/drawing/2014/main" id="{43FBA714-BFD0-12FB-D142-B6CD99F293C1}"/>
                </a:ext>
              </a:extLst>
            </p:cNvPr>
            <p:cNvSpPr>
              <a:spLocks/>
            </p:cNvSpPr>
            <p:nvPr/>
          </p:nvSpPr>
          <p:spPr bwMode="auto">
            <a:xfrm>
              <a:off x="4847406" y="2363974"/>
              <a:ext cx="255475" cy="281181"/>
            </a:xfrm>
            <a:custGeom>
              <a:avLst/>
              <a:gdLst>
                <a:gd name="T0" fmla="*/ 78 w 1058863"/>
                <a:gd name="T1" fmla="*/ 18 h 1138238"/>
                <a:gd name="T2" fmla="*/ 65 w 1058863"/>
                <a:gd name="T3" fmla="*/ 14 h 1138238"/>
                <a:gd name="T4" fmla="*/ 52 w 1058863"/>
                <a:gd name="T5" fmla="*/ 0 h 1138238"/>
                <a:gd name="T6" fmla="*/ 40 w 1058863"/>
                <a:gd name="T7" fmla="*/ 10 h 1138238"/>
                <a:gd name="T8" fmla="*/ 38 w 1058863"/>
                <a:gd name="T9" fmla="*/ 25 h 1138238"/>
                <a:gd name="T10" fmla="*/ 20 w 1058863"/>
                <a:gd name="T11" fmla="*/ 36 h 1138238"/>
                <a:gd name="T12" fmla="*/ 2 w 1058863"/>
                <a:gd name="T13" fmla="*/ 43 h 1138238"/>
                <a:gd name="T14" fmla="*/ 1 w 1058863"/>
                <a:gd name="T15" fmla="*/ 59 h 1138238"/>
                <a:gd name="T16" fmla="*/ 2 w 1058863"/>
                <a:gd name="T17" fmla="*/ 72 h 1138238"/>
                <a:gd name="T18" fmla="*/ 2 w 1058863"/>
                <a:gd name="T19" fmla="*/ 90 h 1138238"/>
                <a:gd name="T20" fmla="*/ 5 w 1058863"/>
                <a:gd name="T21" fmla="*/ 106 h 1138238"/>
                <a:gd name="T22" fmla="*/ 10 w 1058863"/>
                <a:gd name="T23" fmla="*/ 120 h 1138238"/>
                <a:gd name="T24" fmla="*/ 21 w 1058863"/>
                <a:gd name="T25" fmla="*/ 117 h 1138238"/>
                <a:gd name="T26" fmla="*/ 29 w 1058863"/>
                <a:gd name="T27" fmla="*/ 121 h 1138238"/>
                <a:gd name="T28" fmla="*/ 50 w 1058863"/>
                <a:gd name="T29" fmla="*/ 132 h 1138238"/>
                <a:gd name="T30" fmla="*/ 64 w 1058863"/>
                <a:gd name="T31" fmla="*/ 143 h 1138238"/>
                <a:gd name="T32" fmla="*/ 73 w 1058863"/>
                <a:gd name="T33" fmla="*/ 147 h 1138238"/>
                <a:gd name="T34" fmla="*/ 89 w 1058863"/>
                <a:gd name="T35" fmla="*/ 151 h 1138238"/>
                <a:gd name="T36" fmla="*/ 106 w 1058863"/>
                <a:gd name="T37" fmla="*/ 153 h 1138238"/>
                <a:gd name="T38" fmla="*/ 116 w 1058863"/>
                <a:gd name="T39" fmla="*/ 156 h 1138238"/>
                <a:gd name="T40" fmla="*/ 129 w 1058863"/>
                <a:gd name="T41" fmla="*/ 158 h 1138238"/>
                <a:gd name="T42" fmla="*/ 132 w 1058863"/>
                <a:gd name="T43" fmla="*/ 139 h 1138238"/>
                <a:gd name="T44" fmla="*/ 153 w 1058863"/>
                <a:gd name="T45" fmla="*/ 125 h 1138238"/>
                <a:gd name="T46" fmla="*/ 150 w 1058863"/>
                <a:gd name="T47" fmla="*/ 102 h 1138238"/>
                <a:gd name="T48" fmla="*/ 144 w 1058863"/>
                <a:gd name="T49" fmla="*/ 87 h 1138238"/>
                <a:gd name="T50" fmla="*/ 150 w 1058863"/>
                <a:gd name="T51" fmla="*/ 76 h 1138238"/>
                <a:gd name="T52" fmla="*/ 150 w 1058863"/>
                <a:gd name="T53" fmla="*/ 66 h 1138238"/>
                <a:gd name="T54" fmla="*/ 149 w 1058863"/>
                <a:gd name="T55" fmla="*/ 56 h 1138238"/>
                <a:gd name="T56" fmla="*/ 148 w 1058863"/>
                <a:gd name="T57" fmla="*/ 44 h 1138238"/>
                <a:gd name="T58" fmla="*/ 144 w 1058863"/>
                <a:gd name="T59" fmla="*/ 33 h 1138238"/>
                <a:gd name="T60" fmla="*/ 135 w 1058863"/>
                <a:gd name="T61" fmla="*/ 29 h 1138238"/>
                <a:gd name="T62" fmla="*/ 130 w 1058863"/>
                <a:gd name="T63" fmla="*/ 27 h 1138238"/>
                <a:gd name="T64" fmla="*/ 120 w 1058863"/>
                <a:gd name="T65" fmla="*/ 22 h 1138238"/>
                <a:gd name="T66" fmla="*/ 101 w 1058863"/>
                <a:gd name="T67" fmla="*/ 21 h 1138238"/>
                <a:gd name="T68" fmla="*/ 81 w 1058863"/>
                <a:gd name="T69" fmla="*/ 23 h 11382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58863"/>
                <a:gd name="T106" fmla="*/ 0 h 1138238"/>
                <a:gd name="T107" fmla="*/ 1058863 w 1058863"/>
                <a:gd name="T108" fmla="*/ 1138238 h 11382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58863" h="1138238">
                  <a:moveTo>
                    <a:pt x="552450" y="163513"/>
                  </a:moveTo>
                  <a:lnTo>
                    <a:pt x="533400" y="128588"/>
                  </a:lnTo>
                  <a:lnTo>
                    <a:pt x="493713" y="133350"/>
                  </a:lnTo>
                  <a:lnTo>
                    <a:pt x="444500" y="95250"/>
                  </a:lnTo>
                  <a:lnTo>
                    <a:pt x="431800" y="38100"/>
                  </a:lnTo>
                  <a:lnTo>
                    <a:pt x="354013" y="0"/>
                  </a:lnTo>
                  <a:lnTo>
                    <a:pt x="287338" y="15875"/>
                  </a:lnTo>
                  <a:lnTo>
                    <a:pt x="271463" y="66675"/>
                  </a:lnTo>
                  <a:lnTo>
                    <a:pt x="300038" y="128588"/>
                  </a:lnTo>
                  <a:lnTo>
                    <a:pt x="263525" y="177800"/>
                  </a:lnTo>
                  <a:lnTo>
                    <a:pt x="211138" y="223838"/>
                  </a:lnTo>
                  <a:lnTo>
                    <a:pt x="138113" y="254000"/>
                  </a:lnTo>
                  <a:lnTo>
                    <a:pt x="77788" y="271463"/>
                  </a:lnTo>
                  <a:lnTo>
                    <a:pt x="14288" y="303213"/>
                  </a:lnTo>
                  <a:lnTo>
                    <a:pt x="0" y="344488"/>
                  </a:lnTo>
                  <a:lnTo>
                    <a:pt x="6350" y="411163"/>
                  </a:lnTo>
                  <a:lnTo>
                    <a:pt x="20638" y="457200"/>
                  </a:lnTo>
                  <a:lnTo>
                    <a:pt x="15875" y="506413"/>
                  </a:lnTo>
                  <a:lnTo>
                    <a:pt x="19050" y="560388"/>
                  </a:lnTo>
                  <a:lnTo>
                    <a:pt x="15875" y="628650"/>
                  </a:lnTo>
                  <a:lnTo>
                    <a:pt x="39688" y="688975"/>
                  </a:lnTo>
                  <a:lnTo>
                    <a:pt x="38100" y="741363"/>
                  </a:lnTo>
                  <a:lnTo>
                    <a:pt x="44450" y="790575"/>
                  </a:lnTo>
                  <a:lnTo>
                    <a:pt x="67011" y="840831"/>
                  </a:lnTo>
                  <a:lnTo>
                    <a:pt x="104775" y="838200"/>
                  </a:lnTo>
                  <a:lnTo>
                    <a:pt x="145592" y="817019"/>
                  </a:lnTo>
                  <a:lnTo>
                    <a:pt x="176548" y="812256"/>
                  </a:lnTo>
                  <a:lnTo>
                    <a:pt x="200025" y="850900"/>
                  </a:lnTo>
                  <a:lnTo>
                    <a:pt x="277813" y="914400"/>
                  </a:lnTo>
                  <a:lnTo>
                    <a:pt x="342900" y="922338"/>
                  </a:lnTo>
                  <a:lnTo>
                    <a:pt x="395288" y="958850"/>
                  </a:lnTo>
                  <a:lnTo>
                    <a:pt x="441325" y="1004888"/>
                  </a:lnTo>
                  <a:lnTo>
                    <a:pt x="463550" y="1058863"/>
                  </a:lnTo>
                  <a:lnTo>
                    <a:pt x="501650" y="1031875"/>
                  </a:lnTo>
                  <a:lnTo>
                    <a:pt x="561975" y="1081088"/>
                  </a:lnTo>
                  <a:lnTo>
                    <a:pt x="609600" y="1055688"/>
                  </a:lnTo>
                  <a:lnTo>
                    <a:pt x="669925" y="1090613"/>
                  </a:lnTo>
                  <a:lnTo>
                    <a:pt x="723900" y="1073150"/>
                  </a:lnTo>
                  <a:lnTo>
                    <a:pt x="758825" y="1076325"/>
                  </a:lnTo>
                  <a:lnTo>
                    <a:pt x="793750" y="1093788"/>
                  </a:lnTo>
                  <a:lnTo>
                    <a:pt x="842963" y="1138238"/>
                  </a:lnTo>
                  <a:lnTo>
                    <a:pt x="882650" y="1111250"/>
                  </a:lnTo>
                  <a:lnTo>
                    <a:pt x="900113" y="1035050"/>
                  </a:lnTo>
                  <a:lnTo>
                    <a:pt x="906463" y="976313"/>
                  </a:lnTo>
                  <a:lnTo>
                    <a:pt x="1009650" y="915988"/>
                  </a:lnTo>
                  <a:lnTo>
                    <a:pt x="1049338" y="877888"/>
                  </a:lnTo>
                  <a:lnTo>
                    <a:pt x="1020763" y="795338"/>
                  </a:lnTo>
                  <a:lnTo>
                    <a:pt x="1028700" y="715963"/>
                  </a:lnTo>
                  <a:lnTo>
                    <a:pt x="1009650" y="668338"/>
                  </a:lnTo>
                  <a:lnTo>
                    <a:pt x="987425" y="609600"/>
                  </a:lnTo>
                  <a:lnTo>
                    <a:pt x="1004888" y="557213"/>
                  </a:lnTo>
                  <a:lnTo>
                    <a:pt x="1028700" y="534988"/>
                  </a:lnTo>
                  <a:lnTo>
                    <a:pt x="1006475" y="492125"/>
                  </a:lnTo>
                  <a:lnTo>
                    <a:pt x="1030288" y="463550"/>
                  </a:lnTo>
                  <a:lnTo>
                    <a:pt x="1058863" y="439738"/>
                  </a:lnTo>
                  <a:lnTo>
                    <a:pt x="1023938" y="395288"/>
                  </a:lnTo>
                  <a:lnTo>
                    <a:pt x="1001713" y="347663"/>
                  </a:lnTo>
                  <a:lnTo>
                    <a:pt x="1016000" y="306388"/>
                  </a:lnTo>
                  <a:lnTo>
                    <a:pt x="973138" y="290513"/>
                  </a:lnTo>
                  <a:lnTo>
                    <a:pt x="985838" y="230188"/>
                  </a:lnTo>
                  <a:lnTo>
                    <a:pt x="952500" y="225425"/>
                  </a:lnTo>
                  <a:lnTo>
                    <a:pt x="925513" y="204788"/>
                  </a:lnTo>
                  <a:lnTo>
                    <a:pt x="920750" y="177800"/>
                  </a:lnTo>
                  <a:lnTo>
                    <a:pt x="890588" y="190500"/>
                  </a:lnTo>
                  <a:lnTo>
                    <a:pt x="876300" y="165100"/>
                  </a:lnTo>
                  <a:lnTo>
                    <a:pt x="823913" y="153988"/>
                  </a:lnTo>
                  <a:lnTo>
                    <a:pt x="769938" y="157163"/>
                  </a:lnTo>
                  <a:lnTo>
                    <a:pt x="692150" y="150813"/>
                  </a:lnTo>
                  <a:lnTo>
                    <a:pt x="630238" y="142875"/>
                  </a:lnTo>
                  <a:lnTo>
                    <a:pt x="552450" y="16351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7" name="Freeform 139">
              <a:extLst>
                <a:ext uri="{FF2B5EF4-FFF2-40B4-BE49-F238E27FC236}">
                  <a16:creationId xmlns:a16="http://schemas.microsoft.com/office/drawing/2014/main" id="{1AE3B003-639E-55CB-ECDE-23DD76CA2770}"/>
                </a:ext>
              </a:extLst>
            </p:cNvPr>
            <p:cNvSpPr>
              <a:spLocks/>
            </p:cNvSpPr>
            <p:nvPr/>
          </p:nvSpPr>
          <p:spPr bwMode="auto">
            <a:xfrm>
              <a:off x="4638994" y="2400851"/>
              <a:ext cx="224100" cy="304229"/>
            </a:xfrm>
            <a:custGeom>
              <a:avLst/>
              <a:gdLst>
                <a:gd name="T0" fmla="*/ 2147483647 w 500"/>
                <a:gd name="T1" fmla="*/ 2147483647 h 662"/>
                <a:gd name="T2" fmla="*/ 2147483647 w 500"/>
                <a:gd name="T3" fmla="*/ 2147483647 h 662"/>
                <a:gd name="T4" fmla="*/ 2147483647 w 500"/>
                <a:gd name="T5" fmla="*/ 2147483647 h 662"/>
                <a:gd name="T6" fmla="*/ 2147483647 w 500"/>
                <a:gd name="T7" fmla="*/ 2147483647 h 662"/>
                <a:gd name="T8" fmla="*/ 2147483647 w 500"/>
                <a:gd name="T9" fmla="*/ 2147483647 h 662"/>
                <a:gd name="T10" fmla="*/ 2147483647 w 500"/>
                <a:gd name="T11" fmla="*/ 2147483647 h 662"/>
                <a:gd name="T12" fmla="*/ 2147483647 w 500"/>
                <a:gd name="T13" fmla="*/ 2147483647 h 662"/>
                <a:gd name="T14" fmla="*/ 2147483647 w 500"/>
                <a:gd name="T15" fmla="*/ 2147483647 h 662"/>
                <a:gd name="T16" fmla="*/ 2147483647 w 500"/>
                <a:gd name="T17" fmla="*/ 2147483647 h 662"/>
                <a:gd name="T18" fmla="*/ 2147483647 w 500"/>
                <a:gd name="T19" fmla="*/ 2147483647 h 662"/>
                <a:gd name="T20" fmla="*/ 0 w 500"/>
                <a:gd name="T21" fmla="*/ 2147483647 h 662"/>
                <a:gd name="T22" fmla="*/ 2147483647 w 500"/>
                <a:gd name="T23" fmla="*/ 2147483647 h 662"/>
                <a:gd name="T24" fmla="*/ 2147483647 w 500"/>
                <a:gd name="T25" fmla="*/ 2147483647 h 662"/>
                <a:gd name="T26" fmla="*/ 2147483647 w 500"/>
                <a:gd name="T27" fmla="*/ 2147483647 h 662"/>
                <a:gd name="T28" fmla="*/ 2147483647 w 500"/>
                <a:gd name="T29" fmla="*/ 2147483647 h 662"/>
                <a:gd name="T30" fmla="*/ 2147483647 w 500"/>
                <a:gd name="T31" fmla="*/ 2147483647 h 662"/>
                <a:gd name="T32" fmla="*/ 2147483647 w 500"/>
                <a:gd name="T33" fmla="*/ 2147483647 h 662"/>
                <a:gd name="T34" fmla="*/ 2147483647 w 500"/>
                <a:gd name="T35" fmla="*/ 2147483647 h 662"/>
                <a:gd name="T36" fmla="*/ 2147483647 w 500"/>
                <a:gd name="T37" fmla="*/ 2147483647 h 662"/>
                <a:gd name="T38" fmla="*/ 2147483647 w 500"/>
                <a:gd name="T39" fmla="*/ 2147483647 h 662"/>
                <a:gd name="T40" fmla="*/ 2147483647 w 500"/>
                <a:gd name="T41" fmla="*/ 2147483647 h 662"/>
                <a:gd name="T42" fmla="*/ 2147483647 w 500"/>
                <a:gd name="T43" fmla="*/ 2147483647 h 662"/>
                <a:gd name="T44" fmla="*/ 2147483647 w 500"/>
                <a:gd name="T45" fmla="*/ 2147483647 h 662"/>
                <a:gd name="T46" fmla="*/ 2147483647 w 500"/>
                <a:gd name="T47" fmla="*/ 2147483647 h 662"/>
                <a:gd name="T48" fmla="*/ 2147483647 w 500"/>
                <a:gd name="T49" fmla="*/ 2147483647 h 662"/>
                <a:gd name="T50" fmla="*/ 2147483647 w 500"/>
                <a:gd name="T51" fmla="*/ 2147483647 h 662"/>
                <a:gd name="T52" fmla="*/ 2147483647 w 500"/>
                <a:gd name="T53" fmla="*/ 2147483647 h 662"/>
                <a:gd name="T54" fmla="*/ 2147483647 w 500"/>
                <a:gd name="T55" fmla="*/ 2147483647 h 662"/>
                <a:gd name="T56" fmla="*/ 2147483647 w 500"/>
                <a:gd name="T57" fmla="*/ 2147483647 h 662"/>
                <a:gd name="T58" fmla="*/ 2147483647 w 500"/>
                <a:gd name="T59" fmla="*/ 2147483647 h 662"/>
                <a:gd name="T60" fmla="*/ 2147483647 w 500"/>
                <a:gd name="T61" fmla="*/ 2147483647 h 662"/>
                <a:gd name="T62" fmla="*/ 2147483647 w 500"/>
                <a:gd name="T63" fmla="*/ 2147483647 h 662"/>
                <a:gd name="T64" fmla="*/ 2147483647 w 500"/>
                <a:gd name="T65" fmla="*/ 2147483647 h 662"/>
                <a:gd name="T66" fmla="*/ 2147483647 w 500"/>
                <a:gd name="T67" fmla="*/ 2147483647 h 662"/>
                <a:gd name="T68" fmla="*/ 2147483647 w 500"/>
                <a:gd name="T69" fmla="*/ 2147483647 h 662"/>
                <a:gd name="T70" fmla="*/ 2147483647 w 500"/>
                <a:gd name="T71" fmla="*/ 2147483647 h 662"/>
                <a:gd name="T72" fmla="*/ 2147483647 w 500"/>
                <a:gd name="T73" fmla="*/ 2147483647 h 662"/>
                <a:gd name="T74" fmla="*/ 2147483647 w 500"/>
                <a:gd name="T75" fmla="*/ 2147483647 h 662"/>
                <a:gd name="T76" fmla="*/ 2147483647 w 500"/>
                <a:gd name="T77" fmla="*/ 2147483647 h 662"/>
                <a:gd name="T78" fmla="*/ 2147483647 w 500"/>
                <a:gd name="T79" fmla="*/ 2147483647 h 662"/>
                <a:gd name="T80" fmla="*/ 2147483647 w 500"/>
                <a:gd name="T81" fmla="*/ 2147483647 h 662"/>
                <a:gd name="T82" fmla="*/ 2147483647 w 500"/>
                <a:gd name="T83" fmla="*/ 2147483647 h 662"/>
                <a:gd name="T84" fmla="*/ 2147483647 w 500"/>
                <a:gd name="T85" fmla="*/ 2147483647 h 662"/>
                <a:gd name="T86" fmla="*/ 2147483647 w 500"/>
                <a:gd name="T87" fmla="*/ 2147483647 h 662"/>
                <a:gd name="T88" fmla="*/ 2147483647 w 500"/>
                <a:gd name="T89" fmla="*/ 2147483647 h 662"/>
                <a:gd name="T90" fmla="*/ 2147483647 w 500"/>
                <a:gd name="T91" fmla="*/ 2147483647 h 662"/>
                <a:gd name="T92" fmla="*/ 2147483647 w 500"/>
                <a:gd name="T93" fmla="*/ 2147483647 h 6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0"/>
                <a:gd name="T142" fmla="*/ 0 h 662"/>
                <a:gd name="T143" fmla="*/ 927436 w 500"/>
                <a:gd name="T144" fmla="*/ 1259681 h 6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0" h="662">
                  <a:moveTo>
                    <a:pt x="155" y="0"/>
                  </a:moveTo>
                  <a:lnTo>
                    <a:pt x="162" y="28"/>
                  </a:lnTo>
                  <a:lnTo>
                    <a:pt x="169" y="51"/>
                  </a:lnTo>
                  <a:lnTo>
                    <a:pt x="172" y="80"/>
                  </a:lnTo>
                  <a:lnTo>
                    <a:pt x="167" y="102"/>
                  </a:lnTo>
                  <a:lnTo>
                    <a:pt x="155" y="117"/>
                  </a:lnTo>
                  <a:lnTo>
                    <a:pt x="137" y="111"/>
                  </a:lnTo>
                  <a:lnTo>
                    <a:pt x="110" y="110"/>
                  </a:lnTo>
                  <a:lnTo>
                    <a:pt x="89" y="99"/>
                  </a:lnTo>
                  <a:lnTo>
                    <a:pt x="72" y="113"/>
                  </a:lnTo>
                  <a:lnTo>
                    <a:pt x="56" y="135"/>
                  </a:lnTo>
                  <a:lnTo>
                    <a:pt x="58" y="171"/>
                  </a:lnTo>
                  <a:lnTo>
                    <a:pt x="56" y="200"/>
                  </a:lnTo>
                  <a:lnTo>
                    <a:pt x="61" y="230"/>
                  </a:lnTo>
                  <a:lnTo>
                    <a:pt x="46" y="247"/>
                  </a:lnTo>
                  <a:lnTo>
                    <a:pt x="40" y="271"/>
                  </a:lnTo>
                  <a:lnTo>
                    <a:pt x="13" y="281"/>
                  </a:lnTo>
                  <a:lnTo>
                    <a:pt x="23" y="306"/>
                  </a:lnTo>
                  <a:lnTo>
                    <a:pt x="33" y="325"/>
                  </a:lnTo>
                  <a:lnTo>
                    <a:pt x="21" y="341"/>
                  </a:lnTo>
                  <a:lnTo>
                    <a:pt x="3" y="347"/>
                  </a:lnTo>
                  <a:lnTo>
                    <a:pt x="0" y="369"/>
                  </a:lnTo>
                  <a:lnTo>
                    <a:pt x="6" y="387"/>
                  </a:lnTo>
                  <a:lnTo>
                    <a:pt x="24" y="403"/>
                  </a:lnTo>
                  <a:lnTo>
                    <a:pt x="12" y="415"/>
                  </a:lnTo>
                  <a:lnTo>
                    <a:pt x="4" y="444"/>
                  </a:lnTo>
                  <a:lnTo>
                    <a:pt x="7" y="458"/>
                  </a:lnTo>
                  <a:lnTo>
                    <a:pt x="13" y="464"/>
                  </a:lnTo>
                  <a:lnTo>
                    <a:pt x="29" y="503"/>
                  </a:lnTo>
                  <a:lnTo>
                    <a:pt x="46" y="517"/>
                  </a:lnTo>
                  <a:lnTo>
                    <a:pt x="71" y="520"/>
                  </a:lnTo>
                  <a:lnTo>
                    <a:pt x="95" y="536"/>
                  </a:lnTo>
                  <a:lnTo>
                    <a:pt x="95" y="574"/>
                  </a:lnTo>
                  <a:lnTo>
                    <a:pt x="80" y="606"/>
                  </a:lnTo>
                  <a:lnTo>
                    <a:pt x="78" y="634"/>
                  </a:lnTo>
                  <a:lnTo>
                    <a:pt x="76" y="655"/>
                  </a:lnTo>
                  <a:lnTo>
                    <a:pt x="103" y="650"/>
                  </a:lnTo>
                  <a:lnTo>
                    <a:pt x="125" y="648"/>
                  </a:lnTo>
                  <a:lnTo>
                    <a:pt x="144" y="645"/>
                  </a:lnTo>
                  <a:lnTo>
                    <a:pt x="173" y="647"/>
                  </a:lnTo>
                  <a:lnTo>
                    <a:pt x="200" y="651"/>
                  </a:lnTo>
                  <a:lnTo>
                    <a:pt x="228" y="660"/>
                  </a:lnTo>
                  <a:lnTo>
                    <a:pt x="249" y="656"/>
                  </a:lnTo>
                  <a:lnTo>
                    <a:pt x="296" y="662"/>
                  </a:lnTo>
                  <a:lnTo>
                    <a:pt x="347" y="654"/>
                  </a:lnTo>
                  <a:lnTo>
                    <a:pt x="368" y="650"/>
                  </a:lnTo>
                  <a:lnTo>
                    <a:pt x="419" y="639"/>
                  </a:lnTo>
                  <a:lnTo>
                    <a:pt x="406" y="626"/>
                  </a:lnTo>
                  <a:lnTo>
                    <a:pt x="402" y="600"/>
                  </a:lnTo>
                  <a:lnTo>
                    <a:pt x="425" y="579"/>
                  </a:lnTo>
                  <a:lnTo>
                    <a:pt x="436" y="554"/>
                  </a:lnTo>
                  <a:lnTo>
                    <a:pt x="420" y="531"/>
                  </a:lnTo>
                  <a:lnTo>
                    <a:pt x="400" y="511"/>
                  </a:lnTo>
                  <a:lnTo>
                    <a:pt x="383" y="495"/>
                  </a:lnTo>
                  <a:lnTo>
                    <a:pt x="370" y="475"/>
                  </a:lnTo>
                  <a:lnTo>
                    <a:pt x="364" y="444"/>
                  </a:lnTo>
                  <a:lnTo>
                    <a:pt x="389" y="435"/>
                  </a:lnTo>
                  <a:lnTo>
                    <a:pt x="413" y="419"/>
                  </a:lnTo>
                  <a:lnTo>
                    <a:pt x="446" y="408"/>
                  </a:lnTo>
                  <a:lnTo>
                    <a:pt x="464" y="393"/>
                  </a:lnTo>
                  <a:lnTo>
                    <a:pt x="482" y="396"/>
                  </a:lnTo>
                  <a:lnTo>
                    <a:pt x="498" y="397"/>
                  </a:lnTo>
                  <a:lnTo>
                    <a:pt x="500" y="372"/>
                  </a:lnTo>
                  <a:lnTo>
                    <a:pt x="488" y="344"/>
                  </a:lnTo>
                  <a:lnTo>
                    <a:pt x="486" y="318"/>
                  </a:lnTo>
                  <a:lnTo>
                    <a:pt x="485" y="290"/>
                  </a:lnTo>
                  <a:lnTo>
                    <a:pt x="474" y="259"/>
                  </a:lnTo>
                  <a:lnTo>
                    <a:pt x="475" y="228"/>
                  </a:lnTo>
                  <a:lnTo>
                    <a:pt x="472" y="194"/>
                  </a:lnTo>
                  <a:lnTo>
                    <a:pt x="475" y="167"/>
                  </a:lnTo>
                  <a:lnTo>
                    <a:pt x="469" y="142"/>
                  </a:lnTo>
                  <a:lnTo>
                    <a:pt x="464" y="110"/>
                  </a:lnTo>
                  <a:lnTo>
                    <a:pt x="469" y="87"/>
                  </a:lnTo>
                  <a:lnTo>
                    <a:pt x="443" y="59"/>
                  </a:lnTo>
                  <a:lnTo>
                    <a:pt x="436" y="36"/>
                  </a:lnTo>
                  <a:lnTo>
                    <a:pt x="413" y="36"/>
                  </a:lnTo>
                  <a:lnTo>
                    <a:pt x="387" y="39"/>
                  </a:lnTo>
                  <a:lnTo>
                    <a:pt x="369" y="56"/>
                  </a:lnTo>
                  <a:lnTo>
                    <a:pt x="354" y="75"/>
                  </a:lnTo>
                  <a:lnTo>
                    <a:pt x="341" y="93"/>
                  </a:lnTo>
                  <a:lnTo>
                    <a:pt x="332" y="106"/>
                  </a:lnTo>
                  <a:lnTo>
                    <a:pt x="316" y="109"/>
                  </a:lnTo>
                  <a:lnTo>
                    <a:pt x="294" y="110"/>
                  </a:lnTo>
                  <a:lnTo>
                    <a:pt x="293" y="96"/>
                  </a:lnTo>
                  <a:lnTo>
                    <a:pt x="310" y="77"/>
                  </a:lnTo>
                  <a:lnTo>
                    <a:pt x="312" y="59"/>
                  </a:lnTo>
                  <a:lnTo>
                    <a:pt x="295" y="61"/>
                  </a:lnTo>
                  <a:lnTo>
                    <a:pt x="282" y="67"/>
                  </a:lnTo>
                  <a:lnTo>
                    <a:pt x="263" y="59"/>
                  </a:lnTo>
                  <a:lnTo>
                    <a:pt x="247" y="53"/>
                  </a:lnTo>
                  <a:lnTo>
                    <a:pt x="256" y="37"/>
                  </a:lnTo>
                  <a:lnTo>
                    <a:pt x="229" y="20"/>
                  </a:lnTo>
                  <a:lnTo>
                    <a:pt x="202" y="5"/>
                  </a:lnTo>
                  <a:lnTo>
                    <a:pt x="155"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8" name="Freeform 141">
              <a:extLst>
                <a:ext uri="{FF2B5EF4-FFF2-40B4-BE49-F238E27FC236}">
                  <a16:creationId xmlns:a16="http://schemas.microsoft.com/office/drawing/2014/main" id="{9D295210-D590-1A70-92D2-821463266ECF}"/>
                </a:ext>
              </a:extLst>
            </p:cNvPr>
            <p:cNvSpPr>
              <a:spLocks/>
            </p:cNvSpPr>
            <p:nvPr/>
          </p:nvSpPr>
          <p:spPr bwMode="auto">
            <a:xfrm>
              <a:off x="4553836" y="2541442"/>
              <a:ext cx="96362" cy="82972"/>
            </a:xfrm>
            <a:custGeom>
              <a:avLst/>
              <a:gdLst>
                <a:gd name="T0" fmla="*/ 51 w 402767"/>
                <a:gd name="T1" fmla="*/ 11 h 339079"/>
                <a:gd name="T2" fmla="*/ 47 w 402767"/>
                <a:gd name="T3" fmla="*/ 6 h 339079"/>
                <a:gd name="T4" fmla="*/ 42 w 402767"/>
                <a:gd name="T5" fmla="*/ 3 h 339079"/>
                <a:gd name="T6" fmla="*/ 37 w 402767"/>
                <a:gd name="T7" fmla="*/ 0 h 339079"/>
                <a:gd name="T8" fmla="*/ 31 w 402767"/>
                <a:gd name="T9" fmla="*/ 0 h 339079"/>
                <a:gd name="T10" fmla="*/ 24 w 402767"/>
                <a:gd name="T11" fmla="*/ 1 h 339079"/>
                <a:gd name="T12" fmla="*/ 18 w 402767"/>
                <a:gd name="T13" fmla="*/ 1 h 339079"/>
                <a:gd name="T14" fmla="*/ 10 w 402767"/>
                <a:gd name="T15" fmla="*/ 2 h 339079"/>
                <a:gd name="T16" fmla="*/ 6 w 402767"/>
                <a:gd name="T17" fmla="*/ 5 h 339079"/>
                <a:gd name="T18" fmla="*/ 0 w 402767"/>
                <a:gd name="T19" fmla="*/ 7 h 339079"/>
                <a:gd name="T20" fmla="*/ 7 w 402767"/>
                <a:gd name="T21" fmla="*/ 11 h 339079"/>
                <a:gd name="T22" fmla="*/ 9 w 402767"/>
                <a:gd name="T23" fmla="*/ 16 h 339079"/>
                <a:gd name="T24" fmla="*/ 15 w 402767"/>
                <a:gd name="T25" fmla="*/ 18 h 339079"/>
                <a:gd name="T26" fmla="*/ 18 w 402767"/>
                <a:gd name="T27" fmla="*/ 23 h 339079"/>
                <a:gd name="T28" fmla="*/ 23 w 402767"/>
                <a:gd name="T29" fmla="*/ 28 h 339079"/>
                <a:gd name="T30" fmla="*/ 28 w 402767"/>
                <a:gd name="T31" fmla="*/ 31 h 339079"/>
                <a:gd name="T32" fmla="*/ 34 w 402767"/>
                <a:gd name="T33" fmla="*/ 31 h 339079"/>
                <a:gd name="T34" fmla="*/ 36 w 402767"/>
                <a:gd name="T35" fmla="*/ 39 h 339079"/>
                <a:gd name="T36" fmla="*/ 41 w 402767"/>
                <a:gd name="T37" fmla="*/ 43 h 339079"/>
                <a:gd name="T38" fmla="*/ 47 w 402767"/>
                <a:gd name="T39" fmla="*/ 46 h 339079"/>
                <a:gd name="T40" fmla="*/ 48 w 402767"/>
                <a:gd name="T41" fmla="*/ 45 h 339079"/>
                <a:gd name="T42" fmla="*/ 48 w 402767"/>
                <a:gd name="T43" fmla="*/ 42 h 339079"/>
                <a:gd name="T44" fmla="*/ 48 w 402767"/>
                <a:gd name="T45" fmla="*/ 39 h 339079"/>
                <a:gd name="T46" fmla="*/ 49 w 402767"/>
                <a:gd name="T47" fmla="*/ 37 h 339079"/>
                <a:gd name="T48" fmla="*/ 51 w 402767"/>
                <a:gd name="T49" fmla="*/ 36 h 339079"/>
                <a:gd name="T50" fmla="*/ 53 w 402767"/>
                <a:gd name="T51" fmla="*/ 29 h 339079"/>
                <a:gd name="T52" fmla="*/ 56 w 402767"/>
                <a:gd name="T53" fmla="*/ 25 h 339079"/>
                <a:gd name="T54" fmla="*/ 52 w 402767"/>
                <a:gd name="T55" fmla="*/ 21 h 339079"/>
                <a:gd name="T56" fmla="*/ 50 w 402767"/>
                <a:gd name="T57" fmla="*/ 18 h 339079"/>
                <a:gd name="T58" fmla="*/ 51 w 402767"/>
                <a:gd name="T59" fmla="*/ 11 h 33907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2767"/>
                <a:gd name="T91" fmla="*/ 0 h 339079"/>
                <a:gd name="T92" fmla="*/ 402767 w 402767"/>
                <a:gd name="T93" fmla="*/ 339079 h 33907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2767" h="339079">
                  <a:moveTo>
                    <a:pt x="364667" y="79772"/>
                  </a:moveTo>
                  <a:lnTo>
                    <a:pt x="336092" y="46435"/>
                  </a:lnTo>
                  <a:lnTo>
                    <a:pt x="303213" y="24754"/>
                  </a:lnTo>
                  <a:lnTo>
                    <a:pt x="262273" y="2382"/>
                  </a:lnTo>
                  <a:lnTo>
                    <a:pt x="222982" y="0"/>
                  </a:lnTo>
                  <a:lnTo>
                    <a:pt x="173038" y="10467"/>
                  </a:lnTo>
                  <a:lnTo>
                    <a:pt x="128588" y="10467"/>
                  </a:lnTo>
                  <a:lnTo>
                    <a:pt x="73025" y="12054"/>
                  </a:lnTo>
                  <a:lnTo>
                    <a:pt x="46038" y="39042"/>
                  </a:lnTo>
                  <a:lnTo>
                    <a:pt x="0" y="50154"/>
                  </a:lnTo>
                  <a:lnTo>
                    <a:pt x="47625" y="83492"/>
                  </a:lnTo>
                  <a:lnTo>
                    <a:pt x="65088" y="118417"/>
                  </a:lnTo>
                  <a:lnTo>
                    <a:pt x="104775" y="132704"/>
                  </a:lnTo>
                  <a:lnTo>
                    <a:pt x="127000" y="170804"/>
                  </a:lnTo>
                  <a:lnTo>
                    <a:pt x="161925" y="208904"/>
                  </a:lnTo>
                  <a:lnTo>
                    <a:pt x="200025" y="229542"/>
                  </a:lnTo>
                  <a:lnTo>
                    <a:pt x="246063" y="226367"/>
                  </a:lnTo>
                  <a:lnTo>
                    <a:pt x="255588" y="285104"/>
                  </a:lnTo>
                  <a:lnTo>
                    <a:pt x="290513" y="316854"/>
                  </a:lnTo>
                  <a:lnTo>
                    <a:pt x="338138" y="339079"/>
                  </a:lnTo>
                  <a:lnTo>
                    <a:pt x="342900" y="327967"/>
                  </a:lnTo>
                  <a:lnTo>
                    <a:pt x="346075" y="307329"/>
                  </a:lnTo>
                  <a:lnTo>
                    <a:pt x="342900" y="289867"/>
                  </a:lnTo>
                  <a:lnTo>
                    <a:pt x="352425" y="269229"/>
                  </a:lnTo>
                  <a:lnTo>
                    <a:pt x="363538" y="267642"/>
                  </a:lnTo>
                  <a:lnTo>
                    <a:pt x="381336" y="211932"/>
                  </a:lnTo>
                  <a:lnTo>
                    <a:pt x="402767" y="185738"/>
                  </a:lnTo>
                  <a:lnTo>
                    <a:pt x="371811" y="157163"/>
                  </a:lnTo>
                  <a:lnTo>
                    <a:pt x="358775" y="129529"/>
                  </a:lnTo>
                  <a:lnTo>
                    <a:pt x="364667" y="7977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49" name="Freeform 142">
              <a:extLst>
                <a:ext uri="{FF2B5EF4-FFF2-40B4-BE49-F238E27FC236}">
                  <a16:creationId xmlns:a16="http://schemas.microsoft.com/office/drawing/2014/main" id="{0F408BD1-909B-BD3D-E5A0-E5ED4EFC4845}"/>
                </a:ext>
              </a:extLst>
            </p:cNvPr>
            <p:cNvSpPr>
              <a:spLocks/>
            </p:cNvSpPr>
            <p:nvPr/>
          </p:nvSpPr>
          <p:spPr bwMode="auto">
            <a:xfrm>
              <a:off x="4582968" y="2460774"/>
              <a:ext cx="85158" cy="101410"/>
            </a:xfrm>
            <a:custGeom>
              <a:avLst/>
              <a:gdLst>
                <a:gd name="T0" fmla="*/ 50 w 352425"/>
                <a:gd name="T1" fmla="*/ 0 h 401637"/>
                <a:gd name="T2" fmla="*/ 45 w 352425"/>
                <a:gd name="T3" fmla="*/ 3 h 401637"/>
                <a:gd name="T4" fmla="*/ 39 w 352425"/>
                <a:gd name="T5" fmla="*/ 3 h 401637"/>
                <a:gd name="T6" fmla="*/ 34 w 352425"/>
                <a:gd name="T7" fmla="*/ 0 h 401637"/>
                <a:gd name="T8" fmla="*/ 33 w 352425"/>
                <a:gd name="T9" fmla="*/ 5 h 401637"/>
                <a:gd name="T10" fmla="*/ 35 w 352425"/>
                <a:gd name="T11" fmla="*/ 8 h 401637"/>
                <a:gd name="T12" fmla="*/ 35 w 352425"/>
                <a:gd name="T13" fmla="*/ 14 h 401637"/>
                <a:gd name="T14" fmla="*/ 37 w 352425"/>
                <a:gd name="T15" fmla="*/ 18 h 401637"/>
                <a:gd name="T16" fmla="*/ 36 w 352425"/>
                <a:gd name="T17" fmla="*/ 22 h 401637"/>
                <a:gd name="T18" fmla="*/ 31 w 352425"/>
                <a:gd name="T19" fmla="*/ 25 h 401637"/>
                <a:gd name="T20" fmla="*/ 29 w 352425"/>
                <a:gd name="T21" fmla="*/ 22 h 401637"/>
                <a:gd name="T22" fmla="*/ 29 w 352425"/>
                <a:gd name="T23" fmla="*/ 17 h 401637"/>
                <a:gd name="T24" fmla="*/ 28 w 352425"/>
                <a:gd name="T25" fmla="*/ 13 h 401637"/>
                <a:gd name="T26" fmla="*/ 24 w 352425"/>
                <a:gd name="T27" fmla="*/ 14 h 401637"/>
                <a:gd name="T28" fmla="*/ 17 w 352425"/>
                <a:gd name="T29" fmla="*/ 23 h 401637"/>
                <a:gd name="T30" fmla="*/ 15 w 352425"/>
                <a:gd name="T31" fmla="*/ 29 h 401637"/>
                <a:gd name="T32" fmla="*/ 13 w 352425"/>
                <a:gd name="T33" fmla="*/ 32 h 401637"/>
                <a:gd name="T34" fmla="*/ 13 w 352425"/>
                <a:gd name="T35" fmla="*/ 37 h 401637"/>
                <a:gd name="T36" fmla="*/ 9 w 352425"/>
                <a:gd name="T37" fmla="*/ 40 h 401637"/>
                <a:gd name="T38" fmla="*/ 7 w 352425"/>
                <a:gd name="T39" fmla="*/ 44 h 401637"/>
                <a:gd name="T40" fmla="*/ 0 w 352425"/>
                <a:gd name="T41" fmla="*/ 52 h 401637"/>
                <a:gd name="T42" fmla="*/ 9 w 352425"/>
                <a:gd name="T43" fmla="*/ 53 h 401637"/>
                <a:gd name="T44" fmla="*/ 15 w 352425"/>
                <a:gd name="T45" fmla="*/ 51 h 401637"/>
                <a:gd name="T46" fmla="*/ 21 w 352425"/>
                <a:gd name="T47" fmla="*/ 52 h 401637"/>
                <a:gd name="T48" fmla="*/ 27 w 352425"/>
                <a:gd name="T49" fmla="*/ 55 h 401637"/>
                <a:gd name="T50" fmla="*/ 32 w 352425"/>
                <a:gd name="T51" fmla="*/ 58 h 401637"/>
                <a:gd name="T52" fmla="*/ 36 w 352425"/>
                <a:gd name="T53" fmla="*/ 64 h 401637"/>
                <a:gd name="T54" fmla="*/ 41 w 352425"/>
                <a:gd name="T55" fmla="*/ 62 h 401637"/>
                <a:gd name="T56" fmla="*/ 44 w 352425"/>
                <a:gd name="T57" fmla="*/ 57 h 401637"/>
                <a:gd name="T58" fmla="*/ 41 w 352425"/>
                <a:gd name="T59" fmla="*/ 51 h 401637"/>
                <a:gd name="T60" fmla="*/ 39 w 352425"/>
                <a:gd name="T61" fmla="*/ 45 h 401637"/>
                <a:gd name="T62" fmla="*/ 46 w 352425"/>
                <a:gd name="T63" fmla="*/ 42 h 401637"/>
                <a:gd name="T64" fmla="*/ 48 w 352425"/>
                <a:gd name="T65" fmla="*/ 35 h 401637"/>
                <a:gd name="T66" fmla="*/ 52 w 352425"/>
                <a:gd name="T67" fmla="*/ 29 h 401637"/>
                <a:gd name="T68" fmla="*/ 51 w 352425"/>
                <a:gd name="T69" fmla="*/ 22 h 401637"/>
                <a:gd name="T70" fmla="*/ 51 w 352425"/>
                <a:gd name="T71" fmla="*/ 13 h 401637"/>
                <a:gd name="T72" fmla="*/ 51 w 352425"/>
                <a:gd name="T73" fmla="*/ 7 h 401637"/>
                <a:gd name="T74" fmla="*/ 50 w 352425"/>
                <a:gd name="T75" fmla="*/ 0 h 4016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425"/>
                <a:gd name="T115" fmla="*/ 0 h 401637"/>
                <a:gd name="T116" fmla="*/ 352425 w 352425"/>
                <a:gd name="T117" fmla="*/ 401637 h 4016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425" h="401637">
                  <a:moveTo>
                    <a:pt x="342900" y="1587"/>
                  </a:moveTo>
                  <a:lnTo>
                    <a:pt x="306388" y="17462"/>
                  </a:lnTo>
                  <a:lnTo>
                    <a:pt x="268288" y="17462"/>
                  </a:lnTo>
                  <a:lnTo>
                    <a:pt x="231775" y="0"/>
                  </a:lnTo>
                  <a:lnTo>
                    <a:pt x="227013" y="31750"/>
                  </a:lnTo>
                  <a:lnTo>
                    <a:pt x="236538" y="47625"/>
                  </a:lnTo>
                  <a:lnTo>
                    <a:pt x="236538" y="87312"/>
                  </a:lnTo>
                  <a:lnTo>
                    <a:pt x="254000" y="114300"/>
                  </a:lnTo>
                  <a:lnTo>
                    <a:pt x="246063" y="141287"/>
                  </a:lnTo>
                  <a:lnTo>
                    <a:pt x="214313" y="153987"/>
                  </a:lnTo>
                  <a:lnTo>
                    <a:pt x="200025" y="141287"/>
                  </a:lnTo>
                  <a:lnTo>
                    <a:pt x="200025" y="104775"/>
                  </a:lnTo>
                  <a:lnTo>
                    <a:pt x="190500" y="79375"/>
                  </a:lnTo>
                  <a:lnTo>
                    <a:pt x="160338" y="87312"/>
                  </a:lnTo>
                  <a:lnTo>
                    <a:pt x="114300" y="142875"/>
                  </a:lnTo>
                  <a:lnTo>
                    <a:pt x="101600" y="179387"/>
                  </a:lnTo>
                  <a:lnTo>
                    <a:pt x="90488" y="200025"/>
                  </a:lnTo>
                  <a:lnTo>
                    <a:pt x="87313" y="234950"/>
                  </a:lnTo>
                  <a:lnTo>
                    <a:pt x="58738" y="250825"/>
                  </a:lnTo>
                  <a:lnTo>
                    <a:pt x="47625" y="276225"/>
                  </a:lnTo>
                  <a:lnTo>
                    <a:pt x="0" y="328612"/>
                  </a:lnTo>
                  <a:lnTo>
                    <a:pt x="58738" y="331787"/>
                  </a:lnTo>
                  <a:lnTo>
                    <a:pt x="104775" y="320675"/>
                  </a:lnTo>
                  <a:lnTo>
                    <a:pt x="142875" y="325437"/>
                  </a:lnTo>
                  <a:lnTo>
                    <a:pt x="184150" y="344487"/>
                  </a:lnTo>
                  <a:lnTo>
                    <a:pt x="215900" y="366712"/>
                  </a:lnTo>
                  <a:lnTo>
                    <a:pt x="246063" y="401637"/>
                  </a:lnTo>
                  <a:lnTo>
                    <a:pt x="276225" y="392112"/>
                  </a:lnTo>
                  <a:lnTo>
                    <a:pt x="300373" y="360612"/>
                  </a:lnTo>
                  <a:lnTo>
                    <a:pt x="278941" y="322512"/>
                  </a:lnTo>
                  <a:lnTo>
                    <a:pt x="265113" y="282575"/>
                  </a:lnTo>
                  <a:lnTo>
                    <a:pt x="312738" y="263525"/>
                  </a:lnTo>
                  <a:lnTo>
                    <a:pt x="325438" y="217487"/>
                  </a:lnTo>
                  <a:lnTo>
                    <a:pt x="352425" y="184150"/>
                  </a:lnTo>
                  <a:lnTo>
                    <a:pt x="344488" y="138112"/>
                  </a:lnTo>
                  <a:lnTo>
                    <a:pt x="349250" y="84137"/>
                  </a:lnTo>
                  <a:lnTo>
                    <a:pt x="349250" y="42862"/>
                  </a:lnTo>
                  <a:lnTo>
                    <a:pt x="342900" y="158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0" name="Freeform 143">
              <a:extLst>
                <a:ext uri="{FF2B5EF4-FFF2-40B4-BE49-F238E27FC236}">
                  <a16:creationId xmlns:a16="http://schemas.microsoft.com/office/drawing/2014/main" id="{9A63F961-38CC-D036-9D72-281B699D8680}"/>
                </a:ext>
              </a:extLst>
            </p:cNvPr>
            <p:cNvSpPr>
              <a:spLocks/>
            </p:cNvSpPr>
            <p:nvPr/>
          </p:nvSpPr>
          <p:spPr bwMode="auto">
            <a:xfrm>
              <a:off x="4683814" y="2267174"/>
              <a:ext cx="82917" cy="135982"/>
            </a:xfrm>
            <a:custGeom>
              <a:avLst/>
              <a:gdLst>
                <a:gd name="T0" fmla="*/ 23 w 341166"/>
                <a:gd name="T1" fmla="*/ 76 h 554288"/>
                <a:gd name="T2" fmla="*/ 29 w 341166"/>
                <a:gd name="T3" fmla="*/ 76 h 554288"/>
                <a:gd name="T4" fmla="*/ 29 w 341166"/>
                <a:gd name="T5" fmla="*/ 70 h 554288"/>
                <a:gd name="T6" fmla="*/ 29 w 341166"/>
                <a:gd name="T7" fmla="*/ 65 h 554288"/>
                <a:gd name="T8" fmla="*/ 34 w 341166"/>
                <a:gd name="T9" fmla="*/ 68 h 554288"/>
                <a:gd name="T10" fmla="*/ 36 w 341166"/>
                <a:gd name="T11" fmla="*/ 70 h 554288"/>
                <a:gd name="T12" fmla="*/ 40 w 341166"/>
                <a:gd name="T13" fmla="*/ 74 h 554288"/>
                <a:gd name="T14" fmla="*/ 45 w 341166"/>
                <a:gd name="T15" fmla="*/ 70 h 554288"/>
                <a:gd name="T16" fmla="*/ 46 w 341166"/>
                <a:gd name="T17" fmla="*/ 65 h 554288"/>
                <a:gd name="T18" fmla="*/ 46 w 341166"/>
                <a:gd name="T19" fmla="*/ 58 h 554288"/>
                <a:gd name="T20" fmla="*/ 40 w 341166"/>
                <a:gd name="T21" fmla="*/ 57 h 554288"/>
                <a:gd name="T22" fmla="*/ 35 w 341166"/>
                <a:gd name="T23" fmla="*/ 53 h 554288"/>
                <a:gd name="T24" fmla="*/ 36 w 341166"/>
                <a:gd name="T25" fmla="*/ 49 h 554288"/>
                <a:gd name="T26" fmla="*/ 38 w 341166"/>
                <a:gd name="T27" fmla="*/ 42 h 554288"/>
                <a:gd name="T28" fmla="*/ 41 w 341166"/>
                <a:gd name="T29" fmla="*/ 38 h 554288"/>
                <a:gd name="T30" fmla="*/ 47 w 341166"/>
                <a:gd name="T31" fmla="*/ 37 h 554288"/>
                <a:gd name="T32" fmla="*/ 52 w 341166"/>
                <a:gd name="T33" fmla="*/ 37 h 554288"/>
                <a:gd name="T34" fmla="*/ 51 w 341166"/>
                <a:gd name="T35" fmla="*/ 32 h 554288"/>
                <a:gd name="T36" fmla="*/ 45 w 341166"/>
                <a:gd name="T37" fmla="*/ 31 h 554288"/>
                <a:gd name="T38" fmla="*/ 40 w 341166"/>
                <a:gd name="T39" fmla="*/ 28 h 554288"/>
                <a:gd name="T40" fmla="*/ 41 w 341166"/>
                <a:gd name="T41" fmla="*/ 24 h 554288"/>
                <a:gd name="T42" fmla="*/ 39 w 341166"/>
                <a:gd name="T43" fmla="*/ 17 h 554288"/>
                <a:gd name="T44" fmla="*/ 44 w 341166"/>
                <a:gd name="T45" fmla="*/ 14 h 554288"/>
                <a:gd name="T46" fmla="*/ 47 w 341166"/>
                <a:gd name="T47" fmla="*/ 6 h 554288"/>
                <a:gd name="T48" fmla="*/ 44 w 341166"/>
                <a:gd name="T49" fmla="*/ 0 h 554288"/>
                <a:gd name="T50" fmla="*/ 38 w 341166"/>
                <a:gd name="T51" fmla="*/ 1 h 554288"/>
                <a:gd name="T52" fmla="*/ 34 w 341166"/>
                <a:gd name="T53" fmla="*/ 3 h 554288"/>
                <a:gd name="T54" fmla="*/ 31 w 341166"/>
                <a:gd name="T55" fmla="*/ 7 h 554288"/>
                <a:gd name="T56" fmla="*/ 27 w 341166"/>
                <a:gd name="T57" fmla="*/ 11 h 554288"/>
                <a:gd name="T58" fmla="*/ 22 w 341166"/>
                <a:gd name="T59" fmla="*/ 9 h 554288"/>
                <a:gd name="T60" fmla="*/ 16 w 341166"/>
                <a:gd name="T61" fmla="*/ 9 h 554288"/>
                <a:gd name="T62" fmla="*/ 11 w 341166"/>
                <a:gd name="T63" fmla="*/ 13 h 554288"/>
                <a:gd name="T64" fmla="*/ 9 w 341166"/>
                <a:gd name="T65" fmla="*/ 19 h 554288"/>
                <a:gd name="T66" fmla="*/ 7 w 341166"/>
                <a:gd name="T67" fmla="*/ 26 h 554288"/>
                <a:gd name="T68" fmla="*/ 1 w 341166"/>
                <a:gd name="T69" fmla="*/ 28 h 554288"/>
                <a:gd name="T70" fmla="*/ 0 w 341166"/>
                <a:gd name="T71" fmla="*/ 35 h 554288"/>
                <a:gd name="T72" fmla="*/ 1 w 341166"/>
                <a:gd name="T73" fmla="*/ 41 h 554288"/>
                <a:gd name="T74" fmla="*/ 1 w 341166"/>
                <a:gd name="T75" fmla="*/ 47 h 554288"/>
                <a:gd name="T76" fmla="*/ 4 w 341166"/>
                <a:gd name="T77" fmla="*/ 52 h 554288"/>
                <a:gd name="T78" fmla="*/ 7 w 341166"/>
                <a:gd name="T79" fmla="*/ 62 h 554288"/>
                <a:gd name="T80" fmla="*/ 15 w 341166"/>
                <a:gd name="T81" fmla="*/ 66 h 554288"/>
                <a:gd name="T82" fmla="*/ 13 w 341166"/>
                <a:gd name="T83" fmla="*/ 70 h 554288"/>
                <a:gd name="T84" fmla="*/ 16 w 341166"/>
                <a:gd name="T85" fmla="*/ 75 h 554288"/>
                <a:gd name="T86" fmla="*/ 23 w 341166"/>
                <a:gd name="T87" fmla="*/ 76 h 55428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1166"/>
                <a:gd name="T133" fmla="*/ 0 h 554288"/>
                <a:gd name="T134" fmla="*/ 341166 w 341166"/>
                <a:gd name="T135" fmla="*/ 554288 h 55428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1166" h="554288">
                  <a:moveTo>
                    <a:pt x="151988" y="547966"/>
                  </a:moveTo>
                  <a:lnTo>
                    <a:pt x="194804" y="554288"/>
                  </a:lnTo>
                  <a:lnTo>
                    <a:pt x="194804" y="511425"/>
                  </a:lnTo>
                  <a:lnTo>
                    <a:pt x="190794" y="471543"/>
                  </a:lnTo>
                  <a:lnTo>
                    <a:pt x="221515" y="495933"/>
                  </a:lnTo>
                  <a:lnTo>
                    <a:pt x="239301" y="510567"/>
                  </a:lnTo>
                  <a:lnTo>
                    <a:pt x="266788" y="533332"/>
                  </a:lnTo>
                  <a:lnTo>
                    <a:pt x="297509" y="507315"/>
                  </a:lnTo>
                  <a:lnTo>
                    <a:pt x="307211" y="473169"/>
                  </a:lnTo>
                  <a:lnTo>
                    <a:pt x="307211" y="422763"/>
                  </a:lnTo>
                  <a:lnTo>
                    <a:pt x="261938" y="413007"/>
                  </a:lnTo>
                  <a:lnTo>
                    <a:pt x="231216" y="383739"/>
                  </a:lnTo>
                  <a:lnTo>
                    <a:pt x="236067" y="354470"/>
                  </a:lnTo>
                  <a:lnTo>
                    <a:pt x="249002" y="304064"/>
                  </a:lnTo>
                  <a:lnTo>
                    <a:pt x="268405" y="276422"/>
                  </a:lnTo>
                  <a:lnTo>
                    <a:pt x="308828" y="271544"/>
                  </a:lnTo>
                  <a:lnTo>
                    <a:pt x="341166" y="269918"/>
                  </a:lnTo>
                  <a:lnTo>
                    <a:pt x="339549" y="230894"/>
                  </a:lnTo>
                  <a:lnTo>
                    <a:pt x="299126" y="224389"/>
                  </a:lnTo>
                  <a:lnTo>
                    <a:pt x="265171" y="203251"/>
                  </a:lnTo>
                  <a:lnTo>
                    <a:pt x="273256" y="172357"/>
                  </a:lnTo>
                  <a:lnTo>
                    <a:pt x="260321" y="121951"/>
                  </a:lnTo>
                  <a:lnTo>
                    <a:pt x="287808" y="100813"/>
                  </a:lnTo>
                  <a:lnTo>
                    <a:pt x="310444" y="47154"/>
                  </a:lnTo>
                  <a:lnTo>
                    <a:pt x="291042" y="0"/>
                  </a:lnTo>
                  <a:lnTo>
                    <a:pt x="250619" y="4878"/>
                  </a:lnTo>
                  <a:lnTo>
                    <a:pt x="221515" y="21138"/>
                  </a:lnTo>
                  <a:lnTo>
                    <a:pt x="206963" y="52032"/>
                  </a:lnTo>
                  <a:lnTo>
                    <a:pt x="181093" y="79675"/>
                  </a:lnTo>
                  <a:lnTo>
                    <a:pt x="143904" y="68292"/>
                  </a:lnTo>
                  <a:lnTo>
                    <a:pt x="106715" y="68292"/>
                  </a:lnTo>
                  <a:lnTo>
                    <a:pt x="69527" y="95935"/>
                  </a:lnTo>
                  <a:lnTo>
                    <a:pt x="61442" y="138211"/>
                  </a:lnTo>
                  <a:lnTo>
                    <a:pt x="46890" y="185365"/>
                  </a:lnTo>
                  <a:lnTo>
                    <a:pt x="8084" y="203251"/>
                  </a:lnTo>
                  <a:lnTo>
                    <a:pt x="0" y="253658"/>
                  </a:lnTo>
                  <a:lnTo>
                    <a:pt x="4851" y="295934"/>
                  </a:lnTo>
                  <a:lnTo>
                    <a:pt x="8084" y="343088"/>
                  </a:lnTo>
                  <a:lnTo>
                    <a:pt x="29104" y="378861"/>
                  </a:lnTo>
                  <a:lnTo>
                    <a:pt x="48507" y="447153"/>
                  </a:lnTo>
                  <a:lnTo>
                    <a:pt x="99554" y="478088"/>
                  </a:lnTo>
                  <a:lnTo>
                    <a:pt x="87648" y="511425"/>
                  </a:lnTo>
                  <a:lnTo>
                    <a:pt x="104316" y="547144"/>
                  </a:lnTo>
                  <a:lnTo>
                    <a:pt x="151988" y="54796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1" name="Freeform 144">
              <a:extLst>
                <a:ext uri="{FF2B5EF4-FFF2-40B4-BE49-F238E27FC236}">
                  <a16:creationId xmlns:a16="http://schemas.microsoft.com/office/drawing/2014/main" id="{2F04A474-41EA-E32E-C984-0F46BD413A2D}"/>
                </a:ext>
              </a:extLst>
            </p:cNvPr>
            <p:cNvSpPr>
              <a:spLocks/>
            </p:cNvSpPr>
            <p:nvPr/>
          </p:nvSpPr>
          <p:spPr bwMode="auto">
            <a:xfrm>
              <a:off x="5165631" y="2668203"/>
              <a:ext cx="89640" cy="117543"/>
            </a:xfrm>
            <a:custGeom>
              <a:avLst/>
              <a:gdLst>
                <a:gd name="T0" fmla="*/ 0 w 366713"/>
                <a:gd name="T1" fmla="*/ 4 h 477294"/>
                <a:gd name="T2" fmla="*/ 5 w 366713"/>
                <a:gd name="T3" fmla="*/ 7 h 477294"/>
                <a:gd name="T4" fmla="*/ 8 w 366713"/>
                <a:gd name="T5" fmla="*/ 11 h 477294"/>
                <a:gd name="T6" fmla="*/ 12 w 366713"/>
                <a:gd name="T7" fmla="*/ 11 h 477294"/>
                <a:gd name="T8" fmla="*/ 12 w 366713"/>
                <a:gd name="T9" fmla="*/ 17 h 477294"/>
                <a:gd name="T10" fmla="*/ 13 w 366713"/>
                <a:gd name="T11" fmla="*/ 23 h 477294"/>
                <a:gd name="T12" fmla="*/ 17 w 366713"/>
                <a:gd name="T13" fmla="*/ 25 h 477294"/>
                <a:gd name="T14" fmla="*/ 18 w 366713"/>
                <a:gd name="T15" fmla="*/ 30 h 477294"/>
                <a:gd name="T16" fmla="*/ 22 w 366713"/>
                <a:gd name="T17" fmla="*/ 32 h 477294"/>
                <a:gd name="T18" fmla="*/ 26 w 366713"/>
                <a:gd name="T19" fmla="*/ 35 h 477294"/>
                <a:gd name="T20" fmla="*/ 25 w 366713"/>
                <a:gd name="T21" fmla="*/ 42 h 477294"/>
                <a:gd name="T22" fmla="*/ 27 w 366713"/>
                <a:gd name="T23" fmla="*/ 46 h 477294"/>
                <a:gd name="T24" fmla="*/ 25 w 366713"/>
                <a:gd name="T25" fmla="*/ 49 h 477294"/>
                <a:gd name="T26" fmla="*/ 27 w 366713"/>
                <a:gd name="T27" fmla="*/ 53 h 477294"/>
                <a:gd name="T28" fmla="*/ 24 w 366713"/>
                <a:gd name="T29" fmla="*/ 58 h 477294"/>
                <a:gd name="T30" fmla="*/ 24 w 366713"/>
                <a:gd name="T31" fmla="*/ 63 h 477294"/>
                <a:gd name="T32" fmla="*/ 28 w 366713"/>
                <a:gd name="T33" fmla="*/ 67 h 477294"/>
                <a:gd name="T34" fmla="*/ 29 w 366713"/>
                <a:gd name="T35" fmla="*/ 64 h 477294"/>
                <a:gd name="T36" fmla="*/ 33 w 366713"/>
                <a:gd name="T37" fmla="*/ 60 h 477294"/>
                <a:gd name="T38" fmla="*/ 35 w 366713"/>
                <a:gd name="T39" fmla="*/ 56 h 477294"/>
                <a:gd name="T40" fmla="*/ 37 w 366713"/>
                <a:gd name="T41" fmla="*/ 50 h 477294"/>
                <a:gd name="T42" fmla="*/ 38 w 366713"/>
                <a:gd name="T43" fmla="*/ 46 h 477294"/>
                <a:gd name="T44" fmla="*/ 44 w 366713"/>
                <a:gd name="T45" fmla="*/ 45 h 477294"/>
                <a:gd name="T46" fmla="*/ 50 w 366713"/>
                <a:gd name="T47" fmla="*/ 48 h 477294"/>
                <a:gd name="T48" fmla="*/ 53 w 366713"/>
                <a:gd name="T49" fmla="*/ 48 h 477294"/>
                <a:gd name="T50" fmla="*/ 57 w 366713"/>
                <a:gd name="T51" fmla="*/ 45 h 477294"/>
                <a:gd name="T52" fmla="*/ 57 w 366713"/>
                <a:gd name="T53" fmla="*/ 37 h 477294"/>
                <a:gd name="T54" fmla="*/ 51 w 366713"/>
                <a:gd name="T55" fmla="*/ 29 h 477294"/>
                <a:gd name="T56" fmla="*/ 45 w 366713"/>
                <a:gd name="T57" fmla="*/ 23 h 477294"/>
                <a:gd name="T58" fmla="*/ 42 w 366713"/>
                <a:gd name="T59" fmla="*/ 11 h 477294"/>
                <a:gd name="T60" fmla="*/ 37 w 366713"/>
                <a:gd name="T61" fmla="*/ 6 h 477294"/>
                <a:gd name="T62" fmla="*/ 25 w 366713"/>
                <a:gd name="T63" fmla="*/ 2 h 477294"/>
                <a:gd name="T64" fmla="*/ 16 w 366713"/>
                <a:gd name="T65" fmla="*/ 1 h 477294"/>
                <a:gd name="T66" fmla="*/ 7 w 366713"/>
                <a:gd name="T67" fmla="*/ 0 h 477294"/>
                <a:gd name="T68" fmla="*/ 0 w 366713"/>
                <a:gd name="T69" fmla="*/ 4 h 4772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6713"/>
                <a:gd name="T106" fmla="*/ 0 h 477294"/>
                <a:gd name="T107" fmla="*/ 366713 w 366713"/>
                <a:gd name="T108" fmla="*/ 477294 h 4772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6713" h="477294">
                  <a:moveTo>
                    <a:pt x="0" y="25400"/>
                  </a:moveTo>
                  <a:lnTo>
                    <a:pt x="33338" y="47625"/>
                  </a:lnTo>
                  <a:lnTo>
                    <a:pt x="53975" y="77788"/>
                  </a:lnTo>
                  <a:lnTo>
                    <a:pt x="77788" y="79375"/>
                  </a:lnTo>
                  <a:lnTo>
                    <a:pt x="76200" y="123825"/>
                  </a:lnTo>
                  <a:lnTo>
                    <a:pt x="85725" y="161925"/>
                  </a:lnTo>
                  <a:lnTo>
                    <a:pt x="112713" y="180975"/>
                  </a:lnTo>
                  <a:lnTo>
                    <a:pt x="117475" y="209550"/>
                  </a:lnTo>
                  <a:lnTo>
                    <a:pt x="139700" y="225425"/>
                  </a:lnTo>
                  <a:lnTo>
                    <a:pt x="165100" y="252413"/>
                  </a:lnTo>
                  <a:lnTo>
                    <a:pt x="158750" y="300038"/>
                  </a:lnTo>
                  <a:lnTo>
                    <a:pt x="173038" y="327025"/>
                  </a:lnTo>
                  <a:lnTo>
                    <a:pt x="163513" y="349250"/>
                  </a:lnTo>
                  <a:lnTo>
                    <a:pt x="171450" y="379413"/>
                  </a:lnTo>
                  <a:lnTo>
                    <a:pt x="152400" y="411163"/>
                  </a:lnTo>
                  <a:lnTo>
                    <a:pt x="155575" y="450850"/>
                  </a:lnTo>
                  <a:lnTo>
                    <a:pt x="181311" y="477294"/>
                  </a:lnTo>
                  <a:lnTo>
                    <a:pt x="184150" y="457200"/>
                  </a:lnTo>
                  <a:lnTo>
                    <a:pt x="211138" y="428625"/>
                  </a:lnTo>
                  <a:lnTo>
                    <a:pt x="225364" y="401094"/>
                  </a:lnTo>
                  <a:lnTo>
                    <a:pt x="234950" y="354013"/>
                  </a:lnTo>
                  <a:lnTo>
                    <a:pt x="243223" y="326084"/>
                  </a:lnTo>
                  <a:lnTo>
                    <a:pt x="280988" y="317500"/>
                  </a:lnTo>
                  <a:lnTo>
                    <a:pt x="319423" y="340372"/>
                  </a:lnTo>
                  <a:lnTo>
                    <a:pt x="339725" y="344488"/>
                  </a:lnTo>
                  <a:lnTo>
                    <a:pt x="364667" y="323703"/>
                  </a:lnTo>
                  <a:lnTo>
                    <a:pt x="366713" y="261938"/>
                  </a:lnTo>
                  <a:lnTo>
                    <a:pt x="330139" y="209403"/>
                  </a:lnTo>
                  <a:lnTo>
                    <a:pt x="285750" y="161925"/>
                  </a:lnTo>
                  <a:lnTo>
                    <a:pt x="271463" y="79375"/>
                  </a:lnTo>
                  <a:lnTo>
                    <a:pt x="234950" y="46038"/>
                  </a:lnTo>
                  <a:lnTo>
                    <a:pt x="163513" y="17463"/>
                  </a:lnTo>
                  <a:lnTo>
                    <a:pt x="104775" y="7938"/>
                  </a:lnTo>
                  <a:lnTo>
                    <a:pt x="42863" y="0"/>
                  </a:lnTo>
                  <a:lnTo>
                    <a:pt x="0" y="2540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2" name="Freeform 145">
              <a:extLst>
                <a:ext uri="{FF2B5EF4-FFF2-40B4-BE49-F238E27FC236}">
                  <a16:creationId xmlns:a16="http://schemas.microsoft.com/office/drawing/2014/main" id="{5C91062E-1CCA-30A4-0CED-3D2F1E22CC55}"/>
                </a:ext>
              </a:extLst>
            </p:cNvPr>
            <p:cNvSpPr>
              <a:spLocks/>
            </p:cNvSpPr>
            <p:nvPr/>
          </p:nvSpPr>
          <p:spPr bwMode="auto">
            <a:xfrm>
              <a:off x="5013241" y="2672813"/>
              <a:ext cx="230824" cy="175163"/>
            </a:xfrm>
            <a:custGeom>
              <a:avLst/>
              <a:gdLst>
                <a:gd name="T0" fmla="*/ 82 w 953356"/>
                <a:gd name="T1" fmla="*/ 104 h 699837"/>
                <a:gd name="T2" fmla="*/ 92 w 953356"/>
                <a:gd name="T3" fmla="*/ 103 h 699837"/>
                <a:gd name="T4" fmla="*/ 99 w 953356"/>
                <a:gd name="T5" fmla="*/ 99 h 699837"/>
                <a:gd name="T6" fmla="*/ 110 w 953356"/>
                <a:gd name="T7" fmla="*/ 101 h 699837"/>
                <a:gd name="T8" fmla="*/ 116 w 953356"/>
                <a:gd name="T9" fmla="*/ 102 h 699837"/>
                <a:gd name="T10" fmla="*/ 120 w 953356"/>
                <a:gd name="T11" fmla="*/ 105 h 699837"/>
                <a:gd name="T12" fmla="*/ 123 w 953356"/>
                <a:gd name="T13" fmla="*/ 100 h 699837"/>
                <a:gd name="T14" fmla="*/ 128 w 953356"/>
                <a:gd name="T15" fmla="*/ 97 h 699837"/>
                <a:gd name="T16" fmla="*/ 127 w 953356"/>
                <a:gd name="T17" fmla="*/ 94 h 699837"/>
                <a:gd name="T18" fmla="*/ 129 w 953356"/>
                <a:gd name="T19" fmla="*/ 88 h 699837"/>
                <a:gd name="T20" fmla="*/ 132 w 953356"/>
                <a:gd name="T21" fmla="*/ 83 h 699837"/>
                <a:gd name="T22" fmla="*/ 135 w 953356"/>
                <a:gd name="T23" fmla="*/ 78 h 699837"/>
                <a:gd name="T24" fmla="*/ 141 w 953356"/>
                <a:gd name="T25" fmla="*/ 72 h 699837"/>
                <a:gd name="T26" fmla="*/ 132 w 953356"/>
                <a:gd name="T27" fmla="*/ 72 h 699837"/>
                <a:gd name="T28" fmla="*/ 127 w 953356"/>
                <a:gd name="T29" fmla="*/ 71 h 699837"/>
                <a:gd name="T30" fmla="*/ 121 w 953356"/>
                <a:gd name="T31" fmla="*/ 69 h 699837"/>
                <a:gd name="T32" fmla="*/ 117 w 953356"/>
                <a:gd name="T33" fmla="*/ 64 h 699837"/>
                <a:gd name="T34" fmla="*/ 117 w 953356"/>
                <a:gd name="T35" fmla="*/ 59 h 699837"/>
                <a:gd name="T36" fmla="*/ 120 w 953356"/>
                <a:gd name="T37" fmla="*/ 54 h 699837"/>
                <a:gd name="T38" fmla="*/ 119 w 953356"/>
                <a:gd name="T39" fmla="*/ 49 h 699837"/>
                <a:gd name="T40" fmla="*/ 120 w 953356"/>
                <a:gd name="T41" fmla="*/ 46 h 699837"/>
                <a:gd name="T42" fmla="*/ 117 w 953356"/>
                <a:gd name="T43" fmla="*/ 42 h 699837"/>
                <a:gd name="T44" fmla="*/ 119 w 953356"/>
                <a:gd name="T45" fmla="*/ 35 h 699837"/>
                <a:gd name="T46" fmla="*/ 116 w 953356"/>
                <a:gd name="T47" fmla="*/ 31 h 699837"/>
                <a:gd name="T48" fmla="*/ 111 w 953356"/>
                <a:gd name="T49" fmla="*/ 27 h 699837"/>
                <a:gd name="T50" fmla="*/ 110 w 953356"/>
                <a:gd name="T51" fmla="*/ 23 h 699837"/>
                <a:gd name="T52" fmla="*/ 107 w 953356"/>
                <a:gd name="T53" fmla="*/ 21 h 699837"/>
                <a:gd name="T54" fmla="*/ 106 w 953356"/>
                <a:gd name="T55" fmla="*/ 14 h 699837"/>
                <a:gd name="T56" fmla="*/ 105 w 953356"/>
                <a:gd name="T57" fmla="*/ 8 h 699837"/>
                <a:gd name="T58" fmla="*/ 103 w 953356"/>
                <a:gd name="T59" fmla="*/ 8 h 699837"/>
                <a:gd name="T60" fmla="*/ 99 w 953356"/>
                <a:gd name="T61" fmla="*/ 4 h 699837"/>
                <a:gd name="T62" fmla="*/ 95 w 953356"/>
                <a:gd name="T63" fmla="*/ 0 h 699837"/>
                <a:gd name="T64" fmla="*/ 83 w 953356"/>
                <a:gd name="T65" fmla="*/ 2 h 699837"/>
                <a:gd name="T66" fmla="*/ 77 w 953356"/>
                <a:gd name="T67" fmla="*/ 8 h 699837"/>
                <a:gd name="T68" fmla="*/ 72 w 953356"/>
                <a:gd name="T69" fmla="*/ 10 h 699837"/>
                <a:gd name="T70" fmla="*/ 65 w 953356"/>
                <a:gd name="T71" fmla="*/ 11 h 699837"/>
                <a:gd name="T72" fmla="*/ 55 w 953356"/>
                <a:gd name="T73" fmla="*/ 9 h 699837"/>
                <a:gd name="T74" fmla="*/ 43 w 953356"/>
                <a:gd name="T75" fmla="*/ 10 h 699837"/>
                <a:gd name="T76" fmla="*/ 34 w 953356"/>
                <a:gd name="T77" fmla="*/ 9 h 699837"/>
                <a:gd name="T78" fmla="*/ 29 w 953356"/>
                <a:gd name="T79" fmla="*/ 12 h 699837"/>
                <a:gd name="T80" fmla="*/ 28 w 953356"/>
                <a:gd name="T81" fmla="*/ 16 h 699837"/>
                <a:gd name="T82" fmla="*/ 22 w 953356"/>
                <a:gd name="T83" fmla="*/ 22 h 699837"/>
                <a:gd name="T84" fmla="*/ 17 w 953356"/>
                <a:gd name="T85" fmla="*/ 29 h 699837"/>
                <a:gd name="T86" fmla="*/ 14 w 953356"/>
                <a:gd name="T87" fmla="*/ 36 h 699837"/>
                <a:gd name="T88" fmla="*/ 8 w 953356"/>
                <a:gd name="T89" fmla="*/ 44 h 699837"/>
                <a:gd name="T90" fmla="*/ 6 w 953356"/>
                <a:gd name="T91" fmla="*/ 51 h 699837"/>
                <a:gd name="T92" fmla="*/ 0 w 953356"/>
                <a:gd name="T93" fmla="*/ 58 h 699837"/>
                <a:gd name="T94" fmla="*/ 7 w 953356"/>
                <a:gd name="T95" fmla="*/ 66 h 699837"/>
                <a:gd name="T96" fmla="*/ 12 w 953356"/>
                <a:gd name="T97" fmla="*/ 73 h 699837"/>
                <a:gd name="T98" fmla="*/ 18 w 953356"/>
                <a:gd name="T99" fmla="*/ 81 h 699837"/>
                <a:gd name="T100" fmla="*/ 27 w 953356"/>
                <a:gd name="T101" fmla="*/ 86 h 699837"/>
                <a:gd name="T102" fmla="*/ 32 w 953356"/>
                <a:gd name="T103" fmla="*/ 93 h 699837"/>
                <a:gd name="T104" fmla="*/ 37 w 953356"/>
                <a:gd name="T105" fmla="*/ 103 h 699837"/>
                <a:gd name="T106" fmla="*/ 44 w 953356"/>
                <a:gd name="T107" fmla="*/ 105 h 699837"/>
                <a:gd name="T108" fmla="*/ 56 w 953356"/>
                <a:gd name="T109" fmla="*/ 107 h 699837"/>
                <a:gd name="T110" fmla="*/ 63 w 953356"/>
                <a:gd name="T111" fmla="*/ 105 h 699837"/>
                <a:gd name="T112" fmla="*/ 73 w 953356"/>
                <a:gd name="T113" fmla="*/ 106 h 699837"/>
                <a:gd name="T114" fmla="*/ 82 w 953356"/>
                <a:gd name="T115" fmla="*/ 104 h 6998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53356"/>
                <a:gd name="T175" fmla="*/ 0 h 699837"/>
                <a:gd name="T176" fmla="*/ 953356 w 953356"/>
                <a:gd name="T177" fmla="*/ 699837 h 6998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53356" h="699837">
                  <a:moveTo>
                    <a:pt x="553306" y="685550"/>
                  </a:moveTo>
                  <a:lnTo>
                    <a:pt x="621569" y="677612"/>
                  </a:lnTo>
                  <a:lnTo>
                    <a:pt x="664431" y="652212"/>
                  </a:lnTo>
                  <a:lnTo>
                    <a:pt x="739044" y="663325"/>
                  </a:lnTo>
                  <a:lnTo>
                    <a:pt x="778731" y="671262"/>
                  </a:lnTo>
                  <a:lnTo>
                    <a:pt x="805719" y="690312"/>
                  </a:lnTo>
                  <a:lnTo>
                    <a:pt x="826356" y="656975"/>
                  </a:lnTo>
                  <a:lnTo>
                    <a:pt x="864456" y="636337"/>
                  </a:lnTo>
                  <a:lnTo>
                    <a:pt x="853344" y="614112"/>
                  </a:lnTo>
                  <a:lnTo>
                    <a:pt x="869219" y="580775"/>
                  </a:lnTo>
                  <a:lnTo>
                    <a:pt x="891444" y="545850"/>
                  </a:lnTo>
                  <a:lnTo>
                    <a:pt x="910494" y="509337"/>
                  </a:lnTo>
                  <a:lnTo>
                    <a:pt x="953356" y="471237"/>
                  </a:lnTo>
                  <a:lnTo>
                    <a:pt x="888269" y="471237"/>
                  </a:lnTo>
                  <a:lnTo>
                    <a:pt x="853344" y="468062"/>
                  </a:lnTo>
                  <a:lnTo>
                    <a:pt x="816769" y="450056"/>
                  </a:lnTo>
                  <a:lnTo>
                    <a:pt x="788194" y="421481"/>
                  </a:lnTo>
                  <a:lnTo>
                    <a:pt x="788256" y="385512"/>
                  </a:lnTo>
                  <a:lnTo>
                    <a:pt x="806054" y="354806"/>
                  </a:lnTo>
                  <a:lnTo>
                    <a:pt x="798910" y="322659"/>
                  </a:lnTo>
                  <a:lnTo>
                    <a:pt x="806054" y="298846"/>
                  </a:lnTo>
                  <a:lnTo>
                    <a:pt x="791431" y="272800"/>
                  </a:lnTo>
                  <a:lnTo>
                    <a:pt x="800956" y="229937"/>
                  </a:lnTo>
                  <a:lnTo>
                    <a:pt x="778669" y="202406"/>
                  </a:lnTo>
                  <a:lnTo>
                    <a:pt x="750156" y="177550"/>
                  </a:lnTo>
                  <a:lnTo>
                    <a:pt x="743806" y="153737"/>
                  </a:lnTo>
                  <a:lnTo>
                    <a:pt x="719994" y="134687"/>
                  </a:lnTo>
                  <a:lnTo>
                    <a:pt x="711994" y="92868"/>
                  </a:lnTo>
                  <a:lnTo>
                    <a:pt x="710469" y="53725"/>
                  </a:lnTo>
                  <a:lnTo>
                    <a:pt x="691419" y="53725"/>
                  </a:lnTo>
                  <a:lnTo>
                    <a:pt x="669194" y="23562"/>
                  </a:lnTo>
                  <a:lnTo>
                    <a:pt x="639366" y="0"/>
                  </a:lnTo>
                  <a:lnTo>
                    <a:pt x="559656" y="14037"/>
                  </a:lnTo>
                  <a:lnTo>
                    <a:pt x="517922" y="55959"/>
                  </a:lnTo>
                  <a:lnTo>
                    <a:pt x="481869" y="66425"/>
                  </a:lnTo>
                  <a:lnTo>
                    <a:pt x="439341" y="71437"/>
                  </a:lnTo>
                  <a:lnTo>
                    <a:pt x="370285" y="61912"/>
                  </a:lnTo>
                  <a:lnTo>
                    <a:pt x="292956" y="66425"/>
                  </a:lnTo>
                  <a:lnTo>
                    <a:pt x="229456" y="58487"/>
                  </a:lnTo>
                  <a:lnTo>
                    <a:pt x="196119" y="75950"/>
                  </a:lnTo>
                  <a:lnTo>
                    <a:pt x="186594" y="106112"/>
                  </a:lnTo>
                  <a:lnTo>
                    <a:pt x="145319" y="144212"/>
                  </a:lnTo>
                  <a:lnTo>
                    <a:pt x="116744" y="191837"/>
                  </a:lnTo>
                  <a:lnTo>
                    <a:pt x="96106" y="233112"/>
                  </a:lnTo>
                  <a:lnTo>
                    <a:pt x="53244" y="287087"/>
                  </a:lnTo>
                  <a:lnTo>
                    <a:pt x="38956" y="334712"/>
                  </a:lnTo>
                  <a:lnTo>
                    <a:pt x="0" y="383381"/>
                  </a:lnTo>
                  <a:lnTo>
                    <a:pt x="50069" y="433137"/>
                  </a:lnTo>
                  <a:lnTo>
                    <a:pt x="83406" y="480762"/>
                  </a:lnTo>
                  <a:lnTo>
                    <a:pt x="121506" y="533150"/>
                  </a:lnTo>
                  <a:lnTo>
                    <a:pt x="183419" y="561725"/>
                  </a:lnTo>
                  <a:lnTo>
                    <a:pt x="211994" y="610937"/>
                  </a:lnTo>
                  <a:lnTo>
                    <a:pt x="248506" y="676025"/>
                  </a:lnTo>
                  <a:lnTo>
                    <a:pt x="296131" y="690312"/>
                  </a:lnTo>
                  <a:lnTo>
                    <a:pt x="378681" y="699837"/>
                  </a:lnTo>
                  <a:lnTo>
                    <a:pt x="426306" y="691900"/>
                  </a:lnTo>
                  <a:lnTo>
                    <a:pt x="491394" y="695075"/>
                  </a:lnTo>
                  <a:lnTo>
                    <a:pt x="553306" y="68555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3" name="Freeform 146">
              <a:extLst>
                <a:ext uri="{FF2B5EF4-FFF2-40B4-BE49-F238E27FC236}">
                  <a16:creationId xmlns:a16="http://schemas.microsoft.com/office/drawing/2014/main" id="{5AFFE693-D04F-29E7-A64B-88EB72DBE4E8}"/>
                </a:ext>
              </a:extLst>
            </p:cNvPr>
            <p:cNvSpPr>
              <a:spLocks/>
            </p:cNvSpPr>
            <p:nvPr/>
          </p:nvSpPr>
          <p:spPr bwMode="auto">
            <a:xfrm>
              <a:off x="5053581" y="2836452"/>
              <a:ext cx="154631" cy="106020"/>
            </a:xfrm>
            <a:custGeom>
              <a:avLst/>
              <a:gdLst>
                <a:gd name="T0" fmla="*/ 2147483647 w 343"/>
                <a:gd name="T1" fmla="*/ 2147483647 h 228"/>
                <a:gd name="T2" fmla="*/ 2147483647 w 343"/>
                <a:gd name="T3" fmla="*/ 2147483647 h 228"/>
                <a:gd name="T4" fmla="*/ 2147483647 w 343"/>
                <a:gd name="T5" fmla="*/ 2147483647 h 228"/>
                <a:gd name="T6" fmla="*/ 2147483647 w 343"/>
                <a:gd name="T7" fmla="*/ 2147483647 h 228"/>
                <a:gd name="T8" fmla="*/ 2147483647 w 343"/>
                <a:gd name="T9" fmla="*/ 2147483647 h 228"/>
                <a:gd name="T10" fmla="*/ 2147483647 w 343"/>
                <a:gd name="T11" fmla="*/ 2147483647 h 228"/>
                <a:gd name="T12" fmla="*/ 2147483647 w 343"/>
                <a:gd name="T13" fmla="*/ 2147483647 h 228"/>
                <a:gd name="T14" fmla="*/ 2147483647 w 343"/>
                <a:gd name="T15" fmla="*/ 2147483647 h 228"/>
                <a:gd name="T16" fmla="*/ 2147483647 w 343"/>
                <a:gd name="T17" fmla="*/ 2147483647 h 228"/>
                <a:gd name="T18" fmla="*/ 2147483647 w 343"/>
                <a:gd name="T19" fmla="*/ 2147483647 h 228"/>
                <a:gd name="T20" fmla="*/ 2147483647 w 343"/>
                <a:gd name="T21" fmla="*/ 2147483647 h 228"/>
                <a:gd name="T22" fmla="*/ 2147483647 w 343"/>
                <a:gd name="T23" fmla="*/ 0 h 228"/>
                <a:gd name="T24" fmla="*/ 2147483647 w 343"/>
                <a:gd name="T25" fmla="*/ 2147483647 h 228"/>
                <a:gd name="T26" fmla="*/ 2147483647 w 343"/>
                <a:gd name="T27" fmla="*/ 2147483647 h 228"/>
                <a:gd name="T28" fmla="*/ 2147483647 w 343"/>
                <a:gd name="T29" fmla="*/ 2147483647 h 228"/>
                <a:gd name="T30" fmla="*/ 2147483647 w 343"/>
                <a:gd name="T31" fmla="*/ 2147483647 h 228"/>
                <a:gd name="T32" fmla="*/ 2147483647 w 343"/>
                <a:gd name="T33" fmla="*/ 2147483647 h 228"/>
                <a:gd name="T34" fmla="*/ 2147483647 w 343"/>
                <a:gd name="T35" fmla="*/ 2147483647 h 228"/>
                <a:gd name="T36" fmla="*/ 2147483647 w 343"/>
                <a:gd name="T37" fmla="*/ 2147483647 h 228"/>
                <a:gd name="T38" fmla="*/ 0 w 343"/>
                <a:gd name="T39" fmla="*/ 2147483647 h 228"/>
                <a:gd name="T40" fmla="*/ 2147483647 w 343"/>
                <a:gd name="T41" fmla="*/ 2147483647 h 228"/>
                <a:gd name="T42" fmla="*/ 2147483647 w 343"/>
                <a:gd name="T43" fmla="*/ 2147483647 h 228"/>
                <a:gd name="T44" fmla="*/ 2147483647 w 343"/>
                <a:gd name="T45" fmla="*/ 2147483647 h 228"/>
                <a:gd name="T46" fmla="*/ 2147483647 w 343"/>
                <a:gd name="T47" fmla="*/ 2147483647 h 228"/>
                <a:gd name="T48" fmla="*/ 2147483647 w 343"/>
                <a:gd name="T49" fmla="*/ 2147483647 h 228"/>
                <a:gd name="T50" fmla="*/ 2147483647 w 343"/>
                <a:gd name="T51" fmla="*/ 2147483647 h 228"/>
                <a:gd name="T52" fmla="*/ 2147483647 w 343"/>
                <a:gd name="T53" fmla="*/ 2147483647 h 228"/>
                <a:gd name="T54" fmla="*/ 2147483647 w 343"/>
                <a:gd name="T55" fmla="*/ 2147483647 h 228"/>
                <a:gd name="T56" fmla="*/ 2147483647 w 343"/>
                <a:gd name="T57" fmla="*/ 2147483647 h 228"/>
                <a:gd name="T58" fmla="*/ 2147483647 w 343"/>
                <a:gd name="T59" fmla="*/ 2147483647 h 228"/>
                <a:gd name="T60" fmla="*/ 2147483647 w 343"/>
                <a:gd name="T61" fmla="*/ 2147483647 h 228"/>
                <a:gd name="T62" fmla="*/ 2147483647 w 343"/>
                <a:gd name="T63" fmla="*/ 2147483647 h 228"/>
                <a:gd name="T64" fmla="*/ 2147483647 w 343"/>
                <a:gd name="T65" fmla="*/ 2147483647 h 228"/>
                <a:gd name="T66" fmla="*/ 2147483647 w 343"/>
                <a:gd name="T67" fmla="*/ 2147483647 h 228"/>
                <a:gd name="T68" fmla="*/ 2147483647 w 343"/>
                <a:gd name="T69" fmla="*/ 2147483647 h 228"/>
                <a:gd name="T70" fmla="*/ 2147483647 w 343"/>
                <a:gd name="T71" fmla="*/ 2147483647 h 228"/>
                <a:gd name="T72" fmla="*/ 2147483647 w 343"/>
                <a:gd name="T73" fmla="*/ 2147483647 h 228"/>
                <a:gd name="T74" fmla="*/ 2147483647 w 343"/>
                <a:gd name="T75" fmla="*/ 2147483647 h 228"/>
                <a:gd name="T76" fmla="*/ 2147483647 w 343"/>
                <a:gd name="T77" fmla="*/ 2147483647 h 228"/>
                <a:gd name="T78" fmla="*/ 2147483647 w 343"/>
                <a:gd name="T79" fmla="*/ 2147483647 h 228"/>
                <a:gd name="T80" fmla="*/ 2147483647 w 343"/>
                <a:gd name="T81" fmla="*/ 2147483647 h 228"/>
                <a:gd name="T82" fmla="*/ 2147483647 w 343"/>
                <a:gd name="T83" fmla="*/ 2147483647 h 228"/>
                <a:gd name="T84" fmla="*/ 2147483647 w 343"/>
                <a:gd name="T85" fmla="*/ 2147483647 h 228"/>
                <a:gd name="T86" fmla="*/ 2147483647 w 343"/>
                <a:gd name="T87" fmla="*/ 2147483647 h 228"/>
                <a:gd name="T88" fmla="*/ 2147483647 w 343"/>
                <a:gd name="T89" fmla="*/ 2147483647 h 228"/>
                <a:gd name="T90" fmla="*/ 2147483647 w 343"/>
                <a:gd name="T91" fmla="*/ 2147483647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3"/>
                <a:gd name="T139" fmla="*/ 0 h 228"/>
                <a:gd name="T140" fmla="*/ 343 w 3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3" h="228">
                  <a:moveTo>
                    <a:pt x="343" y="21"/>
                  </a:moveTo>
                  <a:lnTo>
                    <a:pt x="328" y="11"/>
                  </a:lnTo>
                  <a:lnTo>
                    <a:pt x="304" y="6"/>
                  </a:lnTo>
                  <a:lnTo>
                    <a:pt x="263" y="1"/>
                  </a:lnTo>
                  <a:lnTo>
                    <a:pt x="243" y="14"/>
                  </a:lnTo>
                  <a:lnTo>
                    <a:pt x="212" y="18"/>
                  </a:lnTo>
                  <a:lnTo>
                    <a:pt x="165" y="24"/>
                  </a:lnTo>
                  <a:lnTo>
                    <a:pt x="134" y="22"/>
                  </a:lnTo>
                  <a:lnTo>
                    <a:pt x="108" y="27"/>
                  </a:lnTo>
                  <a:lnTo>
                    <a:pt x="69" y="21"/>
                  </a:lnTo>
                  <a:lnTo>
                    <a:pt x="40" y="13"/>
                  </a:lnTo>
                  <a:lnTo>
                    <a:pt x="33" y="0"/>
                  </a:lnTo>
                  <a:lnTo>
                    <a:pt x="13" y="23"/>
                  </a:lnTo>
                  <a:lnTo>
                    <a:pt x="25" y="41"/>
                  </a:lnTo>
                  <a:lnTo>
                    <a:pt x="38" y="47"/>
                  </a:lnTo>
                  <a:lnTo>
                    <a:pt x="45" y="68"/>
                  </a:lnTo>
                  <a:lnTo>
                    <a:pt x="33" y="92"/>
                  </a:lnTo>
                  <a:lnTo>
                    <a:pt x="17" y="109"/>
                  </a:lnTo>
                  <a:lnTo>
                    <a:pt x="2" y="131"/>
                  </a:lnTo>
                  <a:lnTo>
                    <a:pt x="0" y="150"/>
                  </a:lnTo>
                  <a:lnTo>
                    <a:pt x="12" y="150"/>
                  </a:lnTo>
                  <a:lnTo>
                    <a:pt x="20" y="167"/>
                  </a:lnTo>
                  <a:lnTo>
                    <a:pt x="30" y="180"/>
                  </a:lnTo>
                  <a:lnTo>
                    <a:pt x="38" y="198"/>
                  </a:lnTo>
                  <a:lnTo>
                    <a:pt x="39" y="228"/>
                  </a:lnTo>
                  <a:lnTo>
                    <a:pt x="57" y="216"/>
                  </a:lnTo>
                  <a:lnTo>
                    <a:pt x="73" y="206"/>
                  </a:lnTo>
                  <a:lnTo>
                    <a:pt x="98" y="204"/>
                  </a:lnTo>
                  <a:lnTo>
                    <a:pt x="125" y="185"/>
                  </a:lnTo>
                  <a:lnTo>
                    <a:pt x="147" y="200"/>
                  </a:lnTo>
                  <a:lnTo>
                    <a:pt x="167" y="207"/>
                  </a:lnTo>
                  <a:lnTo>
                    <a:pt x="182" y="208"/>
                  </a:lnTo>
                  <a:lnTo>
                    <a:pt x="215" y="207"/>
                  </a:lnTo>
                  <a:lnTo>
                    <a:pt x="225" y="174"/>
                  </a:lnTo>
                  <a:lnTo>
                    <a:pt x="243" y="166"/>
                  </a:lnTo>
                  <a:lnTo>
                    <a:pt x="261" y="156"/>
                  </a:lnTo>
                  <a:lnTo>
                    <a:pt x="283" y="159"/>
                  </a:lnTo>
                  <a:lnTo>
                    <a:pt x="300" y="174"/>
                  </a:lnTo>
                  <a:lnTo>
                    <a:pt x="317" y="165"/>
                  </a:lnTo>
                  <a:lnTo>
                    <a:pt x="314" y="152"/>
                  </a:lnTo>
                  <a:lnTo>
                    <a:pt x="309" y="129"/>
                  </a:lnTo>
                  <a:lnTo>
                    <a:pt x="310" y="103"/>
                  </a:lnTo>
                  <a:lnTo>
                    <a:pt x="310" y="74"/>
                  </a:lnTo>
                  <a:lnTo>
                    <a:pt x="321" y="64"/>
                  </a:lnTo>
                  <a:lnTo>
                    <a:pt x="338" y="59"/>
                  </a:lnTo>
                  <a:lnTo>
                    <a:pt x="343" y="2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4" name="Freeform 147">
              <a:extLst>
                <a:ext uri="{FF2B5EF4-FFF2-40B4-BE49-F238E27FC236}">
                  <a16:creationId xmlns:a16="http://schemas.microsoft.com/office/drawing/2014/main" id="{55543E47-728D-0994-49D6-BD6692C7FCDF}"/>
                </a:ext>
              </a:extLst>
            </p:cNvPr>
            <p:cNvSpPr>
              <a:spLocks/>
            </p:cNvSpPr>
            <p:nvPr/>
          </p:nvSpPr>
          <p:spPr bwMode="auto">
            <a:xfrm>
              <a:off x="4995313" y="2917118"/>
              <a:ext cx="168076" cy="179771"/>
            </a:xfrm>
            <a:custGeom>
              <a:avLst/>
              <a:gdLst>
                <a:gd name="T0" fmla="*/ 2147483647 w 375"/>
                <a:gd name="T1" fmla="*/ 2147483647 h 391"/>
                <a:gd name="T2" fmla="*/ 2147483647 w 375"/>
                <a:gd name="T3" fmla="*/ 2147483647 h 391"/>
                <a:gd name="T4" fmla="*/ 2147483647 w 375"/>
                <a:gd name="T5" fmla="*/ 2147483647 h 391"/>
                <a:gd name="T6" fmla="*/ 2147483647 w 375"/>
                <a:gd name="T7" fmla="*/ 2147483647 h 391"/>
                <a:gd name="T8" fmla="*/ 2147483647 w 375"/>
                <a:gd name="T9" fmla="*/ 2147483647 h 391"/>
                <a:gd name="T10" fmla="*/ 2147483647 w 375"/>
                <a:gd name="T11" fmla="*/ 2147483647 h 391"/>
                <a:gd name="T12" fmla="*/ 2147483647 w 375"/>
                <a:gd name="T13" fmla="*/ 2147483647 h 391"/>
                <a:gd name="T14" fmla="*/ 2147483647 w 375"/>
                <a:gd name="T15" fmla="*/ 2147483647 h 391"/>
                <a:gd name="T16" fmla="*/ 2147483647 w 375"/>
                <a:gd name="T17" fmla="*/ 2147483647 h 391"/>
                <a:gd name="T18" fmla="*/ 2147483647 w 375"/>
                <a:gd name="T19" fmla="*/ 2147483647 h 391"/>
                <a:gd name="T20" fmla="*/ 0 w 375"/>
                <a:gd name="T21" fmla="*/ 2147483647 h 391"/>
                <a:gd name="T22" fmla="*/ 2147483647 w 375"/>
                <a:gd name="T23" fmla="*/ 2147483647 h 391"/>
                <a:gd name="T24" fmla="*/ 2147483647 w 375"/>
                <a:gd name="T25" fmla="*/ 2147483647 h 391"/>
                <a:gd name="T26" fmla="*/ 2147483647 w 375"/>
                <a:gd name="T27" fmla="*/ 2147483647 h 391"/>
                <a:gd name="T28" fmla="*/ 2147483647 w 375"/>
                <a:gd name="T29" fmla="*/ 2147483647 h 391"/>
                <a:gd name="T30" fmla="*/ 2147483647 w 375"/>
                <a:gd name="T31" fmla="*/ 2147483647 h 391"/>
                <a:gd name="T32" fmla="*/ 2147483647 w 375"/>
                <a:gd name="T33" fmla="*/ 2147483647 h 391"/>
                <a:gd name="T34" fmla="*/ 2147483647 w 375"/>
                <a:gd name="T35" fmla="*/ 2147483647 h 391"/>
                <a:gd name="T36" fmla="*/ 2147483647 w 375"/>
                <a:gd name="T37" fmla="*/ 2147483647 h 391"/>
                <a:gd name="T38" fmla="*/ 2147483647 w 375"/>
                <a:gd name="T39" fmla="*/ 2147483647 h 391"/>
                <a:gd name="T40" fmla="*/ 2147483647 w 375"/>
                <a:gd name="T41" fmla="*/ 2147483647 h 391"/>
                <a:gd name="T42" fmla="*/ 2147483647 w 375"/>
                <a:gd name="T43" fmla="*/ 2147483647 h 391"/>
                <a:gd name="T44" fmla="*/ 2147483647 w 375"/>
                <a:gd name="T45" fmla="*/ 2147483647 h 391"/>
                <a:gd name="T46" fmla="*/ 2147483647 w 375"/>
                <a:gd name="T47" fmla="*/ 2147483647 h 391"/>
                <a:gd name="T48" fmla="*/ 2147483647 w 375"/>
                <a:gd name="T49" fmla="*/ 2147483647 h 391"/>
                <a:gd name="T50" fmla="*/ 2147483647 w 375"/>
                <a:gd name="T51" fmla="*/ 2147483647 h 391"/>
                <a:gd name="T52" fmla="*/ 2147483647 w 375"/>
                <a:gd name="T53" fmla="*/ 2147483647 h 391"/>
                <a:gd name="T54" fmla="*/ 2147483647 w 375"/>
                <a:gd name="T55" fmla="*/ 2147483647 h 391"/>
                <a:gd name="T56" fmla="*/ 2147483647 w 375"/>
                <a:gd name="T57" fmla="*/ 2147483647 h 391"/>
                <a:gd name="T58" fmla="*/ 2147483647 w 375"/>
                <a:gd name="T59" fmla="*/ 2147483647 h 391"/>
                <a:gd name="T60" fmla="*/ 2147483647 w 375"/>
                <a:gd name="T61" fmla="*/ 2147483647 h 391"/>
                <a:gd name="T62" fmla="*/ 2147483647 w 375"/>
                <a:gd name="T63" fmla="*/ 2147483647 h 391"/>
                <a:gd name="T64" fmla="*/ 2147483647 w 375"/>
                <a:gd name="T65" fmla="*/ 2147483647 h 391"/>
                <a:gd name="T66" fmla="*/ 2147483647 w 375"/>
                <a:gd name="T67" fmla="*/ 2147483647 h 391"/>
                <a:gd name="T68" fmla="*/ 2147483647 w 375"/>
                <a:gd name="T69" fmla="*/ 2147483647 h 391"/>
                <a:gd name="T70" fmla="*/ 2147483647 w 375"/>
                <a:gd name="T71" fmla="*/ 2147483647 h 391"/>
                <a:gd name="T72" fmla="*/ 2147483647 w 375"/>
                <a:gd name="T73" fmla="*/ 2147483647 h 391"/>
                <a:gd name="T74" fmla="*/ 2147483647 w 375"/>
                <a:gd name="T75" fmla="*/ 2147483647 h 3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5"/>
                <a:gd name="T115" fmla="*/ 0 h 391"/>
                <a:gd name="T116" fmla="*/ 375 w 375"/>
                <a:gd name="T117" fmla="*/ 391 h 3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5" h="391">
                  <a:moveTo>
                    <a:pt x="355" y="46"/>
                  </a:moveTo>
                  <a:lnTo>
                    <a:pt x="375" y="32"/>
                  </a:lnTo>
                  <a:lnTo>
                    <a:pt x="357" y="0"/>
                  </a:lnTo>
                  <a:lnTo>
                    <a:pt x="349" y="28"/>
                  </a:lnTo>
                  <a:lnTo>
                    <a:pt x="324" y="31"/>
                  </a:lnTo>
                  <a:lnTo>
                    <a:pt x="305" y="31"/>
                  </a:lnTo>
                  <a:lnTo>
                    <a:pt x="280" y="23"/>
                  </a:lnTo>
                  <a:lnTo>
                    <a:pt x="257" y="8"/>
                  </a:lnTo>
                  <a:lnTo>
                    <a:pt x="230" y="29"/>
                  </a:lnTo>
                  <a:lnTo>
                    <a:pt x="205" y="31"/>
                  </a:lnTo>
                  <a:lnTo>
                    <a:pt x="184" y="43"/>
                  </a:lnTo>
                  <a:lnTo>
                    <a:pt x="173" y="50"/>
                  </a:lnTo>
                  <a:lnTo>
                    <a:pt x="161" y="58"/>
                  </a:lnTo>
                  <a:lnTo>
                    <a:pt x="143" y="76"/>
                  </a:lnTo>
                  <a:lnTo>
                    <a:pt x="114" y="74"/>
                  </a:lnTo>
                  <a:lnTo>
                    <a:pt x="98" y="82"/>
                  </a:lnTo>
                  <a:lnTo>
                    <a:pt x="71" y="89"/>
                  </a:lnTo>
                  <a:lnTo>
                    <a:pt x="52" y="83"/>
                  </a:lnTo>
                  <a:lnTo>
                    <a:pt x="47" y="112"/>
                  </a:lnTo>
                  <a:lnTo>
                    <a:pt x="42" y="131"/>
                  </a:lnTo>
                  <a:lnTo>
                    <a:pt x="26" y="147"/>
                  </a:lnTo>
                  <a:lnTo>
                    <a:pt x="0" y="170"/>
                  </a:lnTo>
                  <a:lnTo>
                    <a:pt x="8" y="186"/>
                  </a:lnTo>
                  <a:lnTo>
                    <a:pt x="26" y="200"/>
                  </a:lnTo>
                  <a:lnTo>
                    <a:pt x="49" y="201"/>
                  </a:lnTo>
                  <a:lnTo>
                    <a:pt x="60" y="231"/>
                  </a:lnTo>
                  <a:lnTo>
                    <a:pt x="70" y="258"/>
                  </a:lnTo>
                  <a:lnTo>
                    <a:pt x="90" y="261"/>
                  </a:lnTo>
                  <a:lnTo>
                    <a:pt x="90" y="278"/>
                  </a:lnTo>
                  <a:lnTo>
                    <a:pt x="83" y="288"/>
                  </a:lnTo>
                  <a:lnTo>
                    <a:pt x="79" y="299"/>
                  </a:lnTo>
                  <a:lnTo>
                    <a:pt x="106" y="340"/>
                  </a:lnTo>
                  <a:lnTo>
                    <a:pt x="99" y="353"/>
                  </a:lnTo>
                  <a:lnTo>
                    <a:pt x="117" y="366"/>
                  </a:lnTo>
                  <a:lnTo>
                    <a:pt x="119" y="375"/>
                  </a:lnTo>
                  <a:lnTo>
                    <a:pt x="134" y="374"/>
                  </a:lnTo>
                  <a:lnTo>
                    <a:pt x="153" y="375"/>
                  </a:lnTo>
                  <a:lnTo>
                    <a:pt x="168" y="386"/>
                  </a:lnTo>
                  <a:lnTo>
                    <a:pt x="181" y="391"/>
                  </a:lnTo>
                  <a:lnTo>
                    <a:pt x="195" y="374"/>
                  </a:lnTo>
                  <a:lnTo>
                    <a:pt x="183" y="355"/>
                  </a:lnTo>
                  <a:lnTo>
                    <a:pt x="178" y="337"/>
                  </a:lnTo>
                  <a:lnTo>
                    <a:pt x="186" y="314"/>
                  </a:lnTo>
                  <a:lnTo>
                    <a:pt x="206" y="301"/>
                  </a:lnTo>
                  <a:lnTo>
                    <a:pt x="222" y="301"/>
                  </a:lnTo>
                  <a:lnTo>
                    <a:pt x="224" y="282"/>
                  </a:lnTo>
                  <a:lnTo>
                    <a:pt x="207" y="276"/>
                  </a:lnTo>
                  <a:lnTo>
                    <a:pt x="189" y="268"/>
                  </a:lnTo>
                  <a:lnTo>
                    <a:pt x="272" y="279"/>
                  </a:lnTo>
                  <a:lnTo>
                    <a:pt x="264" y="264"/>
                  </a:lnTo>
                  <a:lnTo>
                    <a:pt x="248" y="254"/>
                  </a:lnTo>
                  <a:lnTo>
                    <a:pt x="231" y="240"/>
                  </a:lnTo>
                  <a:lnTo>
                    <a:pt x="202" y="223"/>
                  </a:lnTo>
                  <a:lnTo>
                    <a:pt x="191" y="215"/>
                  </a:lnTo>
                  <a:lnTo>
                    <a:pt x="181" y="204"/>
                  </a:lnTo>
                  <a:lnTo>
                    <a:pt x="174" y="189"/>
                  </a:lnTo>
                  <a:lnTo>
                    <a:pt x="171" y="171"/>
                  </a:lnTo>
                  <a:lnTo>
                    <a:pt x="164" y="150"/>
                  </a:lnTo>
                  <a:lnTo>
                    <a:pt x="150" y="137"/>
                  </a:lnTo>
                  <a:lnTo>
                    <a:pt x="145" y="127"/>
                  </a:lnTo>
                  <a:lnTo>
                    <a:pt x="149" y="115"/>
                  </a:lnTo>
                  <a:lnTo>
                    <a:pt x="161" y="103"/>
                  </a:lnTo>
                  <a:lnTo>
                    <a:pt x="178" y="109"/>
                  </a:lnTo>
                  <a:lnTo>
                    <a:pt x="187" y="123"/>
                  </a:lnTo>
                  <a:lnTo>
                    <a:pt x="201" y="119"/>
                  </a:lnTo>
                  <a:lnTo>
                    <a:pt x="218" y="119"/>
                  </a:lnTo>
                  <a:lnTo>
                    <a:pt x="231" y="110"/>
                  </a:lnTo>
                  <a:lnTo>
                    <a:pt x="227" y="88"/>
                  </a:lnTo>
                  <a:lnTo>
                    <a:pt x="243" y="77"/>
                  </a:lnTo>
                  <a:lnTo>
                    <a:pt x="259" y="69"/>
                  </a:lnTo>
                  <a:lnTo>
                    <a:pt x="275" y="62"/>
                  </a:lnTo>
                  <a:lnTo>
                    <a:pt x="296" y="72"/>
                  </a:lnTo>
                  <a:lnTo>
                    <a:pt x="311" y="70"/>
                  </a:lnTo>
                  <a:lnTo>
                    <a:pt x="327" y="70"/>
                  </a:lnTo>
                  <a:lnTo>
                    <a:pt x="336" y="67"/>
                  </a:lnTo>
                  <a:lnTo>
                    <a:pt x="349" y="61"/>
                  </a:lnTo>
                  <a:lnTo>
                    <a:pt x="355" y="4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5" name="Freeform 148">
              <a:extLst>
                <a:ext uri="{FF2B5EF4-FFF2-40B4-BE49-F238E27FC236}">
                  <a16:creationId xmlns:a16="http://schemas.microsoft.com/office/drawing/2014/main" id="{9EA28A6A-66DB-5E5B-2C95-CE8CAFC80BC5}"/>
                </a:ext>
              </a:extLst>
            </p:cNvPr>
            <p:cNvSpPr>
              <a:spLocks/>
            </p:cNvSpPr>
            <p:nvPr/>
          </p:nvSpPr>
          <p:spPr bwMode="auto">
            <a:xfrm>
              <a:off x="4912397" y="2668203"/>
              <a:ext cx="154629" cy="108325"/>
            </a:xfrm>
            <a:custGeom>
              <a:avLst/>
              <a:gdLst>
                <a:gd name="T0" fmla="*/ 2147483647 w 347"/>
                <a:gd name="T1" fmla="*/ 2147483647 h 235"/>
                <a:gd name="T2" fmla="*/ 2147483647 w 347"/>
                <a:gd name="T3" fmla="*/ 2147483647 h 235"/>
                <a:gd name="T4" fmla="*/ 2147483647 w 347"/>
                <a:gd name="T5" fmla="*/ 2147483647 h 235"/>
                <a:gd name="T6" fmla="*/ 2147483647 w 347"/>
                <a:gd name="T7" fmla="*/ 2147483647 h 235"/>
                <a:gd name="T8" fmla="*/ 2147483647 w 347"/>
                <a:gd name="T9" fmla="*/ 2147483647 h 235"/>
                <a:gd name="T10" fmla="*/ 2147483647 w 347"/>
                <a:gd name="T11" fmla="*/ 2147483647 h 235"/>
                <a:gd name="T12" fmla="*/ 2147483647 w 347"/>
                <a:gd name="T13" fmla="*/ 2147483647 h 235"/>
                <a:gd name="T14" fmla="*/ 2147483647 w 347"/>
                <a:gd name="T15" fmla="*/ 2147483647 h 235"/>
                <a:gd name="T16" fmla="*/ 2147483647 w 347"/>
                <a:gd name="T17" fmla="*/ 2147483647 h 235"/>
                <a:gd name="T18" fmla="*/ 2147483647 w 347"/>
                <a:gd name="T19" fmla="*/ 2147483647 h 235"/>
                <a:gd name="T20" fmla="*/ 0 w 347"/>
                <a:gd name="T21" fmla="*/ 2147483647 h 235"/>
                <a:gd name="T22" fmla="*/ 2147483647 w 347"/>
                <a:gd name="T23" fmla="*/ 2147483647 h 235"/>
                <a:gd name="T24" fmla="*/ 2147483647 w 347"/>
                <a:gd name="T25" fmla="*/ 2147483647 h 235"/>
                <a:gd name="T26" fmla="*/ 2147483647 w 347"/>
                <a:gd name="T27" fmla="*/ 2147483647 h 235"/>
                <a:gd name="T28" fmla="*/ 2147483647 w 347"/>
                <a:gd name="T29" fmla="*/ 2147483647 h 235"/>
                <a:gd name="T30" fmla="*/ 2147483647 w 347"/>
                <a:gd name="T31" fmla="*/ 2147483647 h 235"/>
                <a:gd name="T32" fmla="*/ 2147483647 w 347"/>
                <a:gd name="T33" fmla="*/ 2147483647 h 235"/>
                <a:gd name="T34" fmla="*/ 2147483647 w 347"/>
                <a:gd name="T35" fmla="*/ 2147483647 h 235"/>
                <a:gd name="T36" fmla="*/ 2147483647 w 347"/>
                <a:gd name="T37" fmla="*/ 2147483647 h 235"/>
                <a:gd name="T38" fmla="*/ 2147483647 w 347"/>
                <a:gd name="T39" fmla="*/ 2147483647 h 235"/>
                <a:gd name="T40" fmla="*/ 2147483647 w 347"/>
                <a:gd name="T41" fmla="*/ 2147483647 h 235"/>
                <a:gd name="T42" fmla="*/ 2147483647 w 347"/>
                <a:gd name="T43" fmla="*/ 2147483647 h 235"/>
                <a:gd name="T44" fmla="*/ 2147483647 w 347"/>
                <a:gd name="T45" fmla="*/ 2147483647 h 235"/>
                <a:gd name="T46" fmla="*/ 2147483647 w 347"/>
                <a:gd name="T47" fmla="*/ 2147483647 h 235"/>
                <a:gd name="T48" fmla="*/ 2147483647 w 347"/>
                <a:gd name="T49" fmla="*/ 2147483647 h 235"/>
                <a:gd name="T50" fmla="*/ 2147483647 w 347"/>
                <a:gd name="T51" fmla="*/ 2147483647 h 235"/>
                <a:gd name="T52" fmla="*/ 2147483647 w 347"/>
                <a:gd name="T53" fmla="*/ 2147483647 h 235"/>
                <a:gd name="T54" fmla="*/ 2147483647 w 347"/>
                <a:gd name="T55" fmla="*/ 2147483647 h 235"/>
                <a:gd name="T56" fmla="*/ 2147483647 w 347"/>
                <a:gd name="T57" fmla="*/ 2147483647 h 235"/>
                <a:gd name="T58" fmla="*/ 2147483647 w 347"/>
                <a:gd name="T59" fmla="*/ 2147483647 h 235"/>
                <a:gd name="T60" fmla="*/ 2147483647 w 347"/>
                <a:gd name="T61" fmla="*/ 2147483647 h 235"/>
                <a:gd name="T62" fmla="*/ 2147483647 w 347"/>
                <a:gd name="T63" fmla="*/ 0 h 235"/>
                <a:gd name="T64" fmla="*/ 2147483647 w 347"/>
                <a:gd name="T65" fmla="*/ 2147483647 h 235"/>
                <a:gd name="T66" fmla="*/ 2147483647 w 347"/>
                <a:gd name="T67" fmla="*/ 2147483647 h 235"/>
                <a:gd name="T68" fmla="*/ 2147483647 w 3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7"/>
                <a:gd name="T106" fmla="*/ 0 h 235"/>
                <a:gd name="T107" fmla="*/ 351 w 347"/>
                <a:gd name="T108" fmla="*/ 234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7" h="235">
                  <a:moveTo>
                    <a:pt x="191" y="32"/>
                  </a:moveTo>
                  <a:lnTo>
                    <a:pt x="160" y="46"/>
                  </a:lnTo>
                  <a:lnTo>
                    <a:pt x="142" y="60"/>
                  </a:lnTo>
                  <a:lnTo>
                    <a:pt x="116" y="64"/>
                  </a:lnTo>
                  <a:lnTo>
                    <a:pt x="90" y="58"/>
                  </a:lnTo>
                  <a:lnTo>
                    <a:pt x="64" y="46"/>
                  </a:lnTo>
                  <a:lnTo>
                    <a:pt x="42" y="55"/>
                  </a:lnTo>
                  <a:lnTo>
                    <a:pt x="9" y="67"/>
                  </a:lnTo>
                  <a:lnTo>
                    <a:pt x="9" y="99"/>
                  </a:lnTo>
                  <a:lnTo>
                    <a:pt x="3" y="123"/>
                  </a:lnTo>
                  <a:lnTo>
                    <a:pt x="0" y="145"/>
                  </a:lnTo>
                  <a:lnTo>
                    <a:pt x="7" y="166"/>
                  </a:lnTo>
                  <a:lnTo>
                    <a:pt x="31" y="196"/>
                  </a:lnTo>
                  <a:lnTo>
                    <a:pt x="51" y="210"/>
                  </a:lnTo>
                  <a:lnTo>
                    <a:pt x="71" y="230"/>
                  </a:lnTo>
                  <a:lnTo>
                    <a:pt x="107" y="235"/>
                  </a:lnTo>
                  <a:lnTo>
                    <a:pt x="127" y="232"/>
                  </a:lnTo>
                  <a:lnTo>
                    <a:pt x="148" y="219"/>
                  </a:lnTo>
                  <a:lnTo>
                    <a:pt x="184" y="217"/>
                  </a:lnTo>
                  <a:lnTo>
                    <a:pt x="208" y="210"/>
                  </a:lnTo>
                  <a:lnTo>
                    <a:pt x="226" y="220"/>
                  </a:lnTo>
                  <a:lnTo>
                    <a:pt x="246" y="193"/>
                  </a:lnTo>
                  <a:lnTo>
                    <a:pt x="251" y="174"/>
                  </a:lnTo>
                  <a:lnTo>
                    <a:pt x="277" y="141"/>
                  </a:lnTo>
                  <a:lnTo>
                    <a:pt x="290" y="115"/>
                  </a:lnTo>
                  <a:lnTo>
                    <a:pt x="303" y="92"/>
                  </a:lnTo>
                  <a:lnTo>
                    <a:pt x="324" y="73"/>
                  </a:lnTo>
                  <a:lnTo>
                    <a:pt x="329" y="57"/>
                  </a:lnTo>
                  <a:lnTo>
                    <a:pt x="347" y="48"/>
                  </a:lnTo>
                  <a:lnTo>
                    <a:pt x="333" y="16"/>
                  </a:lnTo>
                  <a:lnTo>
                    <a:pt x="295" y="10"/>
                  </a:lnTo>
                  <a:lnTo>
                    <a:pt x="261" y="0"/>
                  </a:lnTo>
                  <a:lnTo>
                    <a:pt x="237" y="8"/>
                  </a:lnTo>
                  <a:lnTo>
                    <a:pt x="220" y="31"/>
                  </a:lnTo>
                  <a:lnTo>
                    <a:pt x="191" y="3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6" name="Freeform 149">
              <a:extLst>
                <a:ext uri="{FF2B5EF4-FFF2-40B4-BE49-F238E27FC236}">
                  <a16:creationId xmlns:a16="http://schemas.microsoft.com/office/drawing/2014/main" id="{5A6E432A-9384-73FD-64BA-CF71879ADBCC}"/>
                </a:ext>
              </a:extLst>
            </p:cNvPr>
            <p:cNvSpPr>
              <a:spLocks/>
            </p:cNvSpPr>
            <p:nvPr/>
          </p:nvSpPr>
          <p:spPr bwMode="auto">
            <a:xfrm>
              <a:off x="4923601" y="2626717"/>
              <a:ext cx="136703" cy="71448"/>
            </a:xfrm>
            <a:custGeom>
              <a:avLst/>
              <a:gdLst>
                <a:gd name="T0" fmla="*/ 2147483647 w 307"/>
                <a:gd name="T1" fmla="*/ 2147483647 h 155"/>
                <a:gd name="T2" fmla="*/ 2147483647 w 307"/>
                <a:gd name="T3" fmla="*/ 2147483647 h 155"/>
                <a:gd name="T4" fmla="*/ 2147483647 w 307"/>
                <a:gd name="T5" fmla="*/ 2147483647 h 155"/>
                <a:gd name="T6" fmla="*/ 2147483647 w 307"/>
                <a:gd name="T7" fmla="*/ 2147483647 h 155"/>
                <a:gd name="T8" fmla="*/ 2147483647 w 307"/>
                <a:gd name="T9" fmla="*/ 2147483647 h 155"/>
                <a:gd name="T10" fmla="*/ 2147483647 w 307"/>
                <a:gd name="T11" fmla="*/ 2147483647 h 155"/>
                <a:gd name="T12" fmla="*/ 2147483647 w 307"/>
                <a:gd name="T13" fmla="*/ 2147483647 h 155"/>
                <a:gd name="T14" fmla="*/ 2147483647 w 307"/>
                <a:gd name="T15" fmla="*/ 2147483647 h 155"/>
                <a:gd name="T16" fmla="*/ 2147483647 w 307"/>
                <a:gd name="T17" fmla="*/ 2147483647 h 155"/>
                <a:gd name="T18" fmla="*/ 2147483647 w 307"/>
                <a:gd name="T19" fmla="*/ 2147483647 h 155"/>
                <a:gd name="T20" fmla="*/ 0 w 307"/>
                <a:gd name="T21" fmla="*/ 2147483647 h 155"/>
                <a:gd name="T22" fmla="*/ 2147483647 w 307"/>
                <a:gd name="T23" fmla="*/ 2147483647 h 155"/>
                <a:gd name="T24" fmla="*/ 2147483647 w 307"/>
                <a:gd name="T25" fmla="*/ 2147483647 h 155"/>
                <a:gd name="T26" fmla="*/ 2147483647 w 307"/>
                <a:gd name="T27" fmla="*/ 2147483647 h 155"/>
                <a:gd name="T28" fmla="*/ 2147483647 w 307"/>
                <a:gd name="T29" fmla="*/ 2147483647 h 155"/>
                <a:gd name="T30" fmla="*/ 2147483647 w 307"/>
                <a:gd name="T31" fmla="*/ 2147483647 h 155"/>
                <a:gd name="T32" fmla="*/ 2147483647 w 307"/>
                <a:gd name="T33" fmla="*/ 2147483647 h 155"/>
                <a:gd name="T34" fmla="*/ 2147483647 w 307"/>
                <a:gd name="T35" fmla="*/ 2147483647 h 155"/>
                <a:gd name="T36" fmla="*/ 2147483647 w 307"/>
                <a:gd name="T37" fmla="*/ 2147483647 h 155"/>
                <a:gd name="T38" fmla="*/ 2147483647 w 307"/>
                <a:gd name="T39" fmla="*/ 2147483647 h 155"/>
                <a:gd name="T40" fmla="*/ 2147483647 w 307"/>
                <a:gd name="T41" fmla="*/ 2147483647 h 155"/>
                <a:gd name="T42" fmla="*/ 2147483647 w 307"/>
                <a:gd name="T43" fmla="*/ 2147483647 h 155"/>
                <a:gd name="T44" fmla="*/ 2147483647 w 307"/>
                <a:gd name="T45" fmla="*/ 2147483647 h 155"/>
                <a:gd name="T46" fmla="*/ 2147483647 w 307"/>
                <a:gd name="T47" fmla="*/ 2147483647 h 155"/>
                <a:gd name="T48" fmla="*/ 2147483647 w 307"/>
                <a:gd name="T49" fmla="*/ 2147483647 h 155"/>
                <a:gd name="T50" fmla="*/ 2147483647 w 307"/>
                <a:gd name="T51" fmla="*/ 2147483647 h 155"/>
                <a:gd name="T52" fmla="*/ 2147483647 w 307"/>
                <a:gd name="T53" fmla="*/ 2147483647 h 155"/>
                <a:gd name="T54" fmla="*/ 2147483647 w 307"/>
                <a:gd name="T55" fmla="*/ 2147483647 h 155"/>
                <a:gd name="T56" fmla="*/ 2147483647 w 307"/>
                <a:gd name="T57" fmla="*/ 2147483647 h 155"/>
                <a:gd name="T58" fmla="*/ 2147483647 w 307"/>
                <a:gd name="T59" fmla="*/ 2147483647 h 155"/>
                <a:gd name="T60" fmla="*/ 2147483647 w 307"/>
                <a:gd name="T61" fmla="*/ 2147483647 h 155"/>
                <a:gd name="T62" fmla="*/ 2147483647 w 307"/>
                <a:gd name="T63" fmla="*/ 0 h 155"/>
                <a:gd name="T64" fmla="*/ 2147483647 w 307"/>
                <a:gd name="T65" fmla="*/ 2147483647 h 155"/>
                <a:gd name="T66" fmla="*/ 2147483647 w 307"/>
                <a:gd name="T67" fmla="*/ 21474836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7"/>
                <a:gd name="T103" fmla="*/ 0 h 155"/>
                <a:gd name="T104" fmla="*/ 558800 w 307"/>
                <a:gd name="T105" fmla="*/ 29527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7" h="155">
                  <a:moveTo>
                    <a:pt x="137" y="25"/>
                  </a:moveTo>
                  <a:lnTo>
                    <a:pt x="120" y="19"/>
                  </a:lnTo>
                  <a:lnTo>
                    <a:pt x="102" y="22"/>
                  </a:lnTo>
                  <a:lnTo>
                    <a:pt x="82" y="34"/>
                  </a:lnTo>
                  <a:lnTo>
                    <a:pt x="74" y="48"/>
                  </a:lnTo>
                  <a:lnTo>
                    <a:pt x="69" y="66"/>
                  </a:lnTo>
                  <a:lnTo>
                    <a:pt x="51" y="62"/>
                  </a:lnTo>
                  <a:lnTo>
                    <a:pt x="29" y="67"/>
                  </a:lnTo>
                  <a:lnTo>
                    <a:pt x="5" y="68"/>
                  </a:lnTo>
                  <a:lnTo>
                    <a:pt x="2" y="82"/>
                  </a:lnTo>
                  <a:lnTo>
                    <a:pt x="0" y="98"/>
                  </a:lnTo>
                  <a:lnTo>
                    <a:pt x="4" y="120"/>
                  </a:lnTo>
                  <a:lnTo>
                    <a:pt x="12" y="131"/>
                  </a:lnTo>
                  <a:lnTo>
                    <a:pt x="40" y="138"/>
                  </a:lnTo>
                  <a:lnTo>
                    <a:pt x="61" y="149"/>
                  </a:lnTo>
                  <a:lnTo>
                    <a:pt x="91" y="155"/>
                  </a:lnTo>
                  <a:lnTo>
                    <a:pt x="118" y="149"/>
                  </a:lnTo>
                  <a:lnTo>
                    <a:pt x="134" y="133"/>
                  </a:lnTo>
                  <a:lnTo>
                    <a:pt x="164" y="124"/>
                  </a:lnTo>
                  <a:lnTo>
                    <a:pt x="197" y="117"/>
                  </a:lnTo>
                  <a:lnTo>
                    <a:pt x="214" y="95"/>
                  </a:lnTo>
                  <a:lnTo>
                    <a:pt x="236" y="89"/>
                  </a:lnTo>
                  <a:lnTo>
                    <a:pt x="269" y="104"/>
                  </a:lnTo>
                  <a:lnTo>
                    <a:pt x="307" y="107"/>
                  </a:lnTo>
                  <a:lnTo>
                    <a:pt x="302" y="91"/>
                  </a:lnTo>
                  <a:lnTo>
                    <a:pt x="286" y="42"/>
                  </a:lnTo>
                  <a:lnTo>
                    <a:pt x="271" y="30"/>
                  </a:lnTo>
                  <a:lnTo>
                    <a:pt x="261" y="18"/>
                  </a:lnTo>
                  <a:lnTo>
                    <a:pt x="240" y="10"/>
                  </a:lnTo>
                  <a:lnTo>
                    <a:pt x="221" y="10"/>
                  </a:lnTo>
                  <a:lnTo>
                    <a:pt x="193" y="16"/>
                  </a:lnTo>
                  <a:lnTo>
                    <a:pt x="158" y="0"/>
                  </a:lnTo>
                  <a:lnTo>
                    <a:pt x="134" y="10"/>
                  </a:lnTo>
                  <a:lnTo>
                    <a:pt x="137" y="2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7" name="Freeform 151">
              <a:extLst>
                <a:ext uri="{FF2B5EF4-FFF2-40B4-BE49-F238E27FC236}">
                  <a16:creationId xmlns:a16="http://schemas.microsoft.com/office/drawing/2014/main" id="{7CEF0E49-7BE3-B520-B8F7-BB0AC69330AB}"/>
                </a:ext>
              </a:extLst>
            </p:cNvPr>
            <p:cNvSpPr>
              <a:spLocks/>
            </p:cNvSpPr>
            <p:nvPr/>
          </p:nvSpPr>
          <p:spPr bwMode="auto">
            <a:xfrm>
              <a:off x="4802586" y="2564489"/>
              <a:ext cx="181523" cy="103713"/>
            </a:xfrm>
            <a:custGeom>
              <a:avLst/>
              <a:gdLst>
                <a:gd name="T0" fmla="*/ 2147483647 w 405"/>
                <a:gd name="T1" fmla="*/ 0 h 223"/>
                <a:gd name="T2" fmla="*/ 2147483647 w 405"/>
                <a:gd name="T3" fmla="*/ 2147483647 h 223"/>
                <a:gd name="T4" fmla="*/ 2147483647 w 405"/>
                <a:gd name="T5" fmla="*/ 2147483647 h 223"/>
                <a:gd name="T6" fmla="*/ 2147483647 w 405"/>
                <a:gd name="T7" fmla="*/ 2147483647 h 223"/>
                <a:gd name="T8" fmla="*/ 2147483647 w 405"/>
                <a:gd name="T9" fmla="*/ 2147483647 h 223"/>
                <a:gd name="T10" fmla="*/ 2147483647 w 405"/>
                <a:gd name="T11" fmla="*/ 2147483647 h 223"/>
                <a:gd name="T12" fmla="*/ 2147483647 w 405"/>
                <a:gd name="T13" fmla="*/ 2147483647 h 223"/>
                <a:gd name="T14" fmla="*/ 2147483647 w 405"/>
                <a:gd name="T15" fmla="*/ 2147483647 h 223"/>
                <a:gd name="T16" fmla="*/ 2147483647 w 405"/>
                <a:gd name="T17" fmla="*/ 2147483647 h 223"/>
                <a:gd name="T18" fmla="*/ 2147483647 w 405"/>
                <a:gd name="T19" fmla="*/ 2147483647 h 223"/>
                <a:gd name="T20" fmla="*/ 0 w 405"/>
                <a:gd name="T21" fmla="*/ 2147483647 h 223"/>
                <a:gd name="T22" fmla="*/ 2147483647 w 405"/>
                <a:gd name="T23" fmla="*/ 2147483647 h 223"/>
                <a:gd name="T24" fmla="*/ 2147483647 w 405"/>
                <a:gd name="T25" fmla="*/ 2147483647 h 223"/>
                <a:gd name="T26" fmla="*/ 2147483647 w 405"/>
                <a:gd name="T27" fmla="*/ 2147483647 h 223"/>
                <a:gd name="T28" fmla="*/ 2147483647 w 405"/>
                <a:gd name="T29" fmla="*/ 2147483647 h 223"/>
                <a:gd name="T30" fmla="*/ 2147483647 w 405"/>
                <a:gd name="T31" fmla="*/ 2147483647 h 223"/>
                <a:gd name="T32" fmla="*/ 2147483647 w 405"/>
                <a:gd name="T33" fmla="*/ 2147483647 h 223"/>
                <a:gd name="T34" fmla="*/ 2147483647 w 405"/>
                <a:gd name="T35" fmla="*/ 2147483647 h 223"/>
                <a:gd name="T36" fmla="*/ 2147483647 w 405"/>
                <a:gd name="T37" fmla="*/ 2147483647 h 223"/>
                <a:gd name="T38" fmla="*/ 2147483647 w 405"/>
                <a:gd name="T39" fmla="*/ 2147483647 h 223"/>
                <a:gd name="T40" fmla="*/ 2147483647 w 405"/>
                <a:gd name="T41" fmla="*/ 2147483647 h 223"/>
                <a:gd name="T42" fmla="*/ 2147483647 w 405"/>
                <a:gd name="T43" fmla="*/ 2147483647 h 223"/>
                <a:gd name="T44" fmla="*/ 2147483647 w 405"/>
                <a:gd name="T45" fmla="*/ 2147483647 h 223"/>
                <a:gd name="T46" fmla="*/ 2147483647 w 405"/>
                <a:gd name="T47" fmla="*/ 2147483647 h 223"/>
                <a:gd name="T48" fmla="*/ 2147483647 w 405"/>
                <a:gd name="T49" fmla="*/ 2147483647 h 223"/>
                <a:gd name="T50" fmla="*/ 2147483647 w 405"/>
                <a:gd name="T51" fmla="*/ 2147483647 h 223"/>
                <a:gd name="T52" fmla="*/ 2147483647 w 405"/>
                <a:gd name="T53" fmla="*/ 2147483647 h 223"/>
                <a:gd name="T54" fmla="*/ 2147483647 w 405"/>
                <a:gd name="T55" fmla="*/ 2147483647 h 223"/>
                <a:gd name="T56" fmla="*/ 2147483647 w 405"/>
                <a:gd name="T57" fmla="*/ 2147483647 h 223"/>
                <a:gd name="T58" fmla="*/ 2147483647 w 405"/>
                <a:gd name="T59" fmla="*/ 2147483647 h 223"/>
                <a:gd name="T60" fmla="*/ 2147483647 w 405"/>
                <a:gd name="T61" fmla="*/ 2147483647 h 223"/>
                <a:gd name="T62" fmla="*/ 2147483647 w 405"/>
                <a:gd name="T63" fmla="*/ 2147483647 h 223"/>
                <a:gd name="T64" fmla="*/ 2147483647 w 405"/>
                <a:gd name="T65" fmla="*/ 2147483647 h 223"/>
                <a:gd name="T66" fmla="*/ 2147483647 w 405"/>
                <a:gd name="T67" fmla="*/ 2147483647 h 223"/>
                <a:gd name="T68" fmla="*/ 2147483647 w 405"/>
                <a:gd name="T69" fmla="*/ 2147483647 h 223"/>
                <a:gd name="T70" fmla="*/ 2147483647 w 405"/>
                <a:gd name="T71" fmla="*/ 2147483647 h 223"/>
                <a:gd name="T72" fmla="*/ 2147483647 w 405"/>
                <a:gd name="T73" fmla="*/ 2147483647 h 223"/>
                <a:gd name="T74" fmla="*/ 2147483647 w 405"/>
                <a:gd name="T75" fmla="*/ 2147483647 h 223"/>
                <a:gd name="T76" fmla="*/ 2147483647 w 405"/>
                <a:gd name="T77" fmla="*/ 2147483647 h 223"/>
                <a:gd name="T78" fmla="*/ 2147483647 w 405"/>
                <a:gd name="T79" fmla="*/ 2147483647 h 223"/>
                <a:gd name="T80" fmla="*/ 2147483647 w 405"/>
                <a:gd name="T81" fmla="*/ 2147483647 h 223"/>
                <a:gd name="T82" fmla="*/ 2147483647 w 405"/>
                <a:gd name="T83" fmla="*/ 2147483647 h 223"/>
                <a:gd name="T84" fmla="*/ 2147483647 w 405"/>
                <a:gd name="T85" fmla="*/ 2147483647 h 223"/>
                <a:gd name="T86" fmla="*/ 2147483647 w 405"/>
                <a:gd name="T87" fmla="*/ 2147483647 h 223"/>
                <a:gd name="T88" fmla="*/ 2147483647 w 405"/>
                <a:gd name="T89" fmla="*/ 2147483647 h 223"/>
                <a:gd name="T90" fmla="*/ 2147483647 w 405"/>
                <a:gd name="T91" fmla="*/ 2147483647 h 223"/>
                <a:gd name="T92" fmla="*/ 2147483647 w 405"/>
                <a:gd name="T93" fmla="*/ 0 h 2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5"/>
                <a:gd name="T142" fmla="*/ 0 h 223"/>
                <a:gd name="T143" fmla="*/ 754521 w 405"/>
                <a:gd name="T144" fmla="*/ 375296 h 2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5" h="223">
                  <a:moveTo>
                    <a:pt x="195" y="0"/>
                  </a:moveTo>
                  <a:lnTo>
                    <a:pt x="178" y="1"/>
                  </a:lnTo>
                  <a:lnTo>
                    <a:pt x="160" y="13"/>
                  </a:lnTo>
                  <a:lnTo>
                    <a:pt x="137" y="16"/>
                  </a:lnTo>
                  <a:lnTo>
                    <a:pt x="135" y="39"/>
                  </a:lnTo>
                  <a:lnTo>
                    <a:pt x="121" y="40"/>
                  </a:lnTo>
                  <a:lnTo>
                    <a:pt x="99" y="37"/>
                  </a:lnTo>
                  <a:lnTo>
                    <a:pt x="81" y="53"/>
                  </a:lnTo>
                  <a:lnTo>
                    <a:pt x="53" y="61"/>
                  </a:lnTo>
                  <a:lnTo>
                    <a:pt x="25" y="79"/>
                  </a:lnTo>
                  <a:lnTo>
                    <a:pt x="0" y="87"/>
                  </a:lnTo>
                  <a:lnTo>
                    <a:pt x="9" y="122"/>
                  </a:lnTo>
                  <a:lnTo>
                    <a:pt x="25" y="146"/>
                  </a:lnTo>
                  <a:lnTo>
                    <a:pt x="59" y="176"/>
                  </a:lnTo>
                  <a:lnTo>
                    <a:pt x="72" y="203"/>
                  </a:lnTo>
                  <a:lnTo>
                    <a:pt x="64" y="223"/>
                  </a:lnTo>
                  <a:lnTo>
                    <a:pt x="82" y="220"/>
                  </a:lnTo>
                  <a:lnTo>
                    <a:pt x="110" y="205"/>
                  </a:lnTo>
                  <a:lnTo>
                    <a:pt x="129" y="208"/>
                  </a:lnTo>
                  <a:lnTo>
                    <a:pt x="145" y="209"/>
                  </a:lnTo>
                  <a:lnTo>
                    <a:pt x="165" y="197"/>
                  </a:lnTo>
                  <a:lnTo>
                    <a:pt x="169" y="181"/>
                  </a:lnTo>
                  <a:lnTo>
                    <a:pt x="183" y="187"/>
                  </a:lnTo>
                  <a:lnTo>
                    <a:pt x="207" y="187"/>
                  </a:lnTo>
                  <a:lnTo>
                    <a:pt x="217" y="196"/>
                  </a:lnTo>
                  <a:lnTo>
                    <a:pt x="241" y="206"/>
                  </a:lnTo>
                  <a:lnTo>
                    <a:pt x="257" y="202"/>
                  </a:lnTo>
                  <a:lnTo>
                    <a:pt x="271" y="199"/>
                  </a:lnTo>
                  <a:lnTo>
                    <a:pt x="298" y="204"/>
                  </a:lnTo>
                  <a:lnTo>
                    <a:pt x="320" y="198"/>
                  </a:lnTo>
                  <a:lnTo>
                    <a:pt x="340" y="202"/>
                  </a:lnTo>
                  <a:lnTo>
                    <a:pt x="345" y="183"/>
                  </a:lnTo>
                  <a:lnTo>
                    <a:pt x="352" y="166"/>
                  </a:lnTo>
                  <a:lnTo>
                    <a:pt x="371" y="156"/>
                  </a:lnTo>
                  <a:lnTo>
                    <a:pt x="387" y="151"/>
                  </a:lnTo>
                  <a:lnTo>
                    <a:pt x="405" y="156"/>
                  </a:lnTo>
                  <a:lnTo>
                    <a:pt x="402" y="143"/>
                  </a:lnTo>
                  <a:lnTo>
                    <a:pt x="390" y="134"/>
                  </a:lnTo>
                  <a:lnTo>
                    <a:pt x="368" y="121"/>
                  </a:lnTo>
                  <a:lnTo>
                    <a:pt x="349" y="130"/>
                  </a:lnTo>
                  <a:lnTo>
                    <a:pt x="336" y="104"/>
                  </a:lnTo>
                  <a:lnTo>
                    <a:pt x="316" y="81"/>
                  </a:lnTo>
                  <a:lnTo>
                    <a:pt x="298" y="66"/>
                  </a:lnTo>
                  <a:lnTo>
                    <a:pt x="277" y="59"/>
                  </a:lnTo>
                  <a:lnTo>
                    <a:pt x="252" y="55"/>
                  </a:lnTo>
                  <a:lnTo>
                    <a:pt x="229" y="37"/>
                  </a:lnTo>
                  <a:lnTo>
                    <a:pt x="221" y="29"/>
                  </a:lnTo>
                  <a:lnTo>
                    <a:pt x="204" y="16"/>
                  </a:lnTo>
                  <a:lnTo>
                    <a:pt x="195"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8" name="Freeform 154">
              <a:extLst>
                <a:ext uri="{FF2B5EF4-FFF2-40B4-BE49-F238E27FC236}">
                  <a16:creationId xmlns:a16="http://schemas.microsoft.com/office/drawing/2014/main" id="{8944B1AD-BA98-2BC9-AB94-B5500B6DFA80}"/>
                </a:ext>
              </a:extLst>
            </p:cNvPr>
            <p:cNvSpPr>
              <a:spLocks/>
            </p:cNvSpPr>
            <p:nvPr/>
          </p:nvSpPr>
          <p:spPr bwMode="auto">
            <a:xfrm>
              <a:off x="4697259" y="2930946"/>
              <a:ext cx="38097" cy="80667"/>
            </a:xfrm>
            <a:custGeom>
              <a:avLst/>
              <a:gdLst>
                <a:gd name="T0" fmla="*/ 0 w 161870"/>
                <a:gd name="T1" fmla="*/ 10 h 324297"/>
                <a:gd name="T2" fmla="*/ 2 w 161870"/>
                <a:gd name="T3" fmla="*/ 16 h 324297"/>
                <a:gd name="T4" fmla="*/ 3 w 161870"/>
                <a:gd name="T5" fmla="*/ 23 h 324297"/>
                <a:gd name="T6" fmla="*/ 3 w 161870"/>
                <a:gd name="T7" fmla="*/ 29 h 324297"/>
                <a:gd name="T8" fmla="*/ 4 w 161870"/>
                <a:gd name="T9" fmla="*/ 36 h 324297"/>
                <a:gd name="T10" fmla="*/ 1 w 161870"/>
                <a:gd name="T11" fmla="*/ 40 h 324297"/>
                <a:gd name="T12" fmla="*/ 1 w 161870"/>
                <a:gd name="T13" fmla="*/ 46 h 324297"/>
                <a:gd name="T14" fmla="*/ 4 w 161870"/>
                <a:gd name="T15" fmla="*/ 48 h 324297"/>
                <a:gd name="T16" fmla="*/ 6 w 161870"/>
                <a:gd name="T17" fmla="*/ 46 h 324297"/>
                <a:gd name="T18" fmla="*/ 9 w 161870"/>
                <a:gd name="T19" fmla="*/ 44 h 324297"/>
                <a:gd name="T20" fmla="*/ 13 w 161870"/>
                <a:gd name="T21" fmla="*/ 42 h 324297"/>
                <a:gd name="T22" fmla="*/ 15 w 161870"/>
                <a:gd name="T23" fmla="*/ 47 h 324297"/>
                <a:gd name="T24" fmla="*/ 19 w 161870"/>
                <a:gd name="T25" fmla="*/ 44 h 324297"/>
                <a:gd name="T26" fmla="*/ 18 w 161870"/>
                <a:gd name="T27" fmla="*/ 36 h 324297"/>
                <a:gd name="T28" fmla="*/ 17 w 161870"/>
                <a:gd name="T29" fmla="*/ 29 h 324297"/>
                <a:gd name="T30" fmla="*/ 19 w 161870"/>
                <a:gd name="T31" fmla="*/ 21 h 324297"/>
                <a:gd name="T32" fmla="*/ 21 w 161870"/>
                <a:gd name="T33" fmla="*/ 17 h 324297"/>
                <a:gd name="T34" fmla="*/ 18 w 161870"/>
                <a:gd name="T35" fmla="*/ 10 h 324297"/>
                <a:gd name="T36" fmla="*/ 19 w 161870"/>
                <a:gd name="T37" fmla="*/ 13 h 324297"/>
                <a:gd name="T38" fmla="*/ 16 w 161870"/>
                <a:gd name="T39" fmla="*/ 3 h 324297"/>
                <a:gd name="T40" fmla="*/ 14 w 161870"/>
                <a:gd name="T41" fmla="*/ 0 h 324297"/>
                <a:gd name="T42" fmla="*/ 12 w 161870"/>
                <a:gd name="T43" fmla="*/ 4 h 324297"/>
                <a:gd name="T44" fmla="*/ 9 w 161870"/>
                <a:gd name="T45" fmla="*/ 7 h 324297"/>
                <a:gd name="T46" fmla="*/ 6 w 161870"/>
                <a:gd name="T47" fmla="*/ 10 h 324297"/>
                <a:gd name="T48" fmla="*/ 3 w 161870"/>
                <a:gd name="T49" fmla="*/ 9 h 324297"/>
                <a:gd name="T50" fmla="*/ 0 w 161870"/>
                <a:gd name="T51" fmla="*/ 10 h 324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1870"/>
                <a:gd name="T79" fmla="*/ 0 h 324297"/>
                <a:gd name="T80" fmla="*/ 161870 w 161870"/>
                <a:gd name="T81" fmla="*/ 324297 h 324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1870" h="324297">
                  <a:moveTo>
                    <a:pt x="0" y="67206"/>
                  </a:moveTo>
                  <a:lnTo>
                    <a:pt x="13281" y="106067"/>
                  </a:lnTo>
                  <a:lnTo>
                    <a:pt x="20351" y="153051"/>
                  </a:lnTo>
                  <a:lnTo>
                    <a:pt x="24812" y="198241"/>
                  </a:lnTo>
                  <a:lnTo>
                    <a:pt x="28310" y="242564"/>
                  </a:lnTo>
                  <a:lnTo>
                    <a:pt x="7767" y="269128"/>
                  </a:lnTo>
                  <a:lnTo>
                    <a:pt x="6877" y="312294"/>
                  </a:lnTo>
                  <a:lnTo>
                    <a:pt x="27953" y="324297"/>
                  </a:lnTo>
                  <a:lnTo>
                    <a:pt x="48203" y="313432"/>
                  </a:lnTo>
                  <a:lnTo>
                    <a:pt x="68716" y="299444"/>
                  </a:lnTo>
                  <a:lnTo>
                    <a:pt x="103105" y="284665"/>
                  </a:lnTo>
                  <a:lnTo>
                    <a:pt x="115522" y="321487"/>
                  </a:lnTo>
                  <a:lnTo>
                    <a:pt x="143275" y="299464"/>
                  </a:lnTo>
                  <a:lnTo>
                    <a:pt x="142283" y="245918"/>
                  </a:lnTo>
                  <a:lnTo>
                    <a:pt x="132537" y="197922"/>
                  </a:lnTo>
                  <a:lnTo>
                    <a:pt x="146283" y="145624"/>
                  </a:lnTo>
                  <a:lnTo>
                    <a:pt x="161870" y="112350"/>
                  </a:lnTo>
                  <a:lnTo>
                    <a:pt x="138150" y="66317"/>
                  </a:lnTo>
                  <a:lnTo>
                    <a:pt x="145755" y="89795"/>
                  </a:lnTo>
                  <a:lnTo>
                    <a:pt x="125563" y="19259"/>
                  </a:lnTo>
                  <a:lnTo>
                    <a:pt x="111659" y="0"/>
                  </a:lnTo>
                  <a:lnTo>
                    <a:pt x="89225" y="24440"/>
                  </a:lnTo>
                  <a:lnTo>
                    <a:pt x="70925" y="44905"/>
                  </a:lnTo>
                  <a:lnTo>
                    <a:pt x="43271" y="65757"/>
                  </a:lnTo>
                  <a:lnTo>
                    <a:pt x="25205" y="63050"/>
                  </a:lnTo>
                  <a:lnTo>
                    <a:pt x="0" y="6720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59" name="Freeform 155">
              <a:extLst>
                <a:ext uri="{FF2B5EF4-FFF2-40B4-BE49-F238E27FC236}">
                  <a16:creationId xmlns:a16="http://schemas.microsoft.com/office/drawing/2014/main" id="{DD06C7CA-D7FB-D4FA-B12A-C22E2E120231}"/>
                </a:ext>
              </a:extLst>
            </p:cNvPr>
            <p:cNvSpPr>
              <a:spLocks/>
            </p:cNvSpPr>
            <p:nvPr/>
          </p:nvSpPr>
          <p:spPr bwMode="auto">
            <a:xfrm rot="290201">
              <a:off x="4793623" y="3036966"/>
              <a:ext cx="73954" cy="53010"/>
            </a:xfrm>
            <a:custGeom>
              <a:avLst/>
              <a:gdLst>
                <a:gd name="T0" fmla="*/ 2147483647 w 840"/>
                <a:gd name="T1" fmla="*/ 2147483647 h 552"/>
                <a:gd name="T2" fmla="*/ 2147483647 w 840"/>
                <a:gd name="T3" fmla="*/ 2147483647 h 552"/>
                <a:gd name="T4" fmla="*/ 2147483647 w 840"/>
                <a:gd name="T5" fmla="*/ 2147483647 h 552"/>
                <a:gd name="T6" fmla="*/ 2147483647 w 840"/>
                <a:gd name="T7" fmla="*/ 2147483647 h 552"/>
                <a:gd name="T8" fmla="*/ 2147483647 w 840"/>
                <a:gd name="T9" fmla="*/ 2147483647 h 552"/>
                <a:gd name="T10" fmla="*/ 2147483647 w 840"/>
                <a:gd name="T11" fmla="*/ 2147483647 h 552"/>
                <a:gd name="T12" fmla="*/ 2147483647 w 840"/>
                <a:gd name="T13" fmla="*/ 2147483647 h 552"/>
                <a:gd name="T14" fmla="*/ 2147483647 w 840"/>
                <a:gd name="T15" fmla="*/ 2147483647 h 552"/>
                <a:gd name="T16" fmla="*/ 0 w 840"/>
                <a:gd name="T17" fmla="*/ 2147483647 h 552"/>
                <a:gd name="T18" fmla="*/ 2147483647 w 840"/>
                <a:gd name="T19" fmla="*/ 2147483647 h 552"/>
                <a:gd name="T20" fmla="*/ 2147483647 w 840"/>
                <a:gd name="T21" fmla="*/ 2147483647 h 552"/>
                <a:gd name="T22" fmla="*/ 2147483647 w 840"/>
                <a:gd name="T23" fmla="*/ 2147483647 h 552"/>
                <a:gd name="T24" fmla="*/ 2147483647 w 840"/>
                <a:gd name="T25" fmla="*/ 0 h 552"/>
                <a:gd name="T26" fmla="*/ 2147483647 w 840"/>
                <a:gd name="T27" fmla="*/ 2147483647 h 552"/>
                <a:gd name="T28" fmla="*/ 2147483647 w 840"/>
                <a:gd name="T29" fmla="*/ 2147483647 h 552"/>
                <a:gd name="T30" fmla="*/ 2147483647 w 840"/>
                <a:gd name="T31" fmla="*/ 2147483647 h 552"/>
                <a:gd name="T32" fmla="*/ 2147483647 w 840"/>
                <a:gd name="T33" fmla="*/ 2147483647 h 552"/>
                <a:gd name="T34" fmla="*/ 2147483647 w 840"/>
                <a:gd name="T35" fmla="*/ 2147483647 h 552"/>
                <a:gd name="T36" fmla="*/ 2147483647 w 840"/>
                <a:gd name="T37" fmla="*/ 2147483647 h 552"/>
                <a:gd name="T38" fmla="*/ 2147483647 w 840"/>
                <a:gd name="T39" fmla="*/ 2147483647 h 552"/>
                <a:gd name="T40" fmla="*/ 2147483647 w 840"/>
                <a:gd name="T41" fmla="*/ 2147483647 h 552"/>
                <a:gd name="T42" fmla="*/ 2147483647 w 840"/>
                <a:gd name="T43" fmla="*/ 2147483647 h 552"/>
                <a:gd name="T44" fmla="*/ 2147483647 w 840"/>
                <a:gd name="T45" fmla="*/ 2147483647 h 552"/>
                <a:gd name="T46" fmla="*/ 2147483647 w 840"/>
                <a:gd name="T47" fmla="*/ 2147483647 h 5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40"/>
                <a:gd name="T73" fmla="*/ 0 h 552"/>
                <a:gd name="T74" fmla="*/ 840 w 840"/>
                <a:gd name="T75" fmla="*/ 552 h 5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40" h="552">
                  <a:moveTo>
                    <a:pt x="676" y="489"/>
                  </a:moveTo>
                  <a:lnTo>
                    <a:pt x="585" y="444"/>
                  </a:lnTo>
                  <a:lnTo>
                    <a:pt x="520" y="400"/>
                  </a:lnTo>
                  <a:lnTo>
                    <a:pt x="449" y="398"/>
                  </a:lnTo>
                  <a:lnTo>
                    <a:pt x="352" y="376"/>
                  </a:lnTo>
                  <a:lnTo>
                    <a:pt x="267" y="307"/>
                  </a:lnTo>
                  <a:lnTo>
                    <a:pt x="136" y="232"/>
                  </a:lnTo>
                  <a:lnTo>
                    <a:pt x="41" y="217"/>
                  </a:lnTo>
                  <a:lnTo>
                    <a:pt x="0" y="160"/>
                  </a:lnTo>
                  <a:lnTo>
                    <a:pt x="8" y="72"/>
                  </a:lnTo>
                  <a:lnTo>
                    <a:pt x="88" y="72"/>
                  </a:lnTo>
                  <a:lnTo>
                    <a:pt x="168" y="80"/>
                  </a:lnTo>
                  <a:lnTo>
                    <a:pt x="232" y="0"/>
                  </a:lnTo>
                  <a:lnTo>
                    <a:pt x="313" y="81"/>
                  </a:lnTo>
                  <a:lnTo>
                    <a:pt x="472" y="96"/>
                  </a:lnTo>
                  <a:lnTo>
                    <a:pt x="630" y="81"/>
                  </a:lnTo>
                  <a:lnTo>
                    <a:pt x="752" y="72"/>
                  </a:lnTo>
                  <a:lnTo>
                    <a:pt x="840" y="96"/>
                  </a:lnTo>
                  <a:lnTo>
                    <a:pt x="800" y="168"/>
                  </a:lnTo>
                  <a:lnTo>
                    <a:pt x="760" y="312"/>
                  </a:lnTo>
                  <a:lnTo>
                    <a:pt x="816" y="408"/>
                  </a:lnTo>
                  <a:lnTo>
                    <a:pt x="792" y="488"/>
                  </a:lnTo>
                  <a:lnTo>
                    <a:pt x="768" y="552"/>
                  </a:lnTo>
                  <a:lnTo>
                    <a:pt x="676" y="48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0" name="Freeform 156">
              <a:extLst>
                <a:ext uri="{FF2B5EF4-FFF2-40B4-BE49-F238E27FC236}">
                  <a16:creationId xmlns:a16="http://schemas.microsoft.com/office/drawing/2014/main" id="{C4C6C68B-8B33-D6B6-6BDF-8EE32B235C4F}"/>
                </a:ext>
              </a:extLst>
            </p:cNvPr>
            <p:cNvSpPr>
              <a:spLocks/>
            </p:cNvSpPr>
            <p:nvPr/>
          </p:nvSpPr>
          <p:spPr bwMode="auto">
            <a:xfrm rot="290201">
              <a:off x="4712946" y="2859500"/>
              <a:ext cx="20171" cy="50705"/>
            </a:xfrm>
            <a:custGeom>
              <a:avLst/>
              <a:gdLst>
                <a:gd name="T0" fmla="*/ 2147483647 w 253"/>
                <a:gd name="T1" fmla="*/ 0 h 499"/>
                <a:gd name="T2" fmla="*/ 2147483647 w 253"/>
                <a:gd name="T3" fmla="*/ 2147483647 h 499"/>
                <a:gd name="T4" fmla="*/ 2147483647 w 253"/>
                <a:gd name="T5" fmla="*/ 2147483647 h 499"/>
                <a:gd name="T6" fmla="*/ 2147483647 w 253"/>
                <a:gd name="T7" fmla="*/ 2147483647 h 499"/>
                <a:gd name="T8" fmla="*/ 2147483647 w 253"/>
                <a:gd name="T9" fmla="*/ 2147483647 h 499"/>
                <a:gd name="T10" fmla="*/ 2147483647 w 253"/>
                <a:gd name="T11" fmla="*/ 2147483647 h 499"/>
                <a:gd name="T12" fmla="*/ 0 w 253"/>
                <a:gd name="T13" fmla="*/ 2147483647 h 499"/>
                <a:gd name="T14" fmla="*/ 2147483647 w 253"/>
                <a:gd name="T15" fmla="*/ 2147483647 h 499"/>
                <a:gd name="T16" fmla="*/ 2147483647 w 253"/>
                <a:gd name="T17" fmla="*/ 2147483647 h 499"/>
                <a:gd name="T18" fmla="*/ 2147483647 w 253"/>
                <a:gd name="T19" fmla="*/ 0 h 4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3"/>
                <a:gd name="T31" fmla="*/ 0 h 499"/>
                <a:gd name="T32" fmla="*/ 253 w 253"/>
                <a:gd name="T33" fmla="*/ 499 h 4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3" h="499">
                  <a:moveTo>
                    <a:pt x="181" y="0"/>
                  </a:moveTo>
                  <a:lnTo>
                    <a:pt x="253" y="200"/>
                  </a:lnTo>
                  <a:lnTo>
                    <a:pt x="226" y="363"/>
                  </a:lnTo>
                  <a:lnTo>
                    <a:pt x="181" y="499"/>
                  </a:lnTo>
                  <a:lnTo>
                    <a:pt x="77" y="488"/>
                  </a:lnTo>
                  <a:lnTo>
                    <a:pt x="45" y="363"/>
                  </a:lnTo>
                  <a:lnTo>
                    <a:pt x="0" y="272"/>
                  </a:lnTo>
                  <a:lnTo>
                    <a:pt x="21" y="184"/>
                  </a:lnTo>
                  <a:lnTo>
                    <a:pt x="90" y="90"/>
                  </a:lnTo>
                  <a:lnTo>
                    <a:pt x="181"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1" name="Freeform 157">
              <a:extLst>
                <a:ext uri="{FF2B5EF4-FFF2-40B4-BE49-F238E27FC236}">
                  <a16:creationId xmlns:a16="http://schemas.microsoft.com/office/drawing/2014/main" id="{84880427-F66A-29A3-82B3-ADAF33202888}"/>
                </a:ext>
              </a:extLst>
            </p:cNvPr>
            <p:cNvSpPr>
              <a:spLocks/>
            </p:cNvSpPr>
            <p:nvPr/>
          </p:nvSpPr>
          <p:spPr bwMode="auto">
            <a:xfrm>
              <a:off x="4836202" y="2730432"/>
              <a:ext cx="78434" cy="46095"/>
            </a:xfrm>
            <a:custGeom>
              <a:avLst/>
              <a:gdLst>
                <a:gd name="T0" fmla="*/ 0 w 205"/>
                <a:gd name="T1" fmla="*/ 2147483647 h 117"/>
                <a:gd name="T2" fmla="*/ 2147483647 w 205"/>
                <a:gd name="T3" fmla="*/ 2147483647 h 117"/>
                <a:gd name="T4" fmla="*/ 2147483647 w 205"/>
                <a:gd name="T5" fmla="*/ 2147483647 h 117"/>
                <a:gd name="T6" fmla="*/ 2147483647 w 205"/>
                <a:gd name="T7" fmla="*/ 2147483647 h 117"/>
                <a:gd name="T8" fmla="*/ 2147483647 w 205"/>
                <a:gd name="T9" fmla="*/ 2147483647 h 117"/>
                <a:gd name="T10" fmla="*/ 2147483647 w 205"/>
                <a:gd name="T11" fmla="*/ 2147483647 h 117"/>
                <a:gd name="T12" fmla="*/ 2147483647 w 205"/>
                <a:gd name="T13" fmla="*/ 2147483647 h 117"/>
                <a:gd name="T14" fmla="*/ 2147483647 w 205"/>
                <a:gd name="T15" fmla="*/ 2147483647 h 117"/>
                <a:gd name="T16" fmla="*/ 2147483647 w 205"/>
                <a:gd name="T17" fmla="*/ 2147483647 h 117"/>
                <a:gd name="T18" fmla="*/ 2147483647 w 205"/>
                <a:gd name="T19" fmla="*/ 2147483647 h 117"/>
                <a:gd name="T20" fmla="*/ 2147483647 w 205"/>
                <a:gd name="T21" fmla="*/ 2147483647 h 117"/>
                <a:gd name="T22" fmla="*/ 2147483647 w 205"/>
                <a:gd name="T23" fmla="*/ 2147483647 h 117"/>
                <a:gd name="T24" fmla="*/ 2147483647 w 205"/>
                <a:gd name="T25" fmla="*/ 2147483647 h 117"/>
                <a:gd name="T26" fmla="*/ 2147483647 w 205"/>
                <a:gd name="T27" fmla="*/ 2147483647 h 117"/>
                <a:gd name="T28" fmla="*/ 2147483647 w 205"/>
                <a:gd name="T29" fmla="*/ 2147483647 h 117"/>
                <a:gd name="T30" fmla="*/ 2147483647 w 205"/>
                <a:gd name="T31" fmla="*/ 2147483647 h 117"/>
                <a:gd name="T32" fmla="*/ 2147483647 w 205"/>
                <a:gd name="T33" fmla="*/ 2147483647 h 117"/>
                <a:gd name="T34" fmla="*/ 2147483647 w 205"/>
                <a:gd name="T35" fmla="*/ 2147483647 h 117"/>
                <a:gd name="T36" fmla="*/ 2147483647 w 205"/>
                <a:gd name="T37" fmla="*/ 0 h 117"/>
                <a:gd name="T38" fmla="*/ 2147483647 w 205"/>
                <a:gd name="T39" fmla="*/ 2147483647 h 117"/>
                <a:gd name="T40" fmla="*/ 2147483647 w 205"/>
                <a:gd name="T41" fmla="*/ 2147483647 h 117"/>
                <a:gd name="T42" fmla="*/ 2147483647 w 205"/>
                <a:gd name="T43" fmla="*/ 2147483647 h 117"/>
                <a:gd name="T44" fmla="*/ 2147483647 w 205"/>
                <a:gd name="T45" fmla="*/ 2147483647 h 117"/>
                <a:gd name="T46" fmla="*/ 2147483647 w 205"/>
                <a:gd name="T47" fmla="*/ 2147483647 h 117"/>
                <a:gd name="T48" fmla="*/ 2147483647 w 205"/>
                <a:gd name="T49" fmla="*/ 2147483647 h 117"/>
                <a:gd name="T50" fmla="*/ 0 w 205"/>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117"/>
                <a:gd name="T80" fmla="*/ 205 w 205"/>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117">
                  <a:moveTo>
                    <a:pt x="0" y="89"/>
                  </a:moveTo>
                  <a:lnTo>
                    <a:pt x="2" y="107"/>
                  </a:lnTo>
                  <a:lnTo>
                    <a:pt x="20" y="113"/>
                  </a:lnTo>
                  <a:lnTo>
                    <a:pt x="37" y="113"/>
                  </a:lnTo>
                  <a:lnTo>
                    <a:pt x="58" y="113"/>
                  </a:lnTo>
                  <a:lnTo>
                    <a:pt x="78" y="116"/>
                  </a:lnTo>
                  <a:lnTo>
                    <a:pt x="101" y="113"/>
                  </a:lnTo>
                  <a:lnTo>
                    <a:pt x="120" y="117"/>
                  </a:lnTo>
                  <a:lnTo>
                    <a:pt x="138" y="100"/>
                  </a:lnTo>
                  <a:lnTo>
                    <a:pt x="148" y="86"/>
                  </a:lnTo>
                  <a:lnTo>
                    <a:pt x="146" y="59"/>
                  </a:lnTo>
                  <a:lnTo>
                    <a:pt x="149" y="41"/>
                  </a:lnTo>
                  <a:lnTo>
                    <a:pt x="155" y="32"/>
                  </a:lnTo>
                  <a:lnTo>
                    <a:pt x="172" y="44"/>
                  </a:lnTo>
                  <a:lnTo>
                    <a:pt x="191" y="43"/>
                  </a:lnTo>
                  <a:lnTo>
                    <a:pt x="205" y="33"/>
                  </a:lnTo>
                  <a:lnTo>
                    <a:pt x="196" y="8"/>
                  </a:lnTo>
                  <a:lnTo>
                    <a:pt x="171" y="8"/>
                  </a:lnTo>
                  <a:lnTo>
                    <a:pt x="148" y="0"/>
                  </a:lnTo>
                  <a:lnTo>
                    <a:pt x="118" y="6"/>
                  </a:lnTo>
                  <a:lnTo>
                    <a:pt x="82" y="21"/>
                  </a:lnTo>
                  <a:lnTo>
                    <a:pt x="57" y="38"/>
                  </a:lnTo>
                  <a:lnTo>
                    <a:pt x="41" y="42"/>
                  </a:lnTo>
                  <a:lnTo>
                    <a:pt x="11" y="45"/>
                  </a:lnTo>
                  <a:lnTo>
                    <a:pt x="12" y="71"/>
                  </a:lnTo>
                  <a:lnTo>
                    <a:pt x="0" y="8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2" name="Freeform 158">
              <a:extLst>
                <a:ext uri="{FF2B5EF4-FFF2-40B4-BE49-F238E27FC236}">
                  <a16:creationId xmlns:a16="http://schemas.microsoft.com/office/drawing/2014/main" id="{67D28AC7-E1CA-40F2-7397-3A87253AF287}"/>
                </a:ext>
              </a:extLst>
            </p:cNvPr>
            <p:cNvSpPr>
              <a:spLocks/>
            </p:cNvSpPr>
            <p:nvPr/>
          </p:nvSpPr>
          <p:spPr bwMode="auto">
            <a:xfrm>
              <a:off x="4838443" y="2741955"/>
              <a:ext cx="138943" cy="119848"/>
            </a:xfrm>
            <a:custGeom>
              <a:avLst/>
              <a:gdLst>
                <a:gd name="T0" fmla="*/ 3 w 580661"/>
                <a:gd name="T1" fmla="*/ 19 h 479512"/>
                <a:gd name="T2" fmla="*/ 2 w 580661"/>
                <a:gd name="T3" fmla="*/ 27 h 479512"/>
                <a:gd name="T4" fmla="*/ 4 w 580661"/>
                <a:gd name="T5" fmla="*/ 32 h 479512"/>
                <a:gd name="T6" fmla="*/ 9 w 580661"/>
                <a:gd name="T7" fmla="*/ 28 h 479512"/>
                <a:gd name="T8" fmla="*/ 14 w 580661"/>
                <a:gd name="T9" fmla="*/ 25 h 479512"/>
                <a:gd name="T10" fmla="*/ 20 w 580661"/>
                <a:gd name="T11" fmla="*/ 31 h 479512"/>
                <a:gd name="T12" fmla="*/ 20 w 580661"/>
                <a:gd name="T13" fmla="*/ 39 h 479512"/>
                <a:gd name="T14" fmla="*/ 25 w 580661"/>
                <a:gd name="T15" fmla="*/ 47 h 479512"/>
                <a:gd name="T16" fmla="*/ 28 w 580661"/>
                <a:gd name="T17" fmla="*/ 53 h 479512"/>
                <a:gd name="T18" fmla="*/ 24 w 580661"/>
                <a:gd name="T19" fmla="*/ 58 h 479512"/>
                <a:gd name="T20" fmla="*/ 30 w 580661"/>
                <a:gd name="T21" fmla="*/ 61 h 479512"/>
                <a:gd name="T22" fmla="*/ 38 w 580661"/>
                <a:gd name="T23" fmla="*/ 65 h 479512"/>
                <a:gd name="T24" fmla="*/ 45 w 580661"/>
                <a:gd name="T25" fmla="*/ 69 h 479512"/>
                <a:gd name="T26" fmla="*/ 51 w 580661"/>
                <a:gd name="T27" fmla="*/ 70 h 479512"/>
                <a:gd name="T28" fmla="*/ 48 w 580661"/>
                <a:gd name="T29" fmla="*/ 61 h 479512"/>
                <a:gd name="T30" fmla="*/ 41 w 580661"/>
                <a:gd name="T31" fmla="*/ 58 h 479512"/>
                <a:gd name="T32" fmla="*/ 37 w 580661"/>
                <a:gd name="T33" fmla="*/ 47 h 479512"/>
                <a:gd name="T34" fmla="*/ 36 w 580661"/>
                <a:gd name="T35" fmla="*/ 34 h 479512"/>
                <a:gd name="T36" fmla="*/ 45 w 580661"/>
                <a:gd name="T37" fmla="*/ 31 h 479512"/>
                <a:gd name="T38" fmla="*/ 54 w 580661"/>
                <a:gd name="T39" fmla="*/ 32 h 479512"/>
                <a:gd name="T40" fmla="*/ 63 w 580661"/>
                <a:gd name="T41" fmla="*/ 33 h 479512"/>
                <a:gd name="T42" fmla="*/ 72 w 580661"/>
                <a:gd name="T43" fmla="*/ 36 h 479512"/>
                <a:gd name="T44" fmla="*/ 80 w 580661"/>
                <a:gd name="T45" fmla="*/ 39 h 479512"/>
                <a:gd name="T46" fmla="*/ 79 w 580661"/>
                <a:gd name="T47" fmla="*/ 29 h 479512"/>
                <a:gd name="T48" fmla="*/ 76 w 580661"/>
                <a:gd name="T49" fmla="*/ 19 h 479512"/>
                <a:gd name="T50" fmla="*/ 61 w 580661"/>
                <a:gd name="T51" fmla="*/ 19 h 479512"/>
                <a:gd name="T52" fmla="*/ 49 w 580661"/>
                <a:gd name="T53" fmla="*/ 8 h 479512"/>
                <a:gd name="T54" fmla="*/ 42 w 580661"/>
                <a:gd name="T55" fmla="*/ 3 h 479512"/>
                <a:gd name="T56" fmla="*/ 34 w 580661"/>
                <a:gd name="T57" fmla="*/ 0 h 479512"/>
                <a:gd name="T58" fmla="*/ 31 w 580661"/>
                <a:gd name="T59" fmla="*/ 9 h 479512"/>
                <a:gd name="T60" fmla="*/ 28 w 580661"/>
                <a:gd name="T61" fmla="*/ 17 h 479512"/>
                <a:gd name="T62" fmla="*/ 22 w 580661"/>
                <a:gd name="T63" fmla="*/ 20 h 479512"/>
                <a:gd name="T64" fmla="*/ 12 w 580661"/>
                <a:gd name="T65" fmla="*/ 20 h 4795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0661"/>
                <a:gd name="T100" fmla="*/ 0 h 479512"/>
                <a:gd name="T101" fmla="*/ 580661 w 580661"/>
                <a:gd name="T102" fmla="*/ 479512 h 47951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0661" h="479512">
                  <a:moveTo>
                    <a:pt x="50472" y="129921"/>
                  </a:moveTo>
                  <a:lnTo>
                    <a:pt x="17945" y="127168"/>
                  </a:lnTo>
                  <a:lnTo>
                    <a:pt x="0" y="143544"/>
                  </a:lnTo>
                  <a:lnTo>
                    <a:pt x="14999" y="179009"/>
                  </a:lnTo>
                  <a:lnTo>
                    <a:pt x="11898" y="198628"/>
                  </a:lnTo>
                  <a:lnTo>
                    <a:pt x="25693" y="211392"/>
                  </a:lnTo>
                  <a:lnTo>
                    <a:pt x="60511" y="202741"/>
                  </a:lnTo>
                  <a:lnTo>
                    <a:pt x="66794" y="183789"/>
                  </a:lnTo>
                  <a:lnTo>
                    <a:pt x="75032" y="163014"/>
                  </a:lnTo>
                  <a:lnTo>
                    <a:pt x="96679" y="162461"/>
                  </a:lnTo>
                  <a:lnTo>
                    <a:pt x="119669" y="171562"/>
                  </a:lnTo>
                  <a:lnTo>
                    <a:pt x="144743" y="207085"/>
                  </a:lnTo>
                  <a:lnTo>
                    <a:pt x="164185" y="232588"/>
                  </a:lnTo>
                  <a:lnTo>
                    <a:pt x="144622" y="259562"/>
                  </a:lnTo>
                  <a:lnTo>
                    <a:pt x="151654" y="282822"/>
                  </a:lnTo>
                  <a:lnTo>
                    <a:pt x="181362" y="310386"/>
                  </a:lnTo>
                  <a:lnTo>
                    <a:pt x="206497" y="319671"/>
                  </a:lnTo>
                  <a:lnTo>
                    <a:pt x="199802" y="347733"/>
                  </a:lnTo>
                  <a:lnTo>
                    <a:pt x="175810" y="350475"/>
                  </a:lnTo>
                  <a:lnTo>
                    <a:pt x="169759" y="382842"/>
                  </a:lnTo>
                  <a:lnTo>
                    <a:pt x="198538" y="388185"/>
                  </a:lnTo>
                  <a:lnTo>
                    <a:pt x="216437" y="406400"/>
                  </a:lnTo>
                  <a:lnTo>
                    <a:pt x="254731" y="417592"/>
                  </a:lnTo>
                  <a:lnTo>
                    <a:pt x="270595" y="430068"/>
                  </a:lnTo>
                  <a:lnTo>
                    <a:pt x="294186" y="432065"/>
                  </a:lnTo>
                  <a:lnTo>
                    <a:pt x="318587" y="457852"/>
                  </a:lnTo>
                  <a:lnTo>
                    <a:pt x="347411" y="479512"/>
                  </a:lnTo>
                  <a:lnTo>
                    <a:pt x="364999" y="463107"/>
                  </a:lnTo>
                  <a:lnTo>
                    <a:pt x="360269" y="442428"/>
                  </a:lnTo>
                  <a:lnTo>
                    <a:pt x="342399" y="406655"/>
                  </a:lnTo>
                  <a:lnTo>
                    <a:pt x="315892" y="405272"/>
                  </a:lnTo>
                  <a:lnTo>
                    <a:pt x="289940" y="384388"/>
                  </a:lnTo>
                  <a:lnTo>
                    <a:pt x="276862" y="347495"/>
                  </a:lnTo>
                  <a:lnTo>
                    <a:pt x="263818" y="310206"/>
                  </a:lnTo>
                  <a:lnTo>
                    <a:pt x="243577" y="253064"/>
                  </a:lnTo>
                  <a:lnTo>
                    <a:pt x="260246" y="224489"/>
                  </a:lnTo>
                  <a:lnTo>
                    <a:pt x="288989" y="204181"/>
                  </a:lnTo>
                  <a:lnTo>
                    <a:pt x="321516" y="206933"/>
                  </a:lnTo>
                  <a:lnTo>
                    <a:pt x="356522" y="205919"/>
                  </a:lnTo>
                  <a:lnTo>
                    <a:pt x="386212" y="212408"/>
                  </a:lnTo>
                  <a:lnTo>
                    <a:pt x="418740" y="215160"/>
                  </a:lnTo>
                  <a:lnTo>
                    <a:pt x="451267" y="217912"/>
                  </a:lnTo>
                  <a:lnTo>
                    <a:pt x="483437" y="220635"/>
                  </a:lnTo>
                  <a:lnTo>
                    <a:pt x="514460" y="241153"/>
                  </a:lnTo>
                  <a:lnTo>
                    <a:pt x="546987" y="243906"/>
                  </a:lnTo>
                  <a:lnTo>
                    <a:pt x="574414" y="260143"/>
                  </a:lnTo>
                  <a:lnTo>
                    <a:pt x="580661" y="228861"/>
                  </a:lnTo>
                  <a:lnTo>
                    <a:pt x="567616" y="191574"/>
                  </a:lnTo>
                  <a:lnTo>
                    <a:pt x="554571" y="154286"/>
                  </a:lnTo>
                  <a:lnTo>
                    <a:pt x="541234" y="129239"/>
                  </a:lnTo>
                  <a:lnTo>
                    <a:pt x="498371" y="134002"/>
                  </a:lnTo>
                  <a:lnTo>
                    <a:pt x="436459" y="126858"/>
                  </a:lnTo>
                  <a:lnTo>
                    <a:pt x="398359" y="86377"/>
                  </a:lnTo>
                  <a:lnTo>
                    <a:pt x="353115" y="53039"/>
                  </a:lnTo>
                  <a:lnTo>
                    <a:pt x="318446" y="702"/>
                  </a:lnTo>
                  <a:lnTo>
                    <a:pt x="296893" y="17169"/>
                  </a:lnTo>
                  <a:lnTo>
                    <a:pt x="265395" y="19275"/>
                  </a:lnTo>
                  <a:lnTo>
                    <a:pt x="239666" y="0"/>
                  </a:lnTo>
                  <a:lnTo>
                    <a:pt x="223337" y="19702"/>
                  </a:lnTo>
                  <a:lnTo>
                    <a:pt x="222146" y="62564"/>
                  </a:lnTo>
                  <a:lnTo>
                    <a:pt x="228284" y="87709"/>
                  </a:lnTo>
                  <a:lnTo>
                    <a:pt x="203096" y="113761"/>
                  </a:lnTo>
                  <a:lnTo>
                    <a:pt x="179284" y="132811"/>
                  </a:lnTo>
                  <a:lnTo>
                    <a:pt x="157434" y="129429"/>
                  </a:lnTo>
                  <a:lnTo>
                    <a:pt x="115884" y="135456"/>
                  </a:lnTo>
                  <a:lnTo>
                    <a:pt x="87165" y="130243"/>
                  </a:lnTo>
                  <a:lnTo>
                    <a:pt x="50472" y="12992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3" name="Freeform 159">
              <a:extLst>
                <a:ext uri="{FF2B5EF4-FFF2-40B4-BE49-F238E27FC236}">
                  <a16:creationId xmlns:a16="http://schemas.microsoft.com/office/drawing/2014/main" id="{F5A4C132-57DF-C1DF-89C3-2FBFAEA1F001}"/>
                </a:ext>
              </a:extLst>
            </p:cNvPr>
            <p:cNvSpPr>
              <a:spLocks/>
            </p:cNvSpPr>
            <p:nvPr/>
          </p:nvSpPr>
          <p:spPr bwMode="auto">
            <a:xfrm>
              <a:off x="4896709" y="2792660"/>
              <a:ext cx="89640" cy="101410"/>
            </a:xfrm>
            <a:custGeom>
              <a:avLst/>
              <a:gdLst>
                <a:gd name="T0" fmla="*/ 2147483647 w 200"/>
                <a:gd name="T1" fmla="*/ 2147483647 h 221"/>
                <a:gd name="T2" fmla="*/ 2147483647 w 200"/>
                <a:gd name="T3" fmla="*/ 2147483647 h 221"/>
                <a:gd name="T4" fmla="*/ 2147483647 w 200"/>
                <a:gd name="T5" fmla="*/ 2147483647 h 221"/>
                <a:gd name="T6" fmla="*/ 2147483647 w 200"/>
                <a:gd name="T7" fmla="*/ 2147483647 h 221"/>
                <a:gd name="T8" fmla="*/ 2147483647 w 200"/>
                <a:gd name="T9" fmla="*/ 2147483647 h 221"/>
                <a:gd name="T10" fmla="*/ 2147483647 w 200"/>
                <a:gd name="T11" fmla="*/ 2147483647 h 221"/>
                <a:gd name="T12" fmla="*/ 2147483647 w 200"/>
                <a:gd name="T13" fmla="*/ 2147483647 h 221"/>
                <a:gd name="T14" fmla="*/ 2147483647 w 200"/>
                <a:gd name="T15" fmla="*/ 2147483647 h 221"/>
                <a:gd name="T16" fmla="*/ 2147483647 w 200"/>
                <a:gd name="T17" fmla="*/ 2147483647 h 221"/>
                <a:gd name="T18" fmla="*/ 2147483647 w 200"/>
                <a:gd name="T19" fmla="*/ 2147483647 h 221"/>
                <a:gd name="T20" fmla="*/ 2147483647 w 200"/>
                <a:gd name="T21" fmla="*/ 2147483647 h 221"/>
                <a:gd name="T22" fmla="*/ 2147483647 w 200"/>
                <a:gd name="T23" fmla="*/ 2147483647 h 221"/>
                <a:gd name="T24" fmla="*/ 2147483647 w 200"/>
                <a:gd name="T25" fmla="*/ 2147483647 h 221"/>
                <a:gd name="T26" fmla="*/ 2147483647 w 200"/>
                <a:gd name="T27" fmla="*/ 2147483647 h 221"/>
                <a:gd name="T28" fmla="*/ 2147483647 w 200"/>
                <a:gd name="T29" fmla="*/ 2147483647 h 221"/>
                <a:gd name="T30" fmla="*/ 2147483647 w 200"/>
                <a:gd name="T31" fmla="*/ 2147483647 h 221"/>
                <a:gd name="T32" fmla="*/ 2147483647 w 200"/>
                <a:gd name="T33" fmla="*/ 2147483647 h 221"/>
                <a:gd name="T34" fmla="*/ 2147483647 w 200"/>
                <a:gd name="T35" fmla="*/ 2147483647 h 221"/>
                <a:gd name="T36" fmla="*/ 2147483647 w 200"/>
                <a:gd name="T37" fmla="*/ 2147483647 h 221"/>
                <a:gd name="T38" fmla="*/ 2147483647 w 200"/>
                <a:gd name="T39" fmla="*/ 2147483647 h 221"/>
                <a:gd name="T40" fmla="*/ 2147483647 w 200"/>
                <a:gd name="T41" fmla="*/ 2147483647 h 221"/>
                <a:gd name="T42" fmla="*/ 2147483647 w 200"/>
                <a:gd name="T43" fmla="*/ 2147483647 h 221"/>
                <a:gd name="T44" fmla="*/ 2147483647 w 200"/>
                <a:gd name="T45" fmla="*/ 2147483647 h 221"/>
                <a:gd name="T46" fmla="*/ 2147483647 w 200"/>
                <a:gd name="T47" fmla="*/ 2147483647 h 221"/>
                <a:gd name="T48" fmla="*/ 2147483647 w 200"/>
                <a:gd name="T49" fmla="*/ 2147483647 h 221"/>
                <a:gd name="T50" fmla="*/ 2147483647 w 200"/>
                <a:gd name="T51" fmla="*/ 2147483647 h 221"/>
                <a:gd name="T52" fmla="*/ 2147483647 w 200"/>
                <a:gd name="T53" fmla="*/ 2147483647 h 221"/>
                <a:gd name="T54" fmla="*/ 2147483647 w 200"/>
                <a:gd name="T55" fmla="*/ 2147483647 h 221"/>
                <a:gd name="T56" fmla="*/ 2147483647 w 200"/>
                <a:gd name="T57" fmla="*/ 2147483647 h 221"/>
                <a:gd name="T58" fmla="*/ 2147483647 w 200"/>
                <a:gd name="T59" fmla="*/ 2147483647 h 221"/>
                <a:gd name="T60" fmla="*/ 2147483647 w 200"/>
                <a:gd name="T61" fmla="*/ 2147483647 h 221"/>
                <a:gd name="T62" fmla="*/ 2147483647 w 200"/>
                <a:gd name="T63" fmla="*/ 2147483647 h 221"/>
                <a:gd name="T64" fmla="*/ 2147483647 w 200"/>
                <a:gd name="T65" fmla="*/ 2147483647 h 221"/>
                <a:gd name="T66" fmla="*/ 2147483647 w 200"/>
                <a:gd name="T67" fmla="*/ 2147483647 h 221"/>
                <a:gd name="T68" fmla="*/ 2147483647 w 200"/>
                <a:gd name="T69" fmla="*/ 2147483647 h 221"/>
                <a:gd name="T70" fmla="*/ 2147483647 w 200"/>
                <a:gd name="T71" fmla="*/ 2147483647 h 221"/>
                <a:gd name="T72" fmla="*/ 0 w 200"/>
                <a:gd name="T73" fmla="*/ 2147483647 h 221"/>
                <a:gd name="T74" fmla="*/ 2147483647 w 200"/>
                <a:gd name="T75" fmla="*/ 2147483647 h 221"/>
                <a:gd name="T76" fmla="*/ 2147483647 w 200"/>
                <a:gd name="T77" fmla="*/ 0 h 221"/>
                <a:gd name="T78" fmla="*/ 2147483647 w 200"/>
                <a:gd name="T79" fmla="*/ 2147483647 h 221"/>
                <a:gd name="T80" fmla="*/ 2147483647 w 200"/>
                <a:gd name="T81" fmla="*/ 2147483647 h 221"/>
                <a:gd name="T82" fmla="*/ 2147483647 w 200"/>
                <a:gd name="T83" fmla="*/ 2147483647 h 221"/>
                <a:gd name="T84" fmla="*/ 2147483647 w 200"/>
                <a:gd name="T85" fmla="*/ 2147483647 h 221"/>
                <a:gd name="T86" fmla="*/ 2147483647 w 200"/>
                <a:gd name="T87" fmla="*/ 2147483647 h 221"/>
                <a:gd name="T88" fmla="*/ 2147483647 w 200"/>
                <a:gd name="T89" fmla="*/ 2147483647 h 221"/>
                <a:gd name="T90" fmla="*/ 2147483647 w 200"/>
                <a:gd name="T91" fmla="*/ 2147483647 h 2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0"/>
                <a:gd name="T139" fmla="*/ 0 h 221"/>
                <a:gd name="T140" fmla="*/ 200 w 200"/>
                <a:gd name="T141" fmla="*/ 221 h 2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0" h="221">
                  <a:moveTo>
                    <a:pt x="180" y="30"/>
                  </a:moveTo>
                  <a:lnTo>
                    <a:pt x="185" y="58"/>
                  </a:lnTo>
                  <a:lnTo>
                    <a:pt x="179" y="72"/>
                  </a:lnTo>
                  <a:lnTo>
                    <a:pt x="186" y="88"/>
                  </a:lnTo>
                  <a:lnTo>
                    <a:pt x="195" y="83"/>
                  </a:lnTo>
                  <a:lnTo>
                    <a:pt x="200" y="98"/>
                  </a:lnTo>
                  <a:lnTo>
                    <a:pt x="199" y="110"/>
                  </a:lnTo>
                  <a:lnTo>
                    <a:pt x="183" y="106"/>
                  </a:lnTo>
                  <a:lnTo>
                    <a:pt x="184" y="120"/>
                  </a:lnTo>
                  <a:lnTo>
                    <a:pt x="192" y="126"/>
                  </a:lnTo>
                  <a:lnTo>
                    <a:pt x="192" y="141"/>
                  </a:lnTo>
                  <a:lnTo>
                    <a:pt x="181" y="142"/>
                  </a:lnTo>
                  <a:lnTo>
                    <a:pt x="169" y="145"/>
                  </a:lnTo>
                  <a:lnTo>
                    <a:pt x="172" y="154"/>
                  </a:lnTo>
                  <a:lnTo>
                    <a:pt x="181" y="163"/>
                  </a:lnTo>
                  <a:lnTo>
                    <a:pt x="177" y="172"/>
                  </a:lnTo>
                  <a:lnTo>
                    <a:pt x="168" y="167"/>
                  </a:lnTo>
                  <a:lnTo>
                    <a:pt x="160" y="163"/>
                  </a:lnTo>
                  <a:lnTo>
                    <a:pt x="153" y="164"/>
                  </a:lnTo>
                  <a:lnTo>
                    <a:pt x="153" y="181"/>
                  </a:lnTo>
                  <a:lnTo>
                    <a:pt x="145" y="190"/>
                  </a:lnTo>
                  <a:lnTo>
                    <a:pt x="148" y="202"/>
                  </a:lnTo>
                  <a:lnTo>
                    <a:pt x="147" y="221"/>
                  </a:lnTo>
                  <a:lnTo>
                    <a:pt x="124" y="211"/>
                  </a:lnTo>
                  <a:lnTo>
                    <a:pt x="108" y="202"/>
                  </a:lnTo>
                  <a:lnTo>
                    <a:pt x="95" y="190"/>
                  </a:lnTo>
                  <a:lnTo>
                    <a:pt x="84" y="172"/>
                  </a:lnTo>
                  <a:lnTo>
                    <a:pt x="66" y="154"/>
                  </a:lnTo>
                  <a:lnTo>
                    <a:pt x="55" y="149"/>
                  </a:lnTo>
                  <a:lnTo>
                    <a:pt x="66" y="139"/>
                  </a:lnTo>
                  <a:lnTo>
                    <a:pt x="63" y="128"/>
                  </a:lnTo>
                  <a:lnTo>
                    <a:pt x="54" y="111"/>
                  </a:lnTo>
                  <a:lnTo>
                    <a:pt x="39" y="112"/>
                  </a:lnTo>
                  <a:lnTo>
                    <a:pt x="22" y="97"/>
                  </a:lnTo>
                  <a:lnTo>
                    <a:pt x="16" y="73"/>
                  </a:lnTo>
                  <a:lnTo>
                    <a:pt x="7" y="48"/>
                  </a:lnTo>
                  <a:lnTo>
                    <a:pt x="0" y="28"/>
                  </a:lnTo>
                  <a:lnTo>
                    <a:pt x="10" y="9"/>
                  </a:lnTo>
                  <a:lnTo>
                    <a:pt x="28" y="0"/>
                  </a:lnTo>
                  <a:lnTo>
                    <a:pt x="49" y="2"/>
                  </a:lnTo>
                  <a:lnTo>
                    <a:pt x="63" y="1"/>
                  </a:lnTo>
                  <a:lnTo>
                    <a:pt x="79" y="4"/>
                  </a:lnTo>
                  <a:lnTo>
                    <a:pt x="132" y="9"/>
                  </a:lnTo>
                  <a:lnTo>
                    <a:pt x="148" y="20"/>
                  </a:lnTo>
                  <a:lnTo>
                    <a:pt x="166" y="22"/>
                  </a:lnTo>
                  <a:lnTo>
                    <a:pt x="180" y="3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4" name="Freeform 160">
              <a:extLst>
                <a:ext uri="{FF2B5EF4-FFF2-40B4-BE49-F238E27FC236}">
                  <a16:creationId xmlns:a16="http://schemas.microsoft.com/office/drawing/2014/main" id="{23914B13-FF73-8AB4-2BBA-E38D19801261}"/>
                </a:ext>
              </a:extLst>
            </p:cNvPr>
            <p:cNvSpPr>
              <a:spLocks/>
            </p:cNvSpPr>
            <p:nvPr/>
          </p:nvSpPr>
          <p:spPr bwMode="auto">
            <a:xfrm>
              <a:off x="7009982" y="545516"/>
              <a:ext cx="165835" cy="186686"/>
            </a:xfrm>
            <a:custGeom>
              <a:avLst/>
              <a:gdLst>
                <a:gd name="T0" fmla="*/ 2147483647 w 430"/>
                <a:gd name="T1" fmla="*/ 2147483647 h 476"/>
                <a:gd name="T2" fmla="*/ 2147483647 w 430"/>
                <a:gd name="T3" fmla="*/ 2147483647 h 476"/>
                <a:gd name="T4" fmla="*/ 2147483647 w 430"/>
                <a:gd name="T5" fmla="*/ 2147483647 h 476"/>
                <a:gd name="T6" fmla="*/ 2147483647 w 430"/>
                <a:gd name="T7" fmla="*/ 0 h 476"/>
                <a:gd name="T8" fmla="*/ 2147483647 w 430"/>
                <a:gd name="T9" fmla="*/ 2147483647 h 476"/>
                <a:gd name="T10" fmla="*/ 2147483647 w 430"/>
                <a:gd name="T11" fmla="*/ 2147483647 h 476"/>
                <a:gd name="T12" fmla="*/ 2147483647 w 430"/>
                <a:gd name="T13" fmla="*/ 2147483647 h 476"/>
                <a:gd name="T14" fmla="*/ 2147483647 w 430"/>
                <a:gd name="T15" fmla="*/ 2147483647 h 476"/>
                <a:gd name="T16" fmla="*/ 2147483647 w 430"/>
                <a:gd name="T17" fmla="*/ 2147483647 h 476"/>
                <a:gd name="T18" fmla="*/ 2147483647 w 430"/>
                <a:gd name="T19" fmla="*/ 2147483647 h 476"/>
                <a:gd name="T20" fmla="*/ 2147483647 w 430"/>
                <a:gd name="T21" fmla="*/ 2147483647 h 476"/>
                <a:gd name="T22" fmla="*/ 0 w 430"/>
                <a:gd name="T23" fmla="*/ 2147483647 h 476"/>
                <a:gd name="T24" fmla="*/ 2147483647 w 430"/>
                <a:gd name="T25" fmla="*/ 2147483647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0"/>
                <a:gd name="T40" fmla="*/ 0 h 476"/>
                <a:gd name="T41" fmla="*/ 430 w 430"/>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0" h="476">
                  <a:moveTo>
                    <a:pt x="34" y="337"/>
                  </a:moveTo>
                  <a:lnTo>
                    <a:pt x="64" y="183"/>
                  </a:lnTo>
                  <a:lnTo>
                    <a:pt x="125" y="19"/>
                  </a:lnTo>
                  <a:lnTo>
                    <a:pt x="229" y="0"/>
                  </a:lnTo>
                  <a:lnTo>
                    <a:pt x="320" y="92"/>
                  </a:lnTo>
                  <a:lnTo>
                    <a:pt x="397" y="201"/>
                  </a:lnTo>
                  <a:lnTo>
                    <a:pt x="430" y="275"/>
                  </a:lnTo>
                  <a:lnTo>
                    <a:pt x="366" y="330"/>
                  </a:lnTo>
                  <a:lnTo>
                    <a:pt x="306" y="382"/>
                  </a:lnTo>
                  <a:lnTo>
                    <a:pt x="146" y="412"/>
                  </a:lnTo>
                  <a:lnTo>
                    <a:pt x="18" y="476"/>
                  </a:lnTo>
                  <a:lnTo>
                    <a:pt x="0" y="403"/>
                  </a:lnTo>
                  <a:lnTo>
                    <a:pt x="34" y="33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5" name="Freeform 161">
              <a:extLst>
                <a:ext uri="{FF2B5EF4-FFF2-40B4-BE49-F238E27FC236}">
                  <a16:creationId xmlns:a16="http://schemas.microsoft.com/office/drawing/2014/main" id="{3AA999EF-F621-BDF4-D859-8EC9DF0B9A72}"/>
                </a:ext>
              </a:extLst>
            </p:cNvPr>
            <p:cNvSpPr>
              <a:spLocks/>
            </p:cNvSpPr>
            <p:nvPr/>
          </p:nvSpPr>
          <p:spPr bwMode="auto">
            <a:xfrm>
              <a:off x="7980338" y="960372"/>
              <a:ext cx="206173" cy="154418"/>
            </a:xfrm>
            <a:custGeom>
              <a:avLst/>
              <a:gdLst>
                <a:gd name="T0" fmla="*/ 2147483647 w 539"/>
                <a:gd name="T1" fmla="*/ 2147483647 h 393"/>
                <a:gd name="T2" fmla="*/ 0 w 539"/>
                <a:gd name="T3" fmla="*/ 2147483647 h 393"/>
                <a:gd name="T4" fmla="*/ 2147483647 w 539"/>
                <a:gd name="T5" fmla="*/ 2147483647 h 393"/>
                <a:gd name="T6" fmla="*/ 2147483647 w 539"/>
                <a:gd name="T7" fmla="*/ 2147483647 h 393"/>
                <a:gd name="T8" fmla="*/ 2147483647 w 539"/>
                <a:gd name="T9" fmla="*/ 0 h 393"/>
                <a:gd name="T10" fmla="*/ 2147483647 w 539"/>
                <a:gd name="T11" fmla="*/ 2147483647 h 393"/>
                <a:gd name="T12" fmla="*/ 2147483647 w 539"/>
                <a:gd name="T13" fmla="*/ 2147483647 h 393"/>
                <a:gd name="T14" fmla="*/ 2147483647 w 539"/>
                <a:gd name="T15" fmla="*/ 2147483647 h 393"/>
                <a:gd name="T16" fmla="*/ 2147483647 w 539"/>
                <a:gd name="T17" fmla="*/ 2147483647 h 393"/>
                <a:gd name="T18" fmla="*/ 2147483647 w 539"/>
                <a:gd name="T19" fmla="*/ 2147483647 h 393"/>
                <a:gd name="T20" fmla="*/ 2147483647 w 539"/>
                <a:gd name="T21" fmla="*/ 2147483647 h 393"/>
                <a:gd name="T22" fmla="*/ 2147483647 w 539"/>
                <a:gd name="T23" fmla="*/ 2147483647 h 393"/>
                <a:gd name="T24" fmla="*/ 2147483647 w 539"/>
                <a:gd name="T25" fmla="*/ 2147483647 h 393"/>
                <a:gd name="T26" fmla="*/ 2147483647 w 539"/>
                <a:gd name="T27" fmla="*/ 2147483647 h 39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9"/>
                <a:gd name="T43" fmla="*/ 0 h 393"/>
                <a:gd name="T44" fmla="*/ 539 w 539"/>
                <a:gd name="T45" fmla="*/ 393 h 39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9" h="393">
                  <a:moveTo>
                    <a:pt x="6" y="230"/>
                  </a:moveTo>
                  <a:lnTo>
                    <a:pt x="0" y="119"/>
                  </a:lnTo>
                  <a:lnTo>
                    <a:pt x="55" y="18"/>
                  </a:lnTo>
                  <a:lnTo>
                    <a:pt x="237" y="55"/>
                  </a:lnTo>
                  <a:lnTo>
                    <a:pt x="329" y="0"/>
                  </a:lnTo>
                  <a:lnTo>
                    <a:pt x="369" y="94"/>
                  </a:lnTo>
                  <a:lnTo>
                    <a:pt x="539" y="146"/>
                  </a:lnTo>
                  <a:lnTo>
                    <a:pt x="493" y="228"/>
                  </a:lnTo>
                  <a:lnTo>
                    <a:pt x="420" y="320"/>
                  </a:lnTo>
                  <a:lnTo>
                    <a:pt x="329" y="338"/>
                  </a:lnTo>
                  <a:lnTo>
                    <a:pt x="247" y="320"/>
                  </a:lnTo>
                  <a:lnTo>
                    <a:pt x="128" y="393"/>
                  </a:lnTo>
                  <a:lnTo>
                    <a:pt x="36" y="338"/>
                  </a:lnTo>
                  <a:lnTo>
                    <a:pt x="6" y="23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6" name="Freeform 162">
              <a:extLst>
                <a:ext uri="{FF2B5EF4-FFF2-40B4-BE49-F238E27FC236}">
                  <a16:creationId xmlns:a16="http://schemas.microsoft.com/office/drawing/2014/main" id="{00DEA835-3B36-2ECC-5DB1-1B638691F63D}"/>
                </a:ext>
              </a:extLst>
            </p:cNvPr>
            <p:cNvSpPr>
              <a:spLocks/>
            </p:cNvSpPr>
            <p:nvPr/>
          </p:nvSpPr>
          <p:spPr bwMode="auto">
            <a:xfrm>
              <a:off x="8208921" y="1029517"/>
              <a:ext cx="136703" cy="78363"/>
            </a:xfrm>
            <a:custGeom>
              <a:avLst/>
              <a:gdLst>
                <a:gd name="T0" fmla="*/ 0 w 356"/>
                <a:gd name="T1" fmla="*/ 2147483647 h 201"/>
                <a:gd name="T2" fmla="*/ 2147483647 w 356"/>
                <a:gd name="T3" fmla="*/ 0 h 201"/>
                <a:gd name="T4" fmla="*/ 2147483647 w 356"/>
                <a:gd name="T5" fmla="*/ 2147483647 h 201"/>
                <a:gd name="T6" fmla="*/ 2147483647 w 356"/>
                <a:gd name="T7" fmla="*/ 2147483647 h 201"/>
                <a:gd name="T8" fmla="*/ 2147483647 w 356"/>
                <a:gd name="T9" fmla="*/ 2147483647 h 201"/>
                <a:gd name="T10" fmla="*/ 2147483647 w 356"/>
                <a:gd name="T11" fmla="*/ 2147483647 h 201"/>
                <a:gd name="T12" fmla="*/ 2147483647 w 356"/>
                <a:gd name="T13" fmla="*/ 2147483647 h 201"/>
                <a:gd name="T14" fmla="*/ 2147483647 w 356"/>
                <a:gd name="T15" fmla="*/ 2147483647 h 201"/>
                <a:gd name="T16" fmla="*/ 0 w 356"/>
                <a:gd name="T17" fmla="*/ 2147483647 h 2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6"/>
                <a:gd name="T28" fmla="*/ 0 h 201"/>
                <a:gd name="T29" fmla="*/ 356 w 356"/>
                <a:gd name="T30" fmla="*/ 201 h 2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6" h="201">
                  <a:moveTo>
                    <a:pt x="0" y="56"/>
                  </a:moveTo>
                  <a:lnTo>
                    <a:pt x="72" y="0"/>
                  </a:lnTo>
                  <a:lnTo>
                    <a:pt x="182" y="36"/>
                  </a:lnTo>
                  <a:lnTo>
                    <a:pt x="273" y="54"/>
                  </a:lnTo>
                  <a:lnTo>
                    <a:pt x="356" y="109"/>
                  </a:lnTo>
                  <a:lnTo>
                    <a:pt x="264" y="182"/>
                  </a:lnTo>
                  <a:lnTo>
                    <a:pt x="173" y="201"/>
                  </a:lnTo>
                  <a:lnTo>
                    <a:pt x="72" y="128"/>
                  </a:lnTo>
                  <a:lnTo>
                    <a:pt x="0" y="5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7" name="Freeform 163">
              <a:extLst>
                <a:ext uri="{FF2B5EF4-FFF2-40B4-BE49-F238E27FC236}">
                  <a16:creationId xmlns:a16="http://schemas.microsoft.com/office/drawing/2014/main" id="{777431D0-C4DC-37F8-5D1D-468174F49137}"/>
                </a:ext>
              </a:extLst>
            </p:cNvPr>
            <p:cNvSpPr>
              <a:spLocks/>
            </p:cNvSpPr>
            <p:nvPr/>
          </p:nvSpPr>
          <p:spPr bwMode="auto">
            <a:xfrm>
              <a:off x="8076702" y="1179325"/>
              <a:ext cx="78434" cy="69143"/>
            </a:xfrm>
            <a:custGeom>
              <a:avLst/>
              <a:gdLst>
                <a:gd name="T0" fmla="*/ 0 w 326231"/>
                <a:gd name="T1" fmla="*/ 26 h 273844"/>
                <a:gd name="T2" fmla="*/ 5 w 326231"/>
                <a:gd name="T3" fmla="*/ 17 h 273844"/>
                <a:gd name="T4" fmla="*/ 10 w 326231"/>
                <a:gd name="T5" fmla="*/ 6 h 273844"/>
                <a:gd name="T6" fmla="*/ 22 w 326231"/>
                <a:gd name="T7" fmla="*/ 0 h 273844"/>
                <a:gd name="T8" fmla="*/ 32 w 326231"/>
                <a:gd name="T9" fmla="*/ 6 h 273844"/>
                <a:gd name="T10" fmla="*/ 45 w 326231"/>
                <a:gd name="T11" fmla="*/ 21 h 273844"/>
                <a:gd name="T12" fmla="*/ 47 w 326231"/>
                <a:gd name="T13" fmla="*/ 44 h 273844"/>
                <a:gd name="T14" fmla="*/ 35 w 326231"/>
                <a:gd name="T15" fmla="*/ 41 h 273844"/>
                <a:gd name="T16" fmla="*/ 15 w 326231"/>
                <a:gd name="T17" fmla="*/ 41 h 273844"/>
                <a:gd name="T18" fmla="*/ 0 w 326231"/>
                <a:gd name="T19" fmla="*/ 26 h 2738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6231"/>
                <a:gd name="T31" fmla="*/ 0 h 273844"/>
                <a:gd name="T32" fmla="*/ 326231 w 326231"/>
                <a:gd name="T33" fmla="*/ 273844 h 2738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6231" h="273844">
                  <a:moveTo>
                    <a:pt x="0" y="161925"/>
                  </a:moveTo>
                  <a:lnTo>
                    <a:pt x="38100" y="107156"/>
                  </a:lnTo>
                  <a:lnTo>
                    <a:pt x="66675" y="38100"/>
                  </a:lnTo>
                  <a:lnTo>
                    <a:pt x="154781" y="0"/>
                  </a:lnTo>
                  <a:lnTo>
                    <a:pt x="221456" y="35719"/>
                  </a:lnTo>
                  <a:lnTo>
                    <a:pt x="314325" y="130969"/>
                  </a:lnTo>
                  <a:lnTo>
                    <a:pt x="326231" y="273844"/>
                  </a:lnTo>
                  <a:lnTo>
                    <a:pt x="245268" y="254794"/>
                  </a:lnTo>
                  <a:lnTo>
                    <a:pt x="107156" y="254794"/>
                  </a:lnTo>
                  <a:lnTo>
                    <a:pt x="0" y="16192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8" name="Freeform 164">
              <a:extLst>
                <a:ext uri="{FF2B5EF4-FFF2-40B4-BE49-F238E27FC236}">
                  <a16:creationId xmlns:a16="http://schemas.microsoft.com/office/drawing/2014/main" id="{DEA191BD-61E6-3244-365C-A43896F3337C}"/>
                </a:ext>
              </a:extLst>
            </p:cNvPr>
            <p:cNvSpPr>
              <a:spLocks/>
            </p:cNvSpPr>
            <p:nvPr/>
          </p:nvSpPr>
          <p:spPr bwMode="auto">
            <a:xfrm>
              <a:off x="6812772" y="285075"/>
              <a:ext cx="210655" cy="350324"/>
            </a:xfrm>
            <a:custGeom>
              <a:avLst/>
              <a:gdLst>
                <a:gd name="T0" fmla="*/ 2147483647 w 558"/>
                <a:gd name="T1" fmla="*/ 2147483647 h 887"/>
                <a:gd name="T2" fmla="*/ 2147483647 w 558"/>
                <a:gd name="T3" fmla="*/ 2147483647 h 887"/>
                <a:gd name="T4" fmla="*/ 2147483647 w 558"/>
                <a:gd name="T5" fmla="*/ 2147483647 h 887"/>
                <a:gd name="T6" fmla="*/ 2147483647 w 558"/>
                <a:gd name="T7" fmla="*/ 2147483647 h 887"/>
                <a:gd name="T8" fmla="*/ 2147483647 w 558"/>
                <a:gd name="T9" fmla="*/ 0 h 887"/>
                <a:gd name="T10" fmla="*/ 2147483647 w 558"/>
                <a:gd name="T11" fmla="*/ 2147483647 h 887"/>
                <a:gd name="T12" fmla="*/ 2147483647 w 558"/>
                <a:gd name="T13" fmla="*/ 2147483647 h 887"/>
                <a:gd name="T14" fmla="*/ 2147483647 w 558"/>
                <a:gd name="T15" fmla="*/ 2147483647 h 887"/>
                <a:gd name="T16" fmla="*/ 2147483647 w 558"/>
                <a:gd name="T17" fmla="*/ 2147483647 h 887"/>
                <a:gd name="T18" fmla="*/ 2147483647 w 558"/>
                <a:gd name="T19" fmla="*/ 2147483647 h 887"/>
                <a:gd name="T20" fmla="*/ 2147483647 w 558"/>
                <a:gd name="T21" fmla="*/ 2147483647 h 887"/>
                <a:gd name="T22" fmla="*/ 2147483647 w 558"/>
                <a:gd name="T23" fmla="*/ 2147483647 h 887"/>
                <a:gd name="T24" fmla="*/ 2147483647 w 558"/>
                <a:gd name="T25" fmla="*/ 2147483647 h 887"/>
                <a:gd name="T26" fmla="*/ 2147483647 w 558"/>
                <a:gd name="T27" fmla="*/ 2147483647 h 887"/>
                <a:gd name="T28" fmla="*/ 2147483647 w 558"/>
                <a:gd name="T29" fmla="*/ 2147483647 h 887"/>
                <a:gd name="T30" fmla="*/ 2147483647 w 558"/>
                <a:gd name="T31" fmla="*/ 2147483647 h 887"/>
                <a:gd name="T32" fmla="*/ 2147483647 w 558"/>
                <a:gd name="T33" fmla="*/ 2147483647 h 887"/>
                <a:gd name="T34" fmla="*/ 2147483647 w 558"/>
                <a:gd name="T35" fmla="*/ 2147483647 h 887"/>
                <a:gd name="T36" fmla="*/ 2147483647 w 558"/>
                <a:gd name="T37" fmla="*/ 2147483647 h 887"/>
                <a:gd name="T38" fmla="*/ 2147483647 w 558"/>
                <a:gd name="T39" fmla="*/ 2147483647 h 887"/>
                <a:gd name="T40" fmla="*/ 0 w 558"/>
                <a:gd name="T41" fmla="*/ 2147483647 h 887"/>
                <a:gd name="T42" fmla="*/ 2147483647 w 558"/>
                <a:gd name="T43" fmla="*/ 2147483647 h 8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8"/>
                <a:gd name="T67" fmla="*/ 0 h 887"/>
                <a:gd name="T68" fmla="*/ 558 w 558"/>
                <a:gd name="T69" fmla="*/ 887 h 8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8" h="887">
                  <a:moveTo>
                    <a:pt x="11" y="451"/>
                  </a:moveTo>
                  <a:lnTo>
                    <a:pt x="9" y="329"/>
                  </a:lnTo>
                  <a:lnTo>
                    <a:pt x="102" y="133"/>
                  </a:lnTo>
                  <a:lnTo>
                    <a:pt x="155" y="64"/>
                  </a:lnTo>
                  <a:lnTo>
                    <a:pt x="247" y="0"/>
                  </a:lnTo>
                  <a:lnTo>
                    <a:pt x="347" y="73"/>
                  </a:lnTo>
                  <a:lnTo>
                    <a:pt x="402" y="146"/>
                  </a:lnTo>
                  <a:lnTo>
                    <a:pt x="448" y="192"/>
                  </a:lnTo>
                  <a:lnTo>
                    <a:pt x="374" y="315"/>
                  </a:lnTo>
                  <a:lnTo>
                    <a:pt x="375" y="402"/>
                  </a:lnTo>
                  <a:lnTo>
                    <a:pt x="475" y="430"/>
                  </a:lnTo>
                  <a:lnTo>
                    <a:pt x="558" y="494"/>
                  </a:lnTo>
                  <a:lnTo>
                    <a:pt x="548" y="585"/>
                  </a:lnTo>
                  <a:lnTo>
                    <a:pt x="539" y="668"/>
                  </a:lnTo>
                  <a:lnTo>
                    <a:pt x="521" y="777"/>
                  </a:lnTo>
                  <a:lnTo>
                    <a:pt x="494" y="887"/>
                  </a:lnTo>
                  <a:lnTo>
                    <a:pt x="393" y="850"/>
                  </a:lnTo>
                  <a:lnTo>
                    <a:pt x="292" y="796"/>
                  </a:lnTo>
                  <a:lnTo>
                    <a:pt x="210" y="732"/>
                  </a:lnTo>
                  <a:lnTo>
                    <a:pt x="146" y="640"/>
                  </a:lnTo>
                  <a:lnTo>
                    <a:pt x="0" y="576"/>
                  </a:lnTo>
                  <a:lnTo>
                    <a:pt x="11" y="45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69" name="Freeform 165">
              <a:extLst>
                <a:ext uri="{FF2B5EF4-FFF2-40B4-BE49-F238E27FC236}">
                  <a16:creationId xmlns:a16="http://schemas.microsoft.com/office/drawing/2014/main" id="{D4368F08-6BFC-1679-C752-184256E5B1CF}"/>
                </a:ext>
              </a:extLst>
            </p:cNvPr>
            <p:cNvSpPr>
              <a:spLocks/>
            </p:cNvSpPr>
            <p:nvPr/>
          </p:nvSpPr>
          <p:spPr bwMode="auto">
            <a:xfrm>
              <a:off x="4748803" y="407230"/>
              <a:ext cx="439238" cy="477086"/>
            </a:xfrm>
            <a:custGeom>
              <a:avLst/>
              <a:gdLst>
                <a:gd name="T0" fmla="*/ 0 w 1152"/>
                <a:gd name="T1" fmla="*/ 2147483647 h 1207"/>
                <a:gd name="T2" fmla="*/ 2147483647 w 1152"/>
                <a:gd name="T3" fmla="*/ 2147483647 h 1207"/>
                <a:gd name="T4" fmla="*/ 2147483647 w 1152"/>
                <a:gd name="T5" fmla="*/ 2147483647 h 1207"/>
                <a:gd name="T6" fmla="*/ 2147483647 w 1152"/>
                <a:gd name="T7" fmla="*/ 2147483647 h 1207"/>
                <a:gd name="T8" fmla="*/ 2147483647 w 1152"/>
                <a:gd name="T9" fmla="*/ 2147483647 h 1207"/>
                <a:gd name="T10" fmla="*/ 2147483647 w 1152"/>
                <a:gd name="T11" fmla="*/ 2147483647 h 1207"/>
                <a:gd name="T12" fmla="*/ 2147483647 w 1152"/>
                <a:gd name="T13" fmla="*/ 2147483647 h 1207"/>
                <a:gd name="T14" fmla="*/ 2147483647 w 1152"/>
                <a:gd name="T15" fmla="*/ 2147483647 h 1207"/>
                <a:gd name="T16" fmla="*/ 2147483647 w 1152"/>
                <a:gd name="T17" fmla="*/ 2147483647 h 1207"/>
                <a:gd name="T18" fmla="*/ 2147483647 w 1152"/>
                <a:gd name="T19" fmla="*/ 2147483647 h 1207"/>
                <a:gd name="T20" fmla="*/ 2147483647 w 1152"/>
                <a:gd name="T21" fmla="*/ 2147483647 h 1207"/>
                <a:gd name="T22" fmla="*/ 2147483647 w 1152"/>
                <a:gd name="T23" fmla="*/ 0 h 1207"/>
                <a:gd name="T24" fmla="*/ 2147483647 w 1152"/>
                <a:gd name="T25" fmla="*/ 2147483647 h 1207"/>
                <a:gd name="T26" fmla="*/ 2147483647 w 1152"/>
                <a:gd name="T27" fmla="*/ 2147483647 h 1207"/>
                <a:gd name="T28" fmla="*/ 2147483647 w 1152"/>
                <a:gd name="T29" fmla="*/ 2147483647 h 1207"/>
                <a:gd name="T30" fmla="*/ 2147483647 w 1152"/>
                <a:gd name="T31" fmla="*/ 2147483647 h 1207"/>
                <a:gd name="T32" fmla="*/ 2147483647 w 1152"/>
                <a:gd name="T33" fmla="*/ 2147483647 h 1207"/>
                <a:gd name="T34" fmla="*/ 2147483647 w 1152"/>
                <a:gd name="T35" fmla="*/ 2147483647 h 1207"/>
                <a:gd name="T36" fmla="*/ 2147483647 w 1152"/>
                <a:gd name="T37" fmla="*/ 2147483647 h 1207"/>
                <a:gd name="T38" fmla="*/ 2147483647 w 1152"/>
                <a:gd name="T39" fmla="*/ 2147483647 h 1207"/>
                <a:gd name="T40" fmla="*/ 2147483647 w 1152"/>
                <a:gd name="T41" fmla="*/ 2147483647 h 1207"/>
                <a:gd name="T42" fmla="*/ 2147483647 w 1152"/>
                <a:gd name="T43" fmla="*/ 2147483647 h 1207"/>
                <a:gd name="T44" fmla="*/ 2147483647 w 1152"/>
                <a:gd name="T45" fmla="*/ 2147483647 h 1207"/>
                <a:gd name="T46" fmla="*/ 2147483647 w 1152"/>
                <a:gd name="T47" fmla="*/ 2147483647 h 1207"/>
                <a:gd name="T48" fmla="*/ 2147483647 w 1152"/>
                <a:gd name="T49" fmla="*/ 2147483647 h 1207"/>
                <a:gd name="T50" fmla="*/ 2147483647 w 1152"/>
                <a:gd name="T51" fmla="*/ 2147483647 h 1207"/>
                <a:gd name="T52" fmla="*/ 2147483647 w 1152"/>
                <a:gd name="T53" fmla="*/ 2147483647 h 1207"/>
                <a:gd name="T54" fmla="*/ 2147483647 w 1152"/>
                <a:gd name="T55" fmla="*/ 2147483647 h 1207"/>
                <a:gd name="T56" fmla="*/ 2147483647 w 1152"/>
                <a:gd name="T57" fmla="*/ 2147483647 h 1207"/>
                <a:gd name="T58" fmla="*/ 2147483647 w 1152"/>
                <a:gd name="T59" fmla="*/ 2147483647 h 1207"/>
                <a:gd name="T60" fmla="*/ 2147483647 w 1152"/>
                <a:gd name="T61" fmla="*/ 2147483647 h 1207"/>
                <a:gd name="T62" fmla="*/ 2147483647 w 1152"/>
                <a:gd name="T63" fmla="*/ 2147483647 h 1207"/>
                <a:gd name="T64" fmla="*/ 2147483647 w 1152"/>
                <a:gd name="T65" fmla="*/ 2147483647 h 1207"/>
                <a:gd name="T66" fmla="*/ 2147483647 w 1152"/>
                <a:gd name="T67" fmla="*/ 2147483647 h 1207"/>
                <a:gd name="T68" fmla="*/ 2147483647 w 1152"/>
                <a:gd name="T69" fmla="*/ 2147483647 h 1207"/>
                <a:gd name="T70" fmla="*/ 2147483647 w 1152"/>
                <a:gd name="T71" fmla="*/ 2147483647 h 1207"/>
                <a:gd name="T72" fmla="*/ 2147483647 w 1152"/>
                <a:gd name="T73" fmla="*/ 2147483647 h 1207"/>
                <a:gd name="T74" fmla="*/ 2147483647 w 1152"/>
                <a:gd name="T75" fmla="*/ 2147483647 h 1207"/>
                <a:gd name="T76" fmla="*/ 2147483647 w 1152"/>
                <a:gd name="T77" fmla="*/ 2147483647 h 1207"/>
                <a:gd name="T78" fmla="*/ 2147483647 w 1152"/>
                <a:gd name="T79" fmla="*/ 2147483647 h 1207"/>
                <a:gd name="T80" fmla="*/ 2147483647 w 1152"/>
                <a:gd name="T81" fmla="*/ 2147483647 h 1207"/>
                <a:gd name="T82" fmla="*/ 2147483647 w 1152"/>
                <a:gd name="T83" fmla="*/ 2147483647 h 1207"/>
                <a:gd name="T84" fmla="*/ 0 w 1152"/>
                <a:gd name="T85" fmla="*/ 2147483647 h 120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52"/>
                <a:gd name="T130" fmla="*/ 0 h 1207"/>
                <a:gd name="T131" fmla="*/ 1152 w 1152"/>
                <a:gd name="T132" fmla="*/ 1207 h 120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52" h="1207">
                  <a:moveTo>
                    <a:pt x="0" y="567"/>
                  </a:moveTo>
                  <a:lnTo>
                    <a:pt x="100" y="549"/>
                  </a:lnTo>
                  <a:lnTo>
                    <a:pt x="64" y="458"/>
                  </a:lnTo>
                  <a:lnTo>
                    <a:pt x="45" y="348"/>
                  </a:lnTo>
                  <a:lnTo>
                    <a:pt x="18" y="247"/>
                  </a:lnTo>
                  <a:lnTo>
                    <a:pt x="173" y="247"/>
                  </a:lnTo>
                  <a:lnTo>
                    <a:pt x="301" y="266"/>
                  </a:lnTo>
                  <a:lnTo>
                    <a:pt x="411" y="192"/>
                  </a:lnTo>
                  <a:lnTo>
                    <a:pt x="512" y="220"/>
                  </a:lnTo>
                  <a:lnTo>
                    <a:pt x="512" y="119"/>
                  </a:lnTo>
                  <a:lnTo>
                    <a:pt x="539" y="37"/>
                  </a:lnTo>
                  <a:lnTo>
                    <a:pt x="640" y="0"/>
                  </a:lnTo>
                  <a:lnTo>
                    <a:pt x="713" y="46"/>
                  </a:lnTo>
                  <a:lnTo>
                    <a:pt x="795" y="37"/>
                  </a:lnTo>
                  <a:lnTo>
                    <a:pt x="905" y="37"/>
                  </a:lnTo>
                  <a:lnTo>
                    <a:pt x="1024" y="74"/>
                  </a:lnTo>
                  <a:lnTo>
                    <a:pt x="1152" y="156"/>
                  </a:lnTo>
                  <a:lnTo>
                    <a:pt x="1079" y="266"/>
                  </a:lnTo>
                  <a:lnTo>
                    <a:pt x="987" y="412"/>
                  </a:lnTo>
                  <a:lnTo>
                    <a:pt x="859" y="394"/>
                  </a:lnTo>
                  <a:lnTo>
                    <a:pt x="685" y="412"/>
                  </a:lnTo>
                  <a:lnTo>
                    <a:pt x="759" y="576"/>
                  </a:lnTo>
                  <a:lnTo>
                    <a:pt x="813" y="659"/>
                  </a:lnTo>
                  <a:lnTo>
                    <a:pt x="896" y="778"/>
                  </a:lnTo>
                  <a:lnTo>
                    <a:pt x="960" y="860"/>
                  </a:lnTo>
                  <a:lnTo>
                    <a:pt x="932" y="933"/>
                  </a:lnTo>
                  <a:lnTo>
                    <a:pt x="877" y="1006"/>
                  </a:lnTo>
                  <a:lnTo>
                    <a:pt x="768" y="997"/>
                  </a:lnTo>
                  <a:lnTo>
                    <a:pt x="676" y="970"/>
                  </a:lnTo>
                  <a:lnTo>
                    <a:pt x="704" y="869"/>
                  </a:lnTo>
                  <a:lnTo>
                    <a:pt x="685" y="768"/>
                  </a:lnTo>
                  <a:lnTo>
                    <a:pt x="612" y="723"/>
                  </a:lnTo>
                  <a:lnTo>
                    <a:pt x="539" y="759"/>
                  </a:lnTo>
                  <a:lnTo>
                    <a:pt x="548" y="860"/>
                  </a:lnTo>
                  <a:lnTo>
                    <a:pt x="503" y="1070"/>
                  </a:lnTo>
                  <a:lnTo>
                    <a:pt x="448" y="1207"/>
                  </a:lnTo>
                  <a:lnTo>
                    <a:pt x="356" y="1125"/>
                  </a:lnTo>
                  <a:lnTo>
                    <a:pt x="265" y="1024"/>
                  </a:lnTo>
                  <a:lnTo>
                    <a:pt x="219" y="924"/>
                  </a:lnTo>
                  <a:lnTo>
                    <a:pt x="219" y="814"/>
                  </a:lnTo>
                  <a:lnTo>
                    <a:pt x="146" y="723"/>
                  </a:lnTo>
                  <a:lnTo>
                    <a:pt x="73" y="750"/>
                  </a:lnTo>
                  <a:lnTo>
                    <a:pt x="0" y="56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0" name="Freeform 166">
              <a:extLst>
                <a:ext uri="{FF2B5EF4-FFF2-40B4-BE49-F238E27FC236}">
                  <a16:creationId xmlns:a16="http://schemas.microsoft.com/office/drawing/2014/main" id="{1D681C6D-E5D9-0F27-4E36-E6E84FF9160A}"/>
                </a:ext>
              </a:extLst>
            </p:cNvPr>
            <p:cNvSpPr>
              <a:spLocks/>
            </p:cNvSpPr>
            <p:nvPr/>
          </p:nvSpPr>
          <p:spPr bwMode="auto">
            <a:xfrm>
              <a:off x="5622796" y="340390"/>
              <a:ext cx="181523" cy="142895"/>
            </a:xfrm>
            <a:custGeom>
              <a:avLst/>
              <a:gdLst>
                <a:gd name="T0" fmla="*/ 2147483647 w 476"/>
                <a:gd name="T1" fmla="*/ 2147483647 h 366"/>
                <a:gd name="T2" fmla="*/ 2147483647 w 476"/>
                <a:gd name="T3" fmla="*/ 2147483647 h 366"/>
                <a:gd name="T4" fmla="*/ 2147483647 w 476"/>
                <a:gd name="T5" fmla="*/ 2147483647 h 366"/>
                <a:gd name="T6" fmla="*/ 2147483647 w 476"/>
                <a:gd name="T7" fmla="*/ 2147483647 h 366"/>
                <a:gd name="T8" fmla="*/ 2147483647 w 476"/>
                <a:gd name="T9" fmla="*/ 2147483647 h 366"/>
                <a:gd name="T10" fmla="*/ 2147483647 w 476"/>
                <a:gd name="T11" fmla="*/ 0 h 366"/>
                <a:gd name="T12" fmla="*/ 2147483647 w 476"/>
                <a:gd name="T13" fmla="*/ 2147483647 h 366"/>
                <a:gd name="T14" fmla="*/ 0 w 476"/>
                <a:gd name="T15" fmla="*/ 2147483647 h 366"/>
                <a:gd name="T16" fmla="*/ 2147483647 w 476"/>
                <a:gd name="T17" fmla="*/ 2147483647 h 366"/>
                <a:gd name="T18" fmla="*/ 2147483647 w 476"/>
                <a:gd name="T19" fmla="*/ 2147483647 h 366"/>
                <a:gd name="T20" fmla="*/ 2147483647 w 476"/>
                <a:gd name="T21" fmla="*/ 2147483647 h 366"/>
                <a:gd name="T22" fmla="*/ 2147483647 w 476"/>
                <a:gd name="T23" fmla="*/ 2147483647 h 366"/>
                <a:gd name="T24" fmla="*/ 2147483647 w 476"/>
                <a:gd name="T25" fmla="*/ 2147483647 h 366"/>
                <a:gd name="T26" fmla="*/ 2147483647 w 476"/>
                <a:gd name="T27" fmla="*/ 2147483647 h 3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76"/>
                <a:gd name="T43" fmla="*/ 0 h 366"/>
                <a:gd name="T44" fmla="*/ 476 w 476"/>
                <a:gd name="T45" fmla="*/ 366 h 3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76" h="366">
                  <a:moveTo>
                    <a:pt x="457" y="302"/>
                  </a:moveTo>
                  <a:lnTo>
                    <a:pt x="398" y="178"/>
                  </a:lnTo>
                  <a:lnTo>
                    <a:pt x="476" y="83"/>
                  </a:lnTo>
                  <a:lnTo>
                    <a:pt x="398" y="41"/>
                  </a:lnTo>
                  <a:lnTo>
                    <a:pt x="284" y="9"/>
                  </a:lnTo>
                  <a:lnTo>
                    <a:pt x="174" y="0"/>
                  </a:lnTo>
                  <a:lnTo>
                    <a:pt x="64" y="46"/>
                  </a:lnTo>
                  <a:lnTo>
                    <a:pt x="0" y="110"/>
                  </a:lnTo>
                  <a:lnTo>
                    <a:pt x="126" y="178"/>
                  </a:lnTo>
                  <a:lnTo>
                    <a:pt x="211" y="256"/>
                  </a:lnTo>
                  <a:lnTo>
                    <a:pt x="201" y="329"/>
                  </a:lnTo>
                  <a:lnTo>
                    <a:pt x="311" y="366"/>
                  </a:lnTo>
                  <a:lnTo>
                    <a:pt x="393" y="357"/>
                  </a:lnTo>
                  <a:lnTo>
                    <a:pt x="457" y="302"/>
                  </a:lnTo>
                  <a:close/>
                </a:path>
              </a:pathLst>
            </a:custGeom>
            <a:solidFill>
              <a:srgbClr val="E0E0E0"/>
            </a:solidFill>
            <a:ln w="3175" cmpd="sng">
              <a:solidFill>
                <a:schemeClr val="bg1"/>
              </a:solidFill>
              <a:prstDash val="solid"/>
              <a:round/>
              <a:headEnd/>
              <a:tailEnd/>
            </a:ln>
            <a:effectLst>
              <a:outerShdw dist="28398" dir="6993903" algn="ctr" rotWithShape="0">
                <a:srgbClr val="B2B2B2">
                  <a:alpha val="50000"/>
                </a:srgbClr>
              </a:outerShdw>
            </a:effectLst>
          </p:spPr>
          <p:txBody>
            <a:bodyPr/>
            <a:lstStyle/>
            <a:p>
              <a:endParaRPr lang="zh-CN" altLang="en-US" sz="1200" kern="0">
                <a:solidFill>
                  <a:sysClr val="windowText" lastClr="000000"/>
                </a:solidFill>
              </a:endParaRPr>
            </a:p>
          </p:txBody>
        </p:sp>
        <p:sp>
          <p:nvSpPr>
            <p:cNvPr id="171" name="Freeform 167">
              <a:extLst>
                <a:ext uri="{FF2B5EF4-FFF2-40B4-BE49-F238E27FC236}">
                  <a16:creationId xmlns:a16="http://schemas.microsoft.com/office/drawing/2014/main" id="{BC7BBA5D-C533-16A8-8031-2CFC1FEA1351}"/>
                </a:ext>
              </a:extLst>
            </p:cNvPr>
            <p:cNvSpPr>
              <a:spLocks/>
            </p:cNvSpPr>
            <p:nvPr/>
          </p:nvSpPr>
          <p:spPr bwMode="auto">
            <a:xfrm>
              <a:off x="5811041" y="192885"/>
              <a:ext cx="345115" cy="304229"/>
            </a:xfrm>
            <a:custGeom>
              <a:avLst/>
              <a:gdLst>
                <a:gd name="T0" fmla="*/ 2147483647 w 907"/>
                <a:gd name="T1" fmla="*/ 2147483647 h 778"/>
                <a:gd name="T2" fmla="*/ 2147483647 w 907"/>
                <a:gd name="T3" fmla="*/ 2147483647 h 778"/>
                <a:gd name="T4" fmla="*/ 2147483647 w 907"/>
                <a:gd name="T5" fmla="*/ 2147483647 h 778"/>
                <a:gd name="T6" fmla="*/ 2147483647 w 907"/>
                <a:gd name="T7" fmla="*/ 2147483647 h 778"/>
                <a:gd name="T8" fmla="*/ 2147483647 w 907"/>
                <a:gd name="T9" fmla="*/ 2147483647 h 778"/>
                <a:gd name="T10" fmla="*/ 2147483647 w 907"/>
                <a:gd name="T11" fmla="*/ 2147483647 h 778"/>
                <a:gd name="T12" fmla="*/ 2147483647 w 907"/>
                <a:gd name="T13" fmla="*/ 2147483647 h 778"/>
                <a:gd name="T14" fmla="*/ 2147483647 w 907"/>
                <a:gd name="T15" fmla="*/ 2147483647 h 778"/>
                <a:gd name="T16" fmla="*/ 2147483647 w 907"/>
                <a:gd name="T17" fmla="*/ 2147483647 h 778"/>
                <a:gd name="T18" fmla="*/ 2147483647 w 907"/>
                <a:gd name="T19" fmla="*/ 2147483647 h 778"/>
                <a:gd name="T20" fmla="*/ 2147483647 w 907"/>
                <a:gd name="T21" fmla="*/ 2147483647 h 778"/>
                <a:gd name="T22" fmla="*/ 2147483647 w 907"/>
                <a:gd name="T23" fmla="*/ 2147483647 h 778"/>
                <a:gd name="T24" fmla="*/ 2147483647 w 907"/>
                <a:gd name="T25" fmla="*/ 2147483647 h 778"/>
                <a:gd name="T26" fmla="*/ 2147483647 w 907"/>
                <a:gd name="T27" fmla="*/ 2147483647 h 778"/>
                <a:gd name="T28" fmla="*/ 2147483647 w 907"/>
                <a:gd name="T29" fmla="*/ 2147483647 h 778"/>
                <a:gd name="T30" fmla="*/ 2147483647 w 907"/>
                <a:gd name="T31" fmla="*/ 2147483647 h 778"/>
                <a:gd name="T32" fmla="*/ 2147483647 w 907"/>
                <a:gd name="T33" fmla="*/ 0 h 778"/>
                <a:gd name="T34" fmla="*/ 2147483647 w 907"/>
                <a:gd name="T35" fmla="*/ 0 h 778"/>
                <a:gd name="T36" fmla="*/ 2147483647 w 907"/>
                <a:gd name="T37" fmla="*/ 2147483647 h 778"/>
                <a:gd name="T38" fmla="*/ 2147483647 w 907"/>
                <a:gd name="T39" fmla="*/ 2147483647 h 778"/>
                <a:gd name="T40" fmla="*/ 2147483647 w 907"/>
                <a:gd name="T41" fmla="*/ 2147483647 h 778"/>
                <a:gd name="T42" fmla="*/ 2147483647 w 907"/>
                <a:gd name="T43" fmla="*/ 2147483647 h 778"/>
                <a:gd name="T44" fmla="*/ 2147483647 w 907"/>
                <a:gd name="T45" fmla="*/ 2147483647 h 778"/>
                <a:gd name="T46" fmla="*/ 2147483647 w 907"/>
                <a:gd name="T47" fmla="*/ 2147483647 h 778"/>
                <a:gd name="T48" fmla="*/ 2147483647 w 907"/>
                <a:gd name="T49" fmla="*/ 2147483647 h 778"/>
                <a:gd name="T50" fmla="*/ 2147483647 w 907"/>
                <a:gd name="T51" fmla="*/ 2147483647 h 778"/>
                <a:gd name="T52" fmla="*/ 2147483647 w 907"/>
                <a:gd name="T53" fmla="*/ 2147483647 h 778"/>
                <a:gd name="T54" fmla="*/ 2147483647 w 907"/>
                <a:gd name="T55" fmla="*/ 2147483647 h 778"/>
                <a:gd name="T56" fmla="*/ 0 w 907"/>
                <a:gd name="T57" fmla="*/ 2147483647 h 778"/>
                <a:gd name="T58" fmla="*/ 2147483647 w 907"/>
                <a:gd name="T59" fmla="*/ 2147483647 h 778"/>
                <a:gd name="T60" fmla="*/ 2147483647 w 907"/>
                <a:gd name="T61" fmla="*/ 2147483647 h 778"/>
                <a:gd name="T62" fmla="*/ 2147483647 w 907"/>
                <a:gd name="T63" fmla="*/ 2147483647 h 778"/>
                <a:gd name="T64" fmla="*/ 2147483647 w 907"/>
                <a:gd name="T65" fmla="*/ 2147483647 h 778"/>
                <a:gd name="T66" fmla="*/ 2147483647 w 907"/>
                <a:gd name="T67" fmla="*/ 2147483647 h 778"/>
                <a:gd name="T68" fmla="*/ 2147483647 w 907"/>
                <a:gd name="T69" fmla="*/ 2147483647 h 778"/>
                <a:gd name="T70" fmla="*/ 2147483647 w 907"/>
                <a:gd name="T71" fmla="*/ 2147483647 h 778"/>
                <a:gd name="T72" fmla="*/ 2147483647 w 907"/>
                <a:gd name="T73" fmla="*/ 2147483647 h 7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07"/>
                <a:gd name="T112" fmla="*/ 0 h 778"/>
                <a:gd name="T113" fmla="*/ 907 w 907"/>
                <a:gd name="T114" fmla="*/ 778 h 7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07" h="778">
                  <a:moveTo>
                    <a:pt x="635" y="507"/>
                  </a:moveTo>
                  <a:lnTo>
                    <a:pt x="709" y="430"/>
                  </a:lnTo>
                  <a:lnTo>
                    <a:pt x="819" y="403"/>
                  </a:lnTo>
                  <a:lnTo>
                    <a:pt x="907" y="280"/>
                  </a:lnTo>
                  <a:lnTo>
                    <a:pt x="907" y="190"/>
                  </a:lnTo>
                  <a:lnTo>
                    <a:pt x="791" y="183"/>
                  </a:lnTo>
                  <a:lnTo>
                    <a:pt x="727" y="275"/>
                  </a:lnTo>
                  <a:lnTo>
                    <a:pt x="645" y="357"/>
                  </a:lnTo>
                  <a:lnTo>
                    <a:pt x="590" y="320"/>
                  </a:lnTo>
                  <a:lnTo>
                    <a:pt x="517" y="384"/>
                  </a:lnTo>
                  <a:lnTo>
                    <a:pt x="408" y="462"/>
                  </a:lnTo>
                  <a:lnTo>
                    <a:pt x="462" y="330"/>
                  </a:lnTo>
                  <a:lnTo>
                    <a:pt x="435" y="183"/>
                  </a:lnTo>
                  <a:lnTo>
                    <a:pt x="480" y="220"/>
                  </a:lnTo>
                  <a:lnTo>
                    <a:pt x="517" y="202"/>
                  </a:lnTo>
                  <a:lnTo>
                    <a:pt x="508" y="101"/>
                  </a:lnTo>
                  <a:lnTo>
                    <a:pt x="471" y="0"/>
                  </a:lnTo>
                  <a:lnTo>
                    <a:pt x="426" y="0"/>
                  </a:lnTo>
                  <a:lnTo>
                    <a:pt x="325" y="74"/>
                  </a:lnTo>
                  <a:lnTo>
                    <a:pt x="272" y="190"/>
                  </a:lnTo>
                  <a:lnTo>
                    <a:pt x="182" y="280"/>
                  </a:lnTo>
                  <a:lnTo>
                    <a:pt x="151" y="357"/>
                  </a:lnTo>
                  <a:lnTo>
                    <a:pt x="179" y="421"/>
                  </a:lnTo>
                  <a:lnTo>
                    <a:pt x="325" y="476"/>
                  </a:lnTo>
                  <a:lnTo>
                    <a:pt x="325" y="540"/>
                  </a:lnTo>
                  <a:lnTo>
                    <a:pt x="234" y="494"/>
                  </a:lnTo>
                  <a:lnTo>
                    <a:pt x="160" y="467"/>
                  </a:lnTo>
                  <a:lnTo>
                    <a:pt x="78" y="512"/>
                  </a:lnTo>
                  <a:lnTo>
                    <a:pt x="0" y="553"/>
                  </a:lnTo>
                  <a:lnTo>
                    <a:pt x="91" y="643"/>
                  </a:lnTo>
                  <a:lnTo>
                    <a:pt x="227" y="643"/>
                  </a:lnTo>
                  <a:lnTo>
                    <a:pt x="408" y="689"/>
                  </a:lnTo>
                  <a:lnTo>
                    <a:pt x="471" y="778"/>
                  </a:lnTo>
                  <a:lnTo>
                    <a:pt x="563" y="732"/>
                  </a:lnTo>
                  <a:lnTo>
                    <a:pt x="499" y="598"/>
                  </a:lnTo>
                  <a:lnTo>
                    <a:pt x="636" y="595"/>
                  </a:lnTo>
                  <a:lnTo>
                    <a:pt x="635" y="50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2" name="Freeform 168">
              <a:extLst>
                <a:ext uri="{FF2B5EF4-FFF2-40B4-BE49-F238E27FC236}">
                  <a16:creationId xmlns:a16="http://schemas.microsoft.com/office/drawing/2014/main" id="{D42F5B0F-8DFC-2CB7-1911-631E1ABFC5C2}"/>
                </a:ext>
              </a:extLst>
            </p:cNvPr>
            <p:cNvSpPr>
              <a:spLocks/>
            </p:cNvSpPr>
            <p:nvPr/>
          </p:nvSpPr>
          <p:spPr bwMode="auto">
            <a:xfrm>
              <a:off x="1295409" y="2649765"/>
              <a:ext cx="1472342" cy="797450"/>
            </a:xfrm>
            <a:custGeom>
              <a:avLst/>
              <a:gdLst>
                <a:gd name="T0" fmla="*/ 25 w 6115050"/>
                <a:gd name="T1" fmla="*/ 11 h 3214874"/>
                <a:gd name="T2" fmla="*/ 15 w 6115050"/>
                <a:gd name="T3" fmla="*/ 51 h 3214874"/>
                <a:gd name="T4" fmla="*/ 12 w 6115050"/>
                <a:gd name="T5" fmla="*/ 112 h 3214874"/>
                <a:gd name="T6" fmla="*/ 10 w 6115050"/>
                <a:gd name="T7" fmla="*/ 160 h 3214874"/>
                <a:gd name="T8" fmla="*/ 27 w 6115050"/>
                <a:gd name="T9" fmla="*/ 240 h 3214874"/>
                <a:gd name="T10" fmla="*/ 59 w 6115050"/>
                <a:gd name="T11" fmla="*/ 289 h 3214874"/>
                <a:gd name="T12" fmla="*/ 136 w 6115050"/>
                <a:gd name="T13" fmla="*/ 330 h 3214874"/>
                <a:gd name="T14" fmla="*/ 173 w 6115050"/>
                <a:gd name="T15" fmla="*/ 342 h 3214874"/>
                <a:gd name="T16" fmla="*/ 213 w 6115050"/>
                <a:gd name="T17" fmla="*/ 349 h 3214874"/>
                <a:gd name="T18" fmla="*/ 247 w 6115050"/>
                <a:gd name="T19" fmla="*/ 349 h 3214874"/>
                <a:gd name="T20" fmla="*/ 296 w 6115050"/>
                <a:gd name="T21" fmla="*/ 363 h 3214874"/>
                <a:gd name="T22" fmla="*/ 355 w 6115050"/>
                <a:gd name="T23" fmla="*/ 384 h 3214874"/>
                <a:gd name="T24" fmla="*/ 383 w 6115050"/>
                <a:gd name="T25" fmla="*/ 419 h 3214874"/>
                <a:gd name="T26" fmla="*/ 412 w 6115050"/>
                <a:gd name="T27" fmla="*/ 444 h 3214874"/>
                <a:gd name="T28" fmla="*/ 421 w 6115050"/>
                <a:gd name="T29" fmla="*/ 428 h 3214874"/>
                <a:gd name="T30" fmla="*/ 460 w 6115050"/>
                <a:gd name="T31" fmla="*/ 391 h 3214874"/>
                <a:gd name="T32" fmla="*/ 513 w 6115050"/>
                <a:gd name="T33" fmla="*/ 388 h 3214874"/>
                <a:gd name="T34" fmla="*/ 551 w 6115050"/>
                <a:gd name="T35" fmla="*/ 380 h 3214874"/>
                <a:gd name="T36" fmla="*/ 606 w 6115050"/>
                <a:gd name="T37" fmla="*/ 382 h 3214874"/>
                <a:gd name="T38" fmla="*/ 637 w 6115050"/>
                <a:gd name="T39" fmla="*/ 393 h 3214874"/>
                <a:gd name="T40" fmla="*/ 645 w 6115050"/>
                <a:gd name="T41" fmla="*/ 415 h 3214874"/>
                <a:gd name="T42" fmla="*/ 663 w 6115050"/>
                <a:gd name="T43" fmla="*/ 454 h 3214874"/>
                <a:gd name="T44" fmla="*/ 685 w 6115050"/>
                <a:gd name="T45" fmla="*/ 467 h 3214874"/>
                <a:gd name="T46" fmla="*/ 689 w 6115050"/>
                <a:gd name="T47" fmla="*/ 433 h 3214874"/>
                <a:gd name="T48" fmla="*/ 673 w 6115050"/>
                <a:gd name="T49" fmla="*/ 391 h 3214874"/>
                <a:gd name="T50" fmla="*/ 670 w 6115050"/>
                <a:gd name="T51" fmla="*/ 360 h 3214874"/>
                <a:gd name="T52" fmla="*/ 697 w 6115050"/>
                <a:gd name="T53" fmla="*/ 321 h 3214874"/>
                <a:gd name="T54" fmla="*/ 733 w 6115050"/>
                <a:gd name="T55" fmla="*/ 296 h 3214874"/>
                <a:gd name="T56" fmla="*/ 749 w 6115050"/>
                <a:gd name="T57" fmla="*/ 274 h 3214874"/>
                <a:gd name="T58" fmla="*/ 757 w 6115050"/>
                <a:gd name="T59" fmla="*/ 260 h 3214874"/>
                <a:gd name="T60" fmla="*/ 746 w 6115050"/>
                <a:gd name="T61" fmla="*/ 237 h 3214874"/>
                <a:gd name="T62" fmla="*/ 776 w 6115050"/>
                <a:gd name="T63" fmla="*/ 201 h 3214874"/>
                <a:gd name="T64" fmla="*/ 816 w 6115050"/>
                <a:gd name="T65" fmla="*/ 169 h 3214874"/>
                <a:gd name="T66" fmla="*/ 837 w 6115050"/>
                <a:gd name="T67" fmla="*/ 165 h 3214874"/>
                <a:gd name="T68" fmla="*/ 834 w 6115050"/>
                <a:gd name="T69" fmla="*/ 151 h 3214874"/>
                <a:gd name="T70" fmla="*/ 834 w 6115050"/>
                <a:gd name="T71" fmla="*/ 126 h 3214874"/>
                <a:gd name="T72" fmla="*/ 863 w 6115050"/>
                <a:gd name="T73" fmla="*/ 105 h 3214874"/>
                <a:gd name="T74" fmla="*/ 871 w 6115050"/>
                <a:gd name="T75" fmla="*/ 63 h 3214874"/>
                <a:gd name="T76" fmla="*/ 845 w 6115050"/>
                <a:gd name="T77" fmla="*/ 35 h 3214874"/>
                <a:gd name="T78" fmla="*/ 826 w 6115050"/>
                <a:gd name="T79" fmla="*/ 85 h 3214874"/>
                <a:gd name="T80" fmla="*/ 777 w 6115050"/>
                <a:gd name="T81" fmla="*/ 85 h 3214874"/>
                <a:gd name="T82" fmla="*/ 739 w 6115050"/>
                <a:gd name="T83" fmla="*/ 119 h 3214874"/>
                <a:gd name="T84" fmla="*/ 698 w 6115050"/>
                <a:gd name="T85" fmla="*/ 137 h 3214874"/>
                <a:gd name="T86" fmla="*/ 649 w 6115050"/>
                <a:gd name="T87" fmla="*/ 158 h 3214874"/>
                <a:gd name="T88" fmla="*/ 643 w 6115050"/>
                <a:gd name="T89" fmla="*/ 144 h 3214874"/>
                <a:gd name="T90" fmla="*/ 658 w 6115050"/>
                <a:gd name="T91" fmla="*/ 115 h 3214874"/>
                <a:gd name="T92" fmla="*/ 634 w 6115050"/>
                <a:gd name="T93" fmla="*/ 85 h 3214874"/>
                <a:gd name="T94" fmla="*/ 611 w 6115050"/>
                <a:gd name="T95" fmla="*/ 68 h 3214874"/>
                <a:gd name="T96" fmla="*/ 589 w 6115050"/>
                <a:gd name="T97" fmla="*/ 101 h 3214874"/>
                <a:gd name="T98" fmla="*/ 595 w 6115050"/>
                <a:gd name="T99" fmla="*/ 141 h 3214874"/>
                <a:gd name="T100" fmla="*/ 566 w 6115050"/>
                <a:gd name="T101" fmla="*/ 152 h 3214874"/>
                <a:gd name="T102" fmla="*/ 574 w 6115050"/>
                <a:gd name="T103" fmla="*/ 100 h 3214874"/>
                <a:gd name="T104" fmla="*/ 593 w 6115050"/>
                <a:gd name="T105" fmla="*/ 70 h 3214874"/>
                <a:gd name="T106" fmla="*/ 614 w 6115050"/>
                <a:gd name="T107" fmla="*/ 59 h 3214874"/>
                <a:gd name="T108" fmla="*/ 579 w 6115050"/>
                <a:gd name="T109" fmla="*/ 53 h 3214874"/>
                <a:gd name="T110" fmla="*/ 536 w 6115050"/>
                <a:gd name="T111" fmla="*/ 49 h 3214874"/>
                <a:gd name="T112" fmla="*/ 503 w 6115050"/>
                <a:gd name="T113" fmla="*/ 42 h 3214874"/>
                <a:gd name="T114" fmla="*/ 512 w 6115050"/>
                <a:gd name="T115" fmla="*/ 16 h 3214874"/>
                <a:gd name="T116" fmla="*/ 455 w 6115050"/>
                <a:gd name="T117" fmla="*/ 3 h 32148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15050"/>
                <a:gd name="T178" fmla="*/ 0 h 3214874"/>
                <a:gd name="T179" fmla="*/ 6115050 w 6115050"/>
                <a:gd name="T180" fmla="*/ 3214874 h 32148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15050" h="3214874">
                  <a:moveTo>
                    <a:pt x="174479" y="0"/>
                  </a:moveTo>
                  <a:lnTo>
                    <a:pt x="173831" y="76387"/>
                  </a:lnTo>
                  <a:lnTo>
                    <a:pt x="0" y="90674"/>
                  </a:lnTo>
                  <a:lnTo>
                    <a:pt x="106217" y="347603"/>
                  </a:lnTo>
                  <a:lnTo>
                    <a:pt x="93517" y="531109"/>
                  </a:lnTo>
                  <a:lnTo>
                    <a:pt x="80817" y="772843"/>
                  </a:lnTo>
                  <a:lnTo>
                    <a:pt x="3029" y="887535"/>
                  </a:lnTo>
                  <a:lnTo>
                    <a:pt x="68117" y="1097508"/>
                  </a:lnTo>
                  <a:lnTo>
                    <a:pt x="80817" y="1353358"/>
                  </a:lnTo>
                  <a:lnTo>
                    <a:pt x="184004" y="1649791"/>
                  </a:lnTo>
                  <a:lnTo>
                    <a:pt x="299892" y="1768011"/>
                  </a:lnTo>
                  <a:lnTo>
                    <a:pt x="411017" y="1981514"/>
                  </a:lnTo>
                  <a:lnTo>
                    <a:pt x="841229" y="2265595"/>
                  </a:lnTo>
                  <a:lnTo>
                    <a:pt x="942975" y="2267137"/>
                  </a:lnTo>
                  <a:lnTo>
                    <a:pt x="1088231" y="2290949"/>
                  </a:lnTo>
                  <a:lnTo>
                    <a:pt x="1200150" y="2345718"/>
                  </a:lnTo>
                  <a:lnTo>
                    <a:pt x="1328738" y="2410012"/>
                  </a:lnTo>
                  <a:lnTo>
                    <a:pt x="1478756" y="2400487"/>
                  </a:lnTo>
                  <a:lnTo>
                    <a:pt x="1571625" y="2400487"/>
                  </a:lnTo>
                  <a:lnTo>
                    <a:pt x="1712119" y="2400487"/>
                  </a:lnTo>
                  <a:lnTo>
                    <a:pt x="1933575" y="2390962"/>
                  </a:lnTo>
                  <a:lnTo>
                    <a:pt x="2047875" y="2490974"/>
                  </a:lnTo>
                  <a:lnTo>
                    <a:pt x="2288381" y="2724337"/>
                  </a:lnTo>
                  <a:lnTo>
                    <a:pt x="2459831" y="2636230"/>
                  </a:lnTo>
                  <a:lnTo>
                    <a:pt x="2559844" y="2750530"/>
                  </a:lnTo>
                  <a:lnTo>
                    <a:pt x="2650331" y="2876737"/>
                  </a:lnTo>
                  <a:lnTo>
                    <a:pt x="2736056" y="3041043"/>
                  </a:lnTo>
                  <a:lnTo>
                    <a:pt x="2851004" y="3052554"/>
                  </a:lnTo>
                  <a:lnTo>
                    <a:pt x="2919413" y="3102955"/>
                  </a:lnTo>
                  <a:lnTo>
                    <a:pt x="2917679" y="2939628"/>
                  </a:lnTo>
                  <a:lnTo>
                    <a:pt x="3031979" y="2780824"/>
                  </a:lnTo>
                  <a:lnTo>
                    <a:pt x="3184379" y="2683778"/>
                  </a:lnTo>
                  <a:lnTo>
                    <a:pt x="3370117" y="2613198"/>
                  </a:lnTo>
                  <a:lnTo>
                    <a:pt x="3554267" y="2667897"/>
                  </a:lnTo>
                  <a:lnTo>
                    <a:pt x="3678092" y="2689071"/>
                  </a:lnTo>
                  <a:lnTo>
                    <a:pt x="3819379" y="2607905"/>
                  </a:lnTo>
                  <a:lnTo>
                    <a:pt x="4013054" y="2597318"/>
                  </a:lnTo>
                  <a:lnTo>
                    <a:pt x="4197204" y="2623785"/>
                  </a:lnTo>
                  <a:lnTo>
                    <a:pt x="4351192" y="2655546"/>
                  </a:lnTo>
                  <a:lnTo>
                    <a:pt x="4416279" y="2703187"/>
                  </a:lnTo>
                  <a:lnTo>
                    <a:pt x="4486275" y="2771962"/>
                  </a:lnTo>
                  <a:lnTo>
                    <a:pt x="4464844" y="2848162"/>
                  </a:lnTo>
                  <a:lnTo>
                    <a:pt x="4468667" y="2932570"/>
                  </a:lnTo>
                  <a:lnTo>
                    <a:pt x="4591050" y="3119624"/>
                  </a:lnTo>
                  <a:lnTo>
                    <a:pt x="4648200" y="3214874"/>
                  </a:lnTo>
                  <a:lnTo>
                    <a:pt x="4743450" y="3205349"/>
                  </a:lnTo>
                  <a:lnTo>
                    <a:pt x="4774406" y="3117243"/>
                  </a:lnTo>
                  <a:lnTo>
                    <a:pt x="4776788" y="2971987"/>
                  </a:lnTo>
                  <a:lnTo>
                    <a:pt x="4724400" y="2802918"/>
                  </a:lnTo>
                  <a:lnTo>
                    <a:pt x="4660106" y="2683855"/>
                  </a:lnTo>
                  <a:lnTo>
                    <a:pt x="4627417" y="2565557"/>
                  </a:lnTo>
                  <a:lnTo>
                    <a:pt x="4643438" y="2471924"/>
                  </a:lnTo>
                  <a:lnTo>
                    <a:pt x="4675042" y="2313236"/>
                  </a:lnTo>
                  <a:lnTo>
                    <a:pt x="4830617" y="2207367"/>
                  </a:lnTo>
                  <a:lnTo>
                    <a:pt x="4994129" y="2071502"/>
                  </a:lnTo>
                  <a:lnTo>
                    <a:pt x="5079206" y="2033774"/>
                  </a:lnTo>
                  <a:lnTo>
                    <a:pt x="5111604" y="1969162"/>
                  </a:lnTo>
                  <a:lnTo>
                    <a:pt x="5192567" y="1884467"/>
                  </a:lnTo>
                  <a:lnTo>
                    <a:pt x="5222729" y="1813888"/>
                  </a:lnTo>
                  <a:lnTo>
                    <a:pt x="5241779" y="1783892"/>
                  </a:lnTo>
                  <a:lnTo>
                    <a:pt x="5225904" y="1688610"/>
                  </a:lnTo>
                  <a:lnTo>
                    <a:pt x="5170342" y="1625088"/>
                  </a:lnTo>
                  <a:lnTo>
                    <a:pt x="5268767" y="1538629"/>
                  </a:lnTo>
                  <a:lnTo>
                    <a:pt x="5379244" y="1381312"/>
                  </a:lnTo>
                  <a:lnTo>
                    <a:pt x="5464969" y="1255105"/>
                  </a:lnTo>
                  <a:lnTo>
                    <a:pt x="5651354" y="1162794"/>
                  </a:lnTo>
                  <a:lnTo>
                    <a:pt x="5673579" y="1078099"/>
                  </a:lnTo>
                  <a:lnTo>
                    <a:pt x="5795963" y="1133662"/>
                  </a:lnTo>
                  <a:lnTo>
                    <a:pt x="5836444" y="1102705"/>
                  </a:lnTo>
                  <a:lnTo>
                    <a:pt x="5774531" y="1036030"/>
                  </a:lnTo>
                  <a:lnTo>
                    <a:pt x="5751367" y="956349"/>
                  </a:lnTo>
                  <a:lnTo>
                    <a:pt x="5776913" y="864580"/>
                  </a:lnTo>
                  <a:lnTo>
                    <a:pt x="5862638" y="783618"/>
                  </a:lnTo>
                  <a:lnTo>
                    <a:pt x="5976938" y="724087"/>
                  </a:lnTo>
                  <a:lnTo>
                    <a:pt x="6115050" y="647887"/>
                  </a:lnTo>
                  <a:lnTo>
                    <a:pt x="6030767" y="432298"/>
                  </a:lnTo>
                  <a:lnTo>
                    <a:pt x="6008542" y="254085"/>
                  </a:lnTo>
                  <a:lnTo>
                    <a:pt x="5854554" y="241734"/>
                  </a:lnTo>
                  <a:lnTo>
                    <a:pt x="5798344" y="445480"/>
                  </a:lnTo>
                  <a:lnTo>
                    <a:pt x="5722144" y="583593"/>
                  </a:lnTo>
                  <a:lnTo>
                    <a:pt x="5570392" y="580515"/>
                  </a:lnTo>
                  <a:lnTo>
                    <a:pt x="5379892" y="584044"/>
                  </a:lnTo>
                  <a:lnTo>
                    <a:pt x="5260181" y="666937"/>
                  </a:lnTo>
                  <a:lnTo>
                    <a:pt x="5122069" y="819337"/>
                  </a:lnTo>
                  <a:lnTo>
                    <a:pt x="4860131" y="831243"/>
                  </a:lnTo>
                  <a:lnTo>
                    <a:pt x="4838554" y="938705"/>
                  </a:lnTo>
                  <a:lnTo>
                    <a:pt x="4645819" y="1021743"/>
                  </a:lnTo>
                  <a:lnTo>
                    <a:pt x="4495800" y="1086037"/>
                  </a:lnTo>
                  <a:lnTo>
                    <a:pt x="4424363" y="1024124"/>
                  </a:lnTo>
                  <a:lnTo>
                    <a:pt x="4452938" y="990787"/>
                  </a:lnTo>
                  <a:lnTo>
                    <a:pt x="4507706" y="895537"/>
                  </a:lnTo>
                  <a:lnTo>
                    <a:pt x="4557713" y="790762"/>
                  </a:lnTo>
                  <a:lnTo>
                    <a:pt x="4379119" y="776474"/>
                  </a:lnTo>
                  <a:lnTo>
                    <a:pt x="4395788" y="585974"/>
                  </a:lnTo>
                  <a:lnTo>
                    <a:pt x="4255294" y="407380"/>
                  </a:lnTo>
                  <a:lnTo>
                    <a:pt x="4236244" y="466912"/>
                  </a:lnTo>
                  <a:lnTo>
                    <a:pt x="4168629" y="622862"/>
                  </a:lnTo>
                  <a:lnTo>
                    <a:pt x="4081463" y="690749"/>
                  </a:lnTo>
                  <a:lnTo>
                    <a:pt x="4112419" y="824099"/>
                  </a:lnTo>
                  <a:lnTo>
                    <a:pt x="4124325" y="969355"/>
                  </a:lnTo>
                  <a:lnTo>
                    <a:pt x="4040042" y="1058689"/>
                  </a:lnTo>
                  <a:lnTo>
                    <a:pt x="3922567" y="1044574"/>
                  </a:lnTo>
                  <a:lnTo>
                    <a:pt x="3924300" y="852674"/>
                  </a:lnTo>
                  <a:lnTo>
                    <a:pt x="3976688" y="688368"/>
                  </a:lnTo>
                  <a:lnTo>
                    <a:pt x="4002881" y="509774"/>
                  </a:lnTo>
                  <a:lnTo>
                    <a:pt x="4105275" y="481199"/>
                  </a:lnTo>
                  <a:lnTo>
                    <a:pt x="4188619" y="459768"/>
                  </a:lnTo>
                  <a:lnTo>
                    <a:pt x="4255294" y="402618"/>
                  </a:lnTo>
                  <a:lnTo>
                    <a:pt x="4200525" y="369280"/>
                  </a:lnTo>
                  <a:lnTo>
                    <a:pt x="4007644" y="362137"/>
                  </a:lnTo>
                  <a:lnTo>
                    <a:pt x="3819379" y="241734"/>
                  </a:lnTo>
                  <a:lnTo>
                    <a:pt x="3716192" y="333487"/>
                  </a:lnTo>
                  <a:lnTo>
                    <a:pt x="3562204" y="372306"/>
                  </a:lnTo>
                  <a:lnTo>
                    <a:pt x="3487592" y="289375"/>
                  </a:lnTo>
                  <a:lnTo>
                    <a:pt x="3639992" y="162332"/>
                  </a:lnTo>
                  <a:lnTo>
                    <a:pt x="3549504" y="109398"/>
                  </a:lnTo>
                  <a:lnTo>
                    <a:pt x="3343129" y="82931"/>
                  </a:lnTo>
                  <a:lnTo>
                    <a:pt x="3149454" y="17645"/>
                  </a:lnTo>
                  <a:lnTo>
                    <a:pt x="174479"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3" name="Freeform 169">
              <a:extLst>
                <a:ext uri="{FF2B5EF4-FFF2-40B4-BE49-F238E27FC236}">
                  <a16:creationId xmlns:a16="http://schemas.microsoft.com/office/drawing/2014/main" id="{F8E15674-13B5-9B50-996B-D5AE2C11800C}"/>
                </a:ext>
              </a:extLst>
            </p:cNvPr>
            <p:cNvSpPr>
              <a:spLocks/>
            </p:cNvSpPr>
            <p:nvPr/>
          </p:nvSpPr>
          <p:spPr bwMode="auto">
            <a:xfrm>
              <a:off x="179386" y="1421326"/>
              <a:ext cx="995008" cy="1062496"/>
            </a:xfrm>
            <a:custGeom>
              <a:avLst/>
              <a:gdLst>
                <a:gd name="T0" fmla="*/ 601 w 4125765"/>
                <a:gd name="T1" fmla="*/ 554 h 4278499"/>
                <a:gd name="T2" fmla="*/ 537 w 4125765"/>
                <a:gd name="T3" fmla="*/ 473 h 4278499"/>
                <a:gd name="T4" fmla="*/ 491 w 4125765"/>
                <a:gd name="T5" fmla="*/ 470 h 4278499"/>
                <a:gd name="T6" fmla="*/ 463 w 4125765"/>
                <a:gd name="T7" fmla="*/ 421 h 4278499"/>
                <a:gd name="T8" fmla="*/ 424 w 4125765"/>
                <a:gd name="T9" fmla="*/ 419 h 4278499"/>
                <a:gd name="T10" fmla="*/ 405 w 4125765"/>
                <a:gd name="T11" fmla="*/ 56 h 4278499"/>
                <a:gd name="T12" fmla="*/ 370 w 4125765"/>
                <a:gd name="T13" fmla="*/ 60 h 4278499"/>
                <a:gd name="T14" fmla="*/ 342 w 4125765"/>
                <a:gd name="T15" fmla="*/ 58 h 4278499"/>
                <a:gd name="T16" fmla="*/ 317 w 4125765"/>
                <a:gd name="T17" fmla="*/ 43 h 4278499"/>
                <a:gd name="T18" fmla="*/ 287 w 4125765"/>
                <a:gd name="T19" fmla="*/ 39 h 4278499"/>
                <a:gd name="T20" fmla="*/ 261 w 4125765"/>
                <a:gd name="T21" fmla="*/ 21 h 4278499"/>
                <a:gd name="T22" fmla="*/ 223 w 4125765"/>
                <a:gd name="T23" fmla="*/ 14 h 4278499"/>
                <a:gd name="T24" fmla="*/ 174 w 4125765"/>
                <a:gd name="T25" fmla="*/ 17 h 4278499"/>
                <a:gd name="T26" fmla="*/ 137 w 4125765"/>
                <a:gd name="T27" fmla="*/ 35 h 4278499"/>
                <a:gd name="T28" fmla="*/ 109 w 4125765"/>
                <a:gd name="T29" fmla="*/ 58 h 4278499"/>
                <a:gd name="T30" fmla="*/ 86 w 4125765"/>
                <a:gd name="T31" fmla="*/ 97 h 4278499"/>
                <a:gd name="T32" fmla="*/ 51 w 4125765"/>
                <a:gd name="T33" fmla="*/ 108 h 4278499"/>
                <a:gd name="T34" fmla="*/ 43 w 4125765"/>
                <a:gd name="T35" fmla="*/ 138 h 4278499"/>
                <a:gd name="T36" fmla="*/ 126 w 4125765"/>
                <a:gd name="T37" fmla="*/ 216 h 4278499"/>
                <a:gd name="T38" fmla="*/ 88 w 4125765"/>
                <a:gd name="T39" fmla="*/ 218 h 4278499"/>
                <a:gd name="T40" fmla="*/ 53 w 4125765"/>
                <a:gd name="T41" fmla="*/ 209 h 4278499"/>
                <a:gd name="T42" fmla="*/ 34 w 4125765"/>
                <a:gd name="T43" fmla="*/ 230 h 4278499"/>
                <a:gd name="T44" fmla="*/ 38 w 4125765"/>
                <a:gd name="T45" fmla="*/ 261 h 4278499"/>
                <a:gd name="T46" fmla="*/ 75 w 4125765"/>
                <a:gd name="T47" fmla="*/ 286 h 4278499"/>
                <a:gd name="T48" fmla="*/ 109 w 4125765"/>
                <a:gd name="T49" fmla="*/ 282 h 4278499"/>
                <a:gd name="T50" fmla="*/ 133 w 4125765"/>
                <a:gd name="T51" fmla="*/ 308 h 4278499"/>
                <a:gd name="T52" fmla="*/ 94 w 4125765"/>
                <a:gd name="T53" fmla="*/ 334 h 4278499"/>
                <a:gd name="T54" fmla="*/ 64 w 4125765"/>
                <a:gd name="T55" fmla="*/ 349 h 4278499"/>
                <a:gd name="T56" fmla="*/ 43 w 4125765"/>
                <a:gd name="T57" fmla="*/ 386 h 4278499"/>
                <a:gd name="T58" fmla="*/ 64 w 4125765"/>
                <a:gd name="T59" fmla="*/ 421 h 4278499"/>
                <a:gd name="T60" fmla="*/ 43 w 4125765"/>
                <a:gd name="T61" fmla="*/ 444 h 4278499"/>
                <a:gd name="T62" fmla="*/ 62 w 4125765"/>
                <a:gd name="T63" fmla="*/ 436 h 4278499"/>
                <a:gd name="T64" fmla="*/ 90 w 4125765"/>
                <a:gd name="T65" fmla="*/ 440 h 4278499"/>
                <a:gd name="T66" fmla="*/ 119 w 4125765"/>
                <a:gd name="T67" fmla="*/ 449 h 4278499"/>
                <a:gd name="T68" fmla="*/ 126 w 4125765"/>
                <a:gd name="T69" fmla="*/ 482 h 4278499"/>
                <a:gd name="T70" fmla="*/ 159 w 4125765"/>
                <a:gd name="T71" fmla="*/ 470 h 4278499"/>
                <a:gd name="T72" fmla="*/ 172 w 4125765"/>
                <a:gd name="T73" fmla="*/ 492 h 4278499"/>
                <a:gd name="T74" fmla="*/ 144 w 4125765"/>
                <a:gd name="T75" fmla="*/ 526 h 4278499"/>
                <a:gd name="T76" fmla="*/ 68 w 4125765"/>
                <a:gd name="T77" fmla="*/ 573 h 4278499"/>
                <a:gd name="T78" fmla="*/ 1 w 4125765"/>
                <a:gd name="T79" fmla="*/ 614 h 4278499"/>
                <a:gd name="T80" fmla="*/ 26 w 4125765"/>
                <a:gd name="T81" fmla="*/ 618 h 4278499"/>
                <a:gd name="T82" fmla="*/ 86 w 4125765"/>
                <a:gd name="T83" fmla="*/ 587 h 4278499"/>
                <a:gd name="T84" fmla="*/ 129 w 4125765"/>
                <a:gd name="T85" fmla="*/ 560 h 4278499"/>
                <a:gd name="T86" fmla="*/ 168 w 4125765"/>
                <a:gd name="T87" fmla="*/ 532 h 4278499"/>
                <a:gd name="T88" fmla="*/ 203 w 4125765"/>
                <a:gd name="T89" fmla="*/ 501 h 4278499"/>
                <a:gd name="T90" fmla="*/ 239 w 4125765"/>
                <a:gd name="T91" fmla="*/ 469 h 4278499"/>
                <a:gd name="T92" fmla="*/ 223 w 4125765"/>
                <a:gd name="T93" fmla="*/ 451 h 4278499"/>
                <a:gd name="T94" fmla="*/ 268 w 4125765"/>
                <a:gd name="T95" fmla="*/ 455 h 4278499"/>
                <a:gd name="T96" fmla="*/ 316 w 4125765"/>
                <a:gd name="T97" fmla="*/ 435 h 4278499"/>
                <a:gd name="T98" fmla="*/ 328 w 4125765"/>
                <a:gd name="T99" fmla="*/ 422 h 4278499"/>
                <a:gd name="T100" fmla="*/ 344 w 4125765"/>
                <a:gd name="T101" fmla="*/ 407 h 4278499"/>
                <a:gd name="T102" fmla="*/ 375 w 4125765"/>
                <a:gd name="T103" fmla="*/ 428 h 4278499"/>
                <a:gd name="T104" fmla="*/ 432 w 4125765"/>
                <a:gd name="T105" fmla="*/ 444 h 4278499"/>
                <a:gd name="T106" fmla="*/ 484 w 4125765"/>
                <a:gd name="T107" fmla="*/ 478 h 4278499"/>
                <a:gd name="T108" fmla="*/ 503 w 4125765"/>
                <a:gd name="T109" fmla="*/ 508 h 4278499"/>
                <a:gd name="T110" fmla="*/ 537 w 4125765"/>
                <a:gd name="T111" fmla="*/ 558 h 4278499"/>
                <a:gd name="T112" fmla="*/ 553 w 4125765"/>
                <a:gd name="T113" fmla="*/ 591 h 427849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25765"/>
                <a:gd name="T172" fmla="*/ 0 h 4278499"/>
                <a:gd name="T173" fmla="*/ 4125765 w 4125765"/>
                <a:gd name="T174" fmla="*/ 4278499 h 427849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25765" h="4278499">
                  <a:moveTo>
                    <a:pt x="4010131" y="3965811"/>
                  </a:moveTo>
                  <a:lnTo>
                    <a:pt x="4125765" y="3781355"/>
                  </a:lnTo>
                  <a:lnTo>
                    <a:pt x="3939622" y="3647336"/>
                  </a:lnTo>
                  <a:lnTo>
                    <a:pt x="3687200" y="3227986"/>
                  </a:lnTo>
                  <a:lnTo>
                    <a:pt x="3513749" y="3019032"/>
                  </a:lnTo>
                  <a:lnTo>
                    <a:pt x="3371321" y="3212134"/>
                  </a:lnTo>
                  <a:lnTo>
                    <a:pt x="3223253" y="3017591"/>
                  </a:lnTo>
                  <a:lnTo>
                    <a:pt x="3182357" y="2874925"/>
                  </a:lnTo>
                  <a:lnTo>
                    <a:pt x="3042750" y="2899423"/>
                  </a:lnTo>
                  <a:lnTo>
                    <a:pt x="2914424" y="2859073"/>
                  </a:lnTo>
                  <a:lnTo>
                    <a:pt x="2927116" y="514460"/>
                  </a:lnTo>
                  <a:lnTo>
                    <a:pt x="2784688" y="383323"/>
                  </a:lnTo>
                  <a:lnTo>
                    <a:pt x="2669054" y="409263"/>
                  </a:lnTo>
                  <a:lnTo>
                    <a:pt x="2540728" y="409263"/>
                  </a:lnTo>
                  <a:lnTo>
                    <a:pt x="2410991" y="342974"/>
                  </a:lnTo>
                  <a:lnTo>
                    <a:pt x="2347533" y="396293"/>
                  </a:lnTo>
                  <a:lnTo>
                    <a:pt x="2257282" y="330004"/>
                  </a:lnTo>
                  <a:lnTo>
                    <a:pt x="2179723" y="291095"/>
                  </a:lnTo>
                  <a:lnTo>
                    <a:pt x="2089471" y="250745"/>
                  </a:lnTo>
                  <a:lnTo>
                    <a:pt x="1972427" y="263715"/>
                  </a:lnTo>
                  <a:lnTo>
                    <a:pt x="1844101" y="291095"/>
                  </a:lnTo>
                  <a:lnTo>
                    <a:pt x="1791924" y="145548"/>
                  </a:lnTo>
                  <a:lnTo>
                    <a:pt x="1586039" y="171487"/>
                  </a:lnTo>
                  <a:lnTo>
                    <a:pt x="1535272" y="92228"/>
                  </a:lnTo>
                  <a:lnTo>
                    <a:pt x="1367461" y="0"/>
                  </a:lnTo>
                  <a:lnTo>
                    <a:pt x="1195420" y="119608"/>
                  </a:lnTo>
                  <a:lnTo>
                    <a:pt x="1019148" y="145548"/>
                  </a:lnTo>
                  <a:lnTo>
                    <a:pt x="941588" y="237776"/>
                  </a:lnTo>
                  <a:lnTo>
                    <a:pt x="825954" y="304065"/>
                  </a:lnTo>
                  <a:lnTo>
                    <a:pt x="748394" y="396293"/>
                  </a:lnTo>
                  <a:lnTo>
                    <a:pt x="675065" y="505814"/>
                  </a:lnTo>
                  <a:lnTo>
                    <a:pt x="593275" y="660008"/>
                  </a:lnTo>
                  <a:lnTo>
                    <a:pt x="486102" y="747913"/>
                  </a:lnTo>
                  <a:lnTo>
                    <a:pt x="347904" y="737825"/>
                  </a:lnTo>
                  <a:lnTo>
                    <a:pt x="284446" y="817084"/>
                  </a:lnTo>
                  <a:lnTo>
                    <a:pt x="297138" y="941016"/>
                  </a:lnTo>
                  <a:lnTo>
                    <a:pt x="464949" y="1093768"/>
                  </a:lnTo>
                  <a:lnTo>
                    <a:pt x="864029" y="1472769"/>
                  </a:lnTo>
                  <a:lnTo>
                    <a:pt x="708909" y="1541940"/>
                  </a:lnTo>
                  <a:lnTo>
                    <a:pt x="605967" y="1490061"/>
                  </a:lnTo>
                  <a:lnTo>
                    <a:pt x="580583" y="1376217"/>
                  </a:lnTo>
                  <a:lnTo>
                    <a:pt x="362006" y="1423772"/>
                  </a:lnTo>
                  <a:lnTo>
                    <a:pt x="322521" y="1490061"/>
                  </a:lnTo>
                  <a:lnTo>
                    <a:pt x="232270" y="1567879"/>
                  </a:lnTo>
                  <a:lnTo>
                    <a:pt x="154710" y="1665871"/>
                  </a:lnTo>
                  <a:lnTo>
                    <a:pt x="257653" y="1779716"/>
                  </a:lnTo>
                  <a:lnTo>
                    <a:pt x="362006" y="1951202"/>
                  </a:lnTo>
                  <a:lnTo>
                    <a:pt x="515715" y="1951202"/>
                  </a:lnTo>
                  <a:lnTo>
                    <a:pt x="670835" y="1977141"/>
                  </a:lnTo>
                  <a:lnTo>
                    <a:pt x="748394" y="1923822"/>
                  </a:lnTo>
                  <a:lnTo>
                    <a:pt x="864029" y="1955525"/>
                  </a:lnTo>
                  <a:lnTo>
                    <a:pt x="911975" y="2101073"/>
                  </a:lnTo>
                  <a:lnTo>
                    <a:pt x="696218" y="2148628"/>
                  </a:lnTo>
                  <a:lnTo>
                    <a:pt x="645451" y="2279765"/>
                  </a:lnTo>
                  <a:lnTo>
                    <a:pt x="515715" y="2240856"/>
                  </a:lnTo>
                  <a:lnTo>
                    <a:pt x="438156" y="2384963"/>
                  </a:lnTo>
                  <a:lnTo>
                    <a:pt x="374698" y="2517541"/>
                  </a:lnTo>
                  <a:lnTo>
                    <a:pt x="297138" y="2632826"/>
                  </a:lnTo>
                  <a:lnTo>
                    <a:pt x="412772" y="2701997"/>
                  </a:lnTo>
                  <a:lnTo>
                    <a:pt x="438156" y="2873484"/>
                  </a:lnTo>
                  <a:lnTo>
                    <a:pt x="271755" y="2912393"/>
                  </a:lnTo>
                  <a:lnTo>
                    <a:pt x="297138" y="3030560"/>
                  </a:lnTo>
                  <a:lnTo>
                    <a:pt x="387389" y="3043530"/>
                  </a:lnTo>
                  <a:lnTo>
                    <a:pt x="425464" y="2978682"/>
                  </a:lnTo>
                  <a:lnTo>
                    <a:pt x="528407" y="2978682"/>
                  </a:lnTo>
                  <a:lnTo>
                    <a:pt x="618658" y="3004621"/>
                  </a:lnTo>
                  <a:lnTo>
                    <a:pt x="761086" y="2965712"/>
                  </a:lnTo>
                  <a:lnTo>
                    <a:pt x="817493" y="3068028"/>
                  </a:lnTo>
                  <a:lnTo>
                    <a:pt x="761086" y="3189077"/>
                  </a:lnTo>
                  <a:lnTo>
                    <a:pt x="864029" y="3294275"/>
                  </a:lnTo>
                  <a:lnTo>
                    <a:pt x="993765" y="3255366"/>
                  </a:lnTo>
                  <a:lnTo>
                    <a:pt x="1092993" y="3206937"/>
                  </a:lnTo>
                  <a:lnTo>
                    <a:pt x="1188243" y="3268849"/>
                  </a:lnTo>
                  <a:lnTo>
                    <a:pt x="1183481" y="3361718"/>
                  </a:lnTo>
                  <a:lnTo>
                    <a:pt x="1112043" y="3480780"/>
                  </a:lnTo>
                  <a:lnTo>
                    <a:pt x="985837" y="3595080"/>
                  </a:lnTo>
                  <a:lnTo>
                    <a:pt x="728662" y="3764149"/>
                  </a:lnTo>
                  <a:lnTo>
                    <a:pt x="469106" y="3914168"/>
                  </a:lnTo>
                  <a:lnTo>
                    <a:pt x="244962" y="4137298"/>
                  </a:lnTo>
                  <a:lnTo>
                    <a:pt x="4762" y="4192774"/>
                  </a:lnTo>
                  <a:lnTo>
                    <a:pt x="0" y="4278499"/>
                  </a:lnTo>
                  <a:lnTo>
                    <a:pt x="176212" y="4221349"/>
                  </a:lnTo>
                  <a:lnTo>
                    <a:pt x="414337" y="4099905"/>
                  </a:lnTo>
                  <a:lnTo>
                    <a:pt x="588168" y="4009418"/>
                  </a:lnTo>
                  <a:lnTo>
                    <a:pt x="757237" y="3911787"/>
                  </a:lnTo>
                  <a:lnTo>
                    <a:pt x="883443" y="3823680"/>
                  </a:lnTo>
                  <a:lnTo>
                    <a:pt x="1054893" y="3759387"/>
                  </a:lnTo>
                  <a:lnTo>
                    <a:pt x="1154906" y="3633180"/>
                  </a:lnTo>
                  <a:lnTo>
                    <a:pt x="1285875" y="3530787"/>
                  </a:lnTo>
                  <a:lnTo>
                    <a:pt x="1393031" y="3421249"/>
                  </a:lnTo>
                  <a:lnTo>
                    <a:pt x="1512093" y="3349812"/>
                  </a:lnTo>
                  <a:lnTo>
                    <a:pt x="1643062" y="3204555"/>
                  </a:lnTo>
                  <a:lnTo>
                    <a:pt x="1701673" y="3122788"/>
                  </a:lnTo>
                  <a:lnTo>
                    <a:pt x="1535906" y="3080730"/>
                  </a:lnTo>
                  <a:lnTo>
                    <a:pt x="1709737" y="2956905"/>
                  </a:lnTo>
                  <a:lnTo>
                    <a:pt x="1844101" y="3109819"/>
                  </a:lnTo>
                  <a:lnTo>
                    <a:pt x="2093702" y="3019032"/>
                  </a:lnTo>
                  <a:lnTo>
                    <a:pt x="2171700" y="2971193"/>
                  </a:lnTo>
                  <a:lnTo>
                    <a:pt x="2308049" y="2965712"/>
                  </a:lnTo>
                  <a:lnTo>
                    <a:pt x="2250281" y="2885468"/>
                  </a:lnTo>
                  <a:lnTo>
                    <a:pt x="2228850" y="2797362"/>
                  </a:lnTo>
                  <a:lnTo>
                    <a:pt x="2360225" y="2781256"/>
                  </a:lnTo>
                  <a:lnTo>
                    <a:pt x="2450476" y="2899423"/>
                  </a:lnTo>
                  <a:lnTo>
                    <a:pt x="2578802" y="2925362"/>
                  </a:lnTo>
                  <a:lnTo>
                    <a:pt x="2784688" y="2951302"/>
                  </a:lnTo>
                  <a:lnTo>
                    <a:pt x="2965190" y="3030560"/>
                  </a:lnTo>
                  <a:lnTo>
                    <a:pt x="3145693" y="3096849"/>
                  </a:lnTo>
                  <a:lnTo>
                    <a:pt x="3324785" y="3261131"/>
                  </a:lnTo>
                  <a:lnTo>
                    <a:pt x="3455932" y="3465762"/>
                  </a:lnTo>
                  <a:lnTo>
                    <a:pt x="3546183" y="3624279"/>
                  </a:lnTo>
                  <a:lnTo>
                    <a:pt x="3687200" y="3808735"/>
                  </a:lnTo>
                  <a:lnTo>
                    <a:pt x="3726685" y="3952842"/>
                  </a:lnTo>
                  <a:lnTo>
                    <a:pt x="3797194" y="4034983"/>
                  </a:lnTo>
                  <a:lnTo>
                    <a:pt x="4010131" y="396581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4" name="Freeform 170">
              <a:extLst>
                <a:ext uri="{FF2B5EF4-FFF2-40B4-BE49-F238E27FC236}">
                  <a16:creationId xmlns:a16="http://schemas.microsoft.com/office/drawing/2014/main" id="{1FB551C4-BE63-009F-704F-5F00AF563D40}"/>
                </a:ext>
              </a:extLst>
            </p:cNvPr>
            <p:cNvSpPr>
              <a:spLocks/>
            </p:cNvSpPr>
            <p:nvPr/>
          </p:nvSpPr>
          <p:spPr bwMode="auto">
            <a:xfrm rot="290201">
              <a:off x="3861363" y="1743994"/>
              <a:ext cx="271163" cy="186686"/>
            </a:xfrm>
            <a:custGeom>
              <a:avLst/>
              <a:gdLst>
                <a:gd name="T0" fmla="*/ 2147483647 w 2600"/>
                <a:gd name="T1" fmla="*/ 0 h 1664"/>
                <a:gd name="T2" fmla="*/ 2147483647 w 2600"/>
                <a:gd name="T3" fmla="*/ 2147483647 h 1664"/>
                <a:gd name="T4" fmla="*/ 2147483647 w 2600"/>
                <a:gd name="T5" fmla="*/ 2147483647 h 1664"/>
                <a:gd name="T6" fmla="*/ 2147483647 w 2600"/>
                <a:gd name="T7" fmla="*/ 2147483647 h 1664"/>
                <a:gd name="T8" fmla="*/ 2147483647 w 2600"/>
                <a:gd name="T9" fmla="*/ 2147483647 h 1664"/>
                <a:gd name="T10" fmla="*/ 2147483647 w 2600"/>
                <a:gd name="T11" fmla="*/ 2147483647 h 1664"/>
                <a:gd name="T12" fmla="*/ 2147483647 w 2600"/>
                <a:gd name="T13" fmla="*/ 2147483647 h 1664"/>
                <a:gd name="T14" fmla="*/ 2147483647 w 2600"/>
                <a:gd name="T15" fmla="*/ 2147483647 h 1664"/>
                <a:gd name="T16" fmla="*/ 2147483647 w 2600"/>
                <a:gd name="T17" fmla="*/ 2147483647 h 1664"/>
                <a:gd name="T18" fmla="*/ 2147483647 w 2600"/>
                <a:gd name="T19" fmla="*/ 2147483647 h 1664"/>
                <a:gd name="T20" fmla="*/ 2147483647 w 2600"/>
                <a:gd name="T21" fmla="*/ 2147483647 h 1664"/>
                <a:gd name="T22" fmla="*/ 2147483647 w 2600"/>
                <a:gd name="T23" fmla="*/ 2147483647 h 1664"/>
                <a:gd name="T24" fmla="*/ 2147483647 w 2600"/>
                <a:gd name="T25" fmla="*/ 2147483647 h 1664"/>
                <a:gd name="T26" fmla="*/ 2147483647 w 2600"/>
                <a:gd name="T27" fmla="*/ 2147483647 h 1664"/>
                <a:gd name="T28" fmla="*/ 2147483647 w 2600"/>
                <a:gd name="T29" fmla="*/ 2147483647 h 1664"/>
                <a:gd name="T30" fmla="*/ 2147483647 w 2600"/>
                <a:gd name="T31" fmla="*/ 2147483647 h 1664"/>
                <a:gd name="T32" fmla="*/ 2147483647 w 2600"/>
                <a:gd name="T33" fmla="*/ 2147483647 h 1664"/>
                <a:gd name="T34" fmla="*/ 2147483647 w 2600"/>
                <a:gd name="T35" fmla="*/ 2147483647 h 1664"/>
                <a:gd name="T36" fmla="*/ 2147483647 w 2600"/>
                <a:gd name="T37" fmla="*/ 2147483647 h 1664"/>
                <a:gd name="T38" fmla="*/ 2147483647 w 2600"/>
                <a:gd name="T39" fmla="*/ 2147483647 h 1664"/>
                <a:gd name="T40" fmla="*/ 2147483647 w 2600"/>
                <a:gd name="T41" fmla="*/ 2147483647 h 1664"/>
                <a:gd name="T42" fmla="*/ 2147483647 w 2600"/>
                <a:gd name="T43" fmla="*/ 2147483647 h 1664"/>
                <a:gd name="T44" fmla="*/ 2147483647 w 2600"/>
                <a:gd name="T45" fmla="*/ 2147483647 h 1664"/>
                <a:gd name="T46" fmla="*/ 2147483647 w 2600"/>
                <a:gd name="T47" fmla="*/ 2147483647 h 1664"/>
                <a:gd name="T48" fmla="*/ 2147483647 w 2600"/>
                <a:gd name="T49" fmla="*/ 2147483647 h 1664"/>
                <a:gd name="T50" fmla="*/ 2147483647 w 2600"/>
                <a:gd name="T51" fmla="*/ 2147483647 h 1664"/>
                <a:gd name="T52" fmla="*/ 2147483647 w 2600"/>
                <a:gd name="T53" fmla="*/ 2147483647 h 1664"/>
                <a:gd name="T54" fmla="*/ 0 w 2600"/>
                <a:gd name="T55" fmla="*/ 2147483647 h 1664"/>
                <a:gd name="T56" fmla="*/ 2147483647 w 2600"/>
                <a:gd name="T57" fmla="*/ 2147483647 h 1664"/>
                <a:gd name="T58" fmla="*/ 2147483647 w 2600"/>
                <a:gd name="T59" fmla="*/ 2147483647 h 1664"/>
                <a:gd name="T60" fmla="*/ 2147483647 w 2600"/>
                <a:gd name="T61" fmla="*/ 2147483647 h 1664"/>
                <a:gd name="T62" fmla="*/ 2147483647 w 2600"/>
                <a:gd name="T63" fmla="*/ 2147483647 h 1664"/>
                <a:gd name="T64" fmla="*/ 2147483647 w 2600"/>
                <a:gd name="T65" fmla="*/ 2147483647 h 1664"/>
                <a:gd name="T66" fmla="*/ 2147483647 w 2600"/>
                <a:gd name="T67" fmla="*/ 2147483647 h 1664"/>
                <a:gd name="T68" fmla="*/ 2147483647 w 2600"/>
                <a:gd name="T69" fmla="*/ 2147483647 h 1664"/>
                <a:gd name="T70" fmla="*/ 2147483647 w 2600"/>
                <a:gd name="T71" fmla="*/ 2147483647 h 1664"/>
                <a:gd name="T72" fmla="*/ 2147483647 w 2600"/>
                <a:gd name="T73" fmla="*/ 2147483647 h 1664"/>
                <a:gd name="T74" fmla="*/ 2147483647 w 2600"/>
                <a:gd name="T75" fmla="*/ 2147483647 h 1664"/>
                <a:gd name="T76" fmla="*/ 2147483647 w 2600"/>
                <a:gd name="T77" fmla="*/ 2147483647 h 1664"/>
                <a:gd name="T78" fmla="*/ 2147483647 w 2600"/>
                <a:gd name="T79" fmla="*/ 2147483647 h 1664"/>
                <a:gd name="T80" fmla="*/ 2147483647 w 2600"/>
                <a:gd name="T81" fmla="*/ 2147483647 h 1664"/>
                <a:gd name="T82" fmla="*/ 2147483647 w 2600"/>
                <a:gd name="T83" fmla="*/ 2147483647 h 1664"/>
                <a:gd name="T84" fmla="*/ 2147483647 w 2600"/>
                <a:gd name="T85" fmla="*/ 2147483647 h 1664"/>
                <a:gd name="T86" fmla="*/ 2147483647 w 2600"/>
                <a:gd name="T87" fmla="*/ 2147483647 h 1664"/>
                <a:gd name="T88" fmla="*/ 2147483647 w 2600"/>
                <a:gd name="T89" fmla="*/ 2147483647 h 1664"/>
                <a:gd name="T90" fmla="*/ 2147483647 w 2600"/>
                <a:gd name="T91" fmla="*/ 2147483647 h 1664"/>
                <a:gd name="T92" fmla="*/ 2147483647 w 2600"/>
                <a:gd name="T93" fmla="*/ 2147483647 h 1664"/>
                <a:gd name="T94" fmla="*/ 2147483647 w 2600"/>
                <a:gd name="T95" fmla="*/ 2147483647 h 1664"/>
                <a:gd name="T96" fmla="*/ 2147483647 w 2600"/>
                <a:gd name="T97" fmla="*/ 2147483647 h 1664"/>
                <a:gd name="T98" fmla="*/ 2147483647 w 2600"/>
                <a:gd name="T99" fmla="*/ 2147483647 h 1664"/>
                <a:gd name="T100" fmla="*/ 2147483647 w 2600"/>
                <a:gd name="T101" fmla="*/ 2147483647 h 1664"/>
                <a:gd name="T102" fmla="*/ 2147483647 w 2600"/>
                <a:gd name="T103" fmla="*/ 2147483647 h 1664"/>
                <a:gd name="T104" fmla="*/ 2147483647 w 2600"/>
                <a:gd name="T105" fmla="*/ 2147483647 h 1664"/>
                <a:gd name="T106" fmla="*/ 2147483647 w 2600"/>
                <a:gd name="T107" fmla="*/ 2147483647 h 1664"/>
                <a:gd name="T108" fmla="*/ 2147483647 w 2600"/>
                <a:gd name="T109" fmla="*/ 2147483647 h 1664"/>
                <a:gd name="T110" fmla="*/ 2147483647 w 2600"/>
                <a:gd name="T111" fmla="*/ 2147483647 h 1664"/>
                <a:gd name="T112" fmla="*/ 2147483647 w 2600"/>
                <a:gd name="T113" fmla="*/ 2147483647 h 1664"/>
                <a:gd name="T114" fmla="*/ 2147483647 w 2600"/>
                <a:gd name="T115" fmla="*/ 2147483647 h 1664"/>
                <a:gd name="T116" fmla="*/ 2147483647 w 2600"/>
                <a:gd name="T117" fmla="*/ 2147483647 h 1664"/>
                <a:gd name="T118" fmla="*/ 2147483647 w 2600"/>
                <a:gd name="T119" fmla="*/ 2147483647 h 1664"/>
                <a:gd name="T120" fmla="*/ 2147483647 w 2600"/>
                <a:gd name="T121" fmla="*/ 2147483647 h 1664"/>
                <a:gd name="T122" fmla="*/ 2147483647 w 2600"/>
                <a:gd name="T123" fmla="*/ 2147483647 h 1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0"/>
                <a:gd name="T187" fmla="*/ 0 h 1664"/>
                <a:gd name="T188" fmla="*/ 2600 w 2600"/>
                <a:gd name="T189" fmla="*/ 1664 h 16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0" h="1664">
                  <a:moveTo>
                    <a:pt x="2104" y="48"/>
                  </a:moveTo>
                  <a:lnTo>
                    <a:pt x="2024" y="0"/>
                  </a:lnTo>
                  <a:lnTo>
                    <a:pt x="1952" y="40"/>
                  </a:lnTo>
                  <a:lnTo>
                    <a:pt x="1944" y="112"/>
                  </a:lnTo>
                  <a:lnTo>
                    <a:pt x="1952" y="216"/>
                  </a:lnTo>
                  <a:lnTo>
                    <a:pt x="1856" y="272"/>
                  </a:lnTo>
                  <a:lnTo>
                    <a:pt x="1792" y="216"/>
                  </a:lnTo>
                  <a:lnTo>
                    <a:pt x="1712" y="224"/>
                  </a:lnTo>
                  <a:lnTo>
                    <a:pt x="1680" y="296"/>
                  </a:lnTo>
                  <a:lnTo>
                    <a:pt x="1632" y="256"/>
                  </a:lnTo>
                  <a:lnTo>
                    <a:pt x="1600" y="200"/>
                  </a:lnTo>
                  <a:lnTo>
                    <a:pt x="1512" y="192"/>
                  </a:lnTo>
                  <a:lnTo>
                    <a:pt x="1480" y="248"/>
                  </a:lnTo>
                  <a:lnTo>
                    <a:pt x="1512" y="296"/>
                  </a:lnTo>
                  <a:lnTo>
                    <a:pt x="1552" y="376"/>
                  </a:lnTo>
                  <a:lnTo>
                    <a:pt x="1552" y="440"/>
                  </a:lnTo>
                  <a:lnTo>
                    <a:pt x="1480" y="432"/>
                  </a:lnTo>
                  <a:lnTo>
                    <a:pt x="1472" y="360"/>
                  </a:lnTo>
                  <a:lnTo>
                    <a:pt x="1400" y="336"/>
                  </a:lnTo>
                  <a:lnTo>
                    <a:pt x="1424" y="272"/>
                  </a:lnTo>
                  <a:lnTo>
                    <a:pt x="1360" y="160"/>
                  </a:lnTo>
                  <a:lnTo>
                    <a:pt x="1272" y="176"/>
                  </a:lnTo>
                  <a:lnTo>
                    <a:pt x="1200" y="248"/>
                  </a:lnTo>
                  <a:lnTo>
                    <a:pt x="1200" y="328"/>
                  </a:lnTo>
                  <a:lnTo>
                    <a:pt x="1200" y="392"/>
                  </a:lnTo>
                  <a:lnTo>
                    <a:pt x="1120" y="400"/>
                  </a:lnTo>
                  <a:lnTo>
                    <a:pt x="1088" y="304"/>
                  </a:lnTo>
                  <a:lnTo>
                    <a:pt x="1056" y="224"/>
                  </a:lnTo>
                  <a:lnTo>
                    <a:pt x="976" y="184"/>
                  </a:lnTo>
                  <a:lnTo>
                    <a:pt x="912" y="256"/>
                  </a:lnTo>
                  <a:lnTo>
                    <a:pt x="960" y="312"/>
                  </a:lnTo>
                  <a:lnTo>
                    <a:pt x="968" y="376"/>
                  </a:lnTo>
                  <a:lnTo>
                    <a:pt x="944" y="456"/>
                  </a:lnTo>
                  <a:lnTo>
                    <a:pt x="904" y="512"/>
                  </a:lnTo>
                  <a:lnTo>
                    <a:pt x="848" y="432"/>
                  </a:lnTo>
                  <a:lnTo>
                    <a:pt x="784" y="416"/>
                  </a:lnTo>
                  <a:lnTo>
                    <a:pt x="768" y="512"/>
                  </a:lnTo>
                  <a:lnTo>
                    <a:pt x="664" y="504"/>
                  </a:lnTo>
                  <a:lnTo>
                    <a:pt x="696" y="456"/>
                  </a:lnTo>
                  <a:lnTo>
                    <a:pt x="704" y="368"/>
                  </a:lnTo>
                  <a:lnTo>
                    <a:pt x="696" y="248"/>
                  </a:lnTo>
                  <a:lnTo>
                    <a:pt x="616" y="168"/>
                  </a:lnTo>
                  <a:lnTo>
                    <a:pt x="560" y="104"/>
                  </a:lnTo>
                  <a:lnTo>
                    <a:pt x="480" y="24"/>
                  </a:lnTo>
                  <a:lnTo>
                    <a:pt x="488" y="128"/>
                  </a:lnTo>
                  <a:lnTo>
                    <a:pt x="480" y="240"/>
                  </a:lnTo>
                  <a:lnTo>
                    <a:pt x="416" y="296"/>
                  </a:lnTo>
                  <a:lnTo>
                    <a:pt x="400" y="208"/>
                  </a:lnTo>
                  <a:lnTo>
                    <a:pt x="320" y="216"/>
                  </a:lnTo>
                  <a:lnTo>
                    <a:pt x="312" y="96"/>
                  </a:lnTo>
                  <a:lnTo>
                    <a:pt x="232" y="80"/>
                  </a:lnTo>
                  <a:lnTo>
                    <a:pt x="216" y="200"/>
                  </a:lnTo>
                  <a:lnTo>
                    <a:pt x="144" y="240"/>
                  </a:lnTo>
                  <a:lnTo>
                    <a:pt x="80" y="344"/>
                  </a:lnTo>
                  <a:lnTo>
                    <a:pt x="88" y="400"/>
                  </a:lnTo>
                  <a:lnTo>
                    <a:pt x="0" y="464"/>
                  </a:lnTo>
                  <a:lnTo>
                    <a:pt x="32" y="520"/>
                  </a:lnTo>
                  <a:lnTo>
                    <a:pt x="160" y="456"/>
                  </a:lnTo>
                  <a:lnTo>
                    <a:pt x="256" y="432"/>
                  </a:lnTo>
                  <a:lnTo>
                    <a:pt x="336" y="424"/>
                  </a:lnTo>
                  <a:lnTo>
                    <a:pt x="416" y="448"/>
                  </a:lnTo>
                  <a:lnTo>
                    <a:pt x="504" y="472"/>
                  </a:lnTo>
                  <a:lnTo>
                    <a:pt x="568" y="544"/>
                  </a:lnTo>
                  <a:lnTo>
                    <a:pt x="488" y="552"/>
                  </a:lnTo>
                  <a:lnTo>
                    <a:pt x="392" y="616"/>
                  </a:lnTo>
                  <a:lnTo>
                    <a:pt x="416" y="656"/>
                  </a:lnTo>
                  <a:lnTo>
                    <a:pt x="488" y="672"/>
                  </a:lnTo>
                  <a:lnTo>
                    <a:pt x="568" y="680"/>
                  </a:lnTo>
                  <a:lnTo>
                    <a:pt x="512" y="752"/>
                  </a:lnTo>
                  <a:lnTo>
                    <a:pt x="432" y="768"/>
                  </a:lnTo>
                  <a:lnTo>
                    <a:pt x="336" y="760"/>
                  </a:lnTo>
                  <a:lnTo>
                    <a:pt x="208" y="768"/>
                  </a:lnTo>
                  <a:lnTo>
                    <a:pt x="104" y="776"/>
                  </a:lnTo>
                  <a:lnTo>
                    <a:pt x="184" y="832"/>
                  </a:lnTo>
                  <a:lnTo>
                    <a:pt x="264" y="848"/>
                  </a:lnTo>
                  <a:lnTo>
                    <a:pt x="360" y="880"/>
                  </a:lnTo>
                  <a:lnTo>
                    <a:pt x="368" y="992"/>
                  </a:lnTo>
                  <a:lnTo>
                    <a:pt x="448" y="1024"/>
                  </a:lnTo>
                  <a:lnTo>
                    <a:pt x="512" y="1072"/>
                  </a:lnTo>
                  <a:lnTo>
                    <a:pt x="456" y="1152"/>
                  </a:lnTo>
                  <a:lnTo>
                    <a:pt x="384" y="1232"/>
                  </a:lnTo>
                  <a:lnTo>
                    <a:pt x="296" y="1272"/>
                  </a:lnTo>
                  <a:lnTo>
                    <a:pt x="200" y="1304"/>
                  </a:lnTo>
                  <a:lnTo>
                    <a:pt x="232" y="1384"/>
                  </a:lnTo>
                  <a:lnTo>
                    <a:pt x="312" y="1384"/>
                  </a:lnTo>
                  <a:lnTo>
                    <a:pt x="416" y="1368"/>
                  </a:lnTo>
                  <a:lnTo>
                    <a:pt x="576" y="1328"/>
                  </a:lnTo>
                  <a:lnTo>
                    <a:pt x="688" y="1392"/>
                  </a:lnTo>
                  <a:lnTo>
                    <a:pt x="744" y="1480"/>
                  </a:lnTo>
                  <a:lnTo>
                    <a:pt x="800" y="1568"/>
                  </a:lnTo>
                  <a:lnTo>
                    <a:pt x="912" y="1552"/>
                  </a:lnTo>
                  <a:lnTo>
                    <a:pt x="990" y="1582"/>
                  </a:lnTo>
                  <a:lnTo>
                    <a:pt x="1120" y="1632"/>
                  </a:lnTo>
                  <a:lnTo>
                    <a:pt x="1232" y="1664"/>
                  </a:lnTo>
                  <a:lnTo>
                    <a:pt x="1288" y="1600"/>
                  </a:lnTo>
                  <a:lnTo>
                    <a:pt x="1432" y="1520"/>
                  </a:lnTo>
                  <a:lnTo>
                    <a:pt x="1544" y="1424"/>
                  </a:lnTo>
                  <a:lnTo>
                    <a:pt x="1664" y="1368"/>
                  </a:lnTo>
                  <a:lnTo>
                    <a:pt x="1712" y="1424"/>
                  </a:lnTo>
                  <a:lnTo>
                    <a:pt x="1784" y="1424"/>
                  </a:lnTo>
                  <a:lnTo>
                    <a:pt x="1832" y="1336"/>
                  </a:lnTo>
                  <a:lnTo>
                    <a:pt x="1960" y="1272"/>
                  </a:lnTo>
                  <a:lnTo>
                    <a:pt x="2072" y="1264"/>
                  </a:lnTo>
                  <a:lnTo>
                    <a:pt x="2152" y="1192"/>
                  </a:lnTo>
                  <a:lnTo>
                    <a:pt x="2250" y="1162"/>
                  </a:lnTo>
                  <a:lnTo>
                    <a:pt x="2304" y="1056"/>
                  </a:lnTo>
                  <a:lnTo>
                    <a:pt x="2320" y="976"/>
                  </a:lnTo>
                  <a:lnTo>
                    <a:pt x="2416" y="1008"/>
                  </a:lnTo>
                  <a:lnTo>
                    <a:pt x="2432" y="944"/>
                  </a:lnTo>
                  <a:lnTo>
                    <a:pt x="2488" y="824"/>
                  </a:lnTo>
                  <a:lnTo>
                    <a:pt x="2600" y="776"/>
                  </a:lnTo>
                  <a:lnTo>
                    <a:pt x="2536" y="688"/>
                  </a:lnTo>
                  <a:lnTo>
                    <a:pt x="2600" y="632"/>
                  </a:lnTo>
                  <a:lnTo>
                    <a:pt x="2584" y="560"/>
                  </a:lnTo>
                  <a:lnTo>
                    <a:pt x="2520" y="532"/>
                  </a:lnTo>
                  <a:lnTo>
                    <a:pt x="2408" y="472"/>
                  </a:lnTo>
                  <a:lnTo>
                    <a:pt x="2320" y="432"/>
                  </a:lnTo>
                  <a:lnTo>
                    <a:pt x="2384" y="376"/>
                  </a:lnTo>
                  <a:lnTo>
                    <a:pt x="2360" y="296"/>
                  </a:lnTo>
                  <a:lnTo>
                    <a:pt x="2272" y="296"/>
                  </a:lnTo>
                  <a:lnTo>
                    <a:pt x="2280" y="160"/>
                  </a:lnTo>
                  <a:lnTo>
                    <a:pt x="2224" y="216"/>
                  </a:lnTo>
                  <a:lnTo>
                    <a:pt x="2144" y="184"/>
                  </a:lnTo>
                  <a:lnTo>
                    <a:pt x="2104" y="4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5" name="Freeform 171">
              <a:extLst>
                <a:ext uri="{FF2B5EF4-FFF2-40B4-BE49-F238E27FC236}">
                  <a16:creationId xmlns:a16="http://schemas.microsoft.com/office/drawing/2014/main" id="{506CA664-8F46-33B6-E6A5-B35294097FEE}"/>
                </a:ext>
              </a:extLst>
            </p:cNvPr>
            <p:cNvSpPr>
              <a:spLocks/>
            </p:cNvSpPr>
            <p:nvPr/>
          </p:nvSpPr>
          <p:spPr bwMode="auto">
            <a:xfrm>
              <a:off x="880820" y="1147058"/>
              <a:ext cx="2247733" cy="1772365"/>
            </a:xfrm>
            <a:custGeom>
              <a:avLst/>
              <a:gdLst>
                <a:gd name="T0" fmla="*/ 204 w 9324976"/>
                <a:gd name="T1" fmla="*/ 825 h 7146317"/>
                <a:gd name="T2" fmla="*/ 88 w 9324976"/>
                <a:gd name="T3" fmla="*/ 600 h 7146317"/>
                <a:gd name="T4" fmla="*/ 37 w 9324976"/>
                <a:gd name="T5" fmla="*/ 236 h 7146317"/>
                <a:gd name="T6" fmla="*/ 151 w 9324976"/>
                <a:gd name="T7" fmla="*/ 219 h 7146317"/>
                <a:gd name="T8" fmla="*/ 233 w 9324976"/>
                <a:gd name="T9" fmla="*/ 225 h 7146317"/>
                <a:gd name="T10" fmla="*/ 283 w 9324976"/>
                <a:gd name="T11" fmla="*/ 230 h 7146317"/>
                <a:gd name="T12" fmla="*/ 381 w 9324976"/>
                <a:gd name="T13" fmla="*/ 251 h 7146317"/>
                <a:gd name="T14" fmla="*/ 473 w 9324976"/>
                <a:gd name="T15" fmla="*/ 302 h 7146317"/>
                <a:gd name="T16" fmla="*/ 639 w 9324976"/>
                <a:gd name="T17" fmla="*/ 295 h 7146317"/>
                <a:gd name="T18" fmla="*/ 654 w 9324976"/>
                <a:gd name="T19" fmla="*/ 214 h 7146317"/>
                <a:gd name="T20" fmla="*/ 700 w 9324976"/>
                <a:gd name="T21" fmla="*/ 109 h 7146317"/>
                <a:gd name="T22" fmla="*/ 739 w 9324976"/>
                <a:gd name="T23" fmla="*/ 2 h 7146317"/>
                <a:gd name="T24" fmla="*/ 727 w 9324976"/>
                <a:gd name="T25" fmla="*/ 92 h 7146317"/>
                <a:gd name="T26" fmla="*/ 749 w 9324976"/>
                <a:gd name="T27" fmla="*/ 200 h 7146317"/>
                <a:gd name="T28" fmla="*/ 810 w 9324976"/>
                <a:gd name="T29" fmla="*/ 302 h 7146317"/>
                <a:gd name="T30" fmla="*/ 851 w 9324976"/>
                <a:gd name="T31" fmla="*/ 251 h 7146317"/>
                <a:gd name="T32" fmla="*/ 788 w 9324976"/>
                <a:gd name="T33" fmla="*/ 164 h 7146317"/>
                <a:gd name="T34" fmla="*/ 803 w 9324976"/>
                <a:gd name="T35" fmla="*/ 35 h 7146317"/>
                <a:gd name="T36" fmla="*/ 833 w 9324976"/>
                <a:gd name="T37" fmla="*/ 80 h 7146317"/>
                <a:gd name="T38" fmla="*/ 909 w 9324976"/>
                <a:gd name="T39" fmla="*/ 27 h 7146317"/>
                <a:gd name="T40" fmla="*/ 1005 w 9324976"/>
                <a:gd name="T41" fmla="*/ 84 h 7146317"/>
                <a:gd name="T42" fmla="*/ 1070 w 9324976"/>
                <a:gd name="T43" fmla="*/ 137 h 7146317"/>
                <a:gd name="T44" fmla="*/ 1127 w 9324976"/>
                <a:gd name="T45" fmla="*/ 222 h 7146317"/>
                <a:gd name="T46" fmla="*/ 1180 w 9324976"/>
                <a:gd name="T47" fmla="*/ 311 h 7146317"/>
                <a:gd name="T48" fmla="*/ 1205 w 9324976"/>
                <a:gd name="T49" fmla="*/ 387 h 7146317"/>
                <a:gd name="T50" fmla="*/ 1140 w 9324976"/>
                <a:gd name="T51" fmla="*/ 362 h 7146317"/>
                <a:gd name="T52" fmla="*/ 1176 w 9324976"/>
                <a:gd name="T53" fmla="*/ 450 h 7146317"/>
                <a:gd name="T54" fmla="*/ 1141 w 9324976"/>
                <a:gd name="T55" fmla="*/ 479 h 7146317"/>
                <a:gd name="T56" fmla="*/ 1070 w 9324976"/>
                <a:gd name="T57" fmla="*/ 489 h 7146317"/>
                <a:gd name="T58" fmla="*/ 973 w 9324976"/>
                <a:gd name="T59" fmla="*/ 407 h 7146317"/>
                <a:gd name="T60" fmla="*/ 1049 w 9324976"/>
                <a:gd name="T61" fmla="*/ 342 h 7146317"/>
                <a:gd name="T62" fmla="*/ 976 w 9324976"/>
                <a:gd name="T63" fmla="*/ 237 h 7146317"/>
                <a:gd name="T64" fmla="*/ 907 w 9324976"/>
                <a:gd name="T65" fmla="*/ 276 h 7146317"/>
                <a:gd name="T66" fmla="*/ 887 w 9324976"/>
                <a:gd name="T67" fmla="*/ 384 h 7146317"/>
                <a:gd name="T68" fmla="*/ 918 w 9324976"/>
                <a:gd name="T69" fmla="*/ 464 h 7146317"/>
                <a:gd name="T70" fmla="*/ 823 w 9324976"/>
                <a:gd name="T71" fmla="*/ 456 h 7146317"/>
                <a:gd name="T72" fmla="*/ 752 w 9324976"/>
                <a:gd name="T73" fmla="*/ 499 h 7146317"/>
                <a:gd name="T74" fmla="*/ 751 w 9324976"/>
                <a:gd name="T75" fmla="*/ 658 h 7146317"/>
                <a:gd name="T76" fmla="*/ 900 w 9324976"/>
                <a:gd name="T77" fmla="*/ 732 h 7146317"/>
                <a:gd name="T78" fmla="*/ 939 w 9324976"/>
                <a:gd name="T79" fmla="*/ 733 h 7146317"/>
                <a:gd name="T80" fmla="*/ 958 w 9324976"/>
                <a:gd name="T81" fmla="*/ 621 h 7146317"/>
                <a:gd name="T82" fmla="*/ 965 w 9324976"/>
                <a:gd name="T83" fmla="*/ 541 h 7146317"/>
                <a:gd name="T84" fmla="*/ 1026 w 9324976"/>
                <a:gd name="T85" fmla="*/ 493 h 7146317"/>
                <a:gd name="T86" fmla="*/ 1092 w 9324976"/>
                <a:gd name="T87" fmla="*/ 574 h 7146317"/>
                <a:gd name="T88" fmla="*/ 1168 w 9324976"/>
                <a:gd name="T89" fmla="*/ 583 h 7146317"/>
                <a:gd name="T90" fmla="*/ 1205 w 9324976"/>
                <a:gd name="T91" fmla="*/ 650 h 7146317"/>
                <a:gd name="T92" fmla="*/ 1255 w 9324976"/>
                <a:gd name="T93" fmla="*/ 720 h 7146317"/>
                <a:gd name="T94" fmla="*/ 1305 w 9324976"/>
                <a:gd name="T95" fmla="*/ 792 h 7146317"/>
                <a:gd name="T96" fmla="*/ 1318 w 9324976"/>
                <a:gd name="T97" fmla="*/ 867 h 7146317"/>
                <a:gd name="T98" fmla="*/ 1336 w 9324976"/>
                <a:gd name="T99" fmla="*/ 923 h 7146317"/>
                <a:gd name="T100" fmla="*/ 1263 w 9324976"/>
                <a:gd name="T101" fmla="*/ 913 h 7146317"/>
                <a:gd name="T102" fmla="*/ 1259 w 9324976"/>
                <a:gd name="T103" fmla="*/ 841 h 7146317"/>
                <a:gd name="T104" fmla="*/ 1158 w 9324976"/>
                <a:gd name="T105" fmla="*/ 847 h 7146317"/>
                <a:gd name="T106" fmla="*/ 1183 w 9324976"/>
                <a:gd name="T107" fmla="*/ 897 h 7146317"/>
                <a:gd name="T108" fmla="*/ 1230 w 9324976"/>
                <a:gd name="T109" fmla="*/ 929 h 7146317"/>
                <a:gd name="T110" fmla="*/ 1152 w 9324976"/>
                <a:gd name="T111" fmla="*/ 995 h 7146317"/>
                <a:gd name="T112" fmla="*/ 1098 w 9324976"/>
                <a:gd name="T113" fmla="*/ 917 h 7146317"/>
                <a:gd name="T114" fmla="*/ 954 w 9324976"/>
                <a:gd name="T115" fmla="*/ 1004 h 7146317"/>
                <a:gd name="T116" fmla="*/ 923 w 9324976"/>
                <a:gd name="T117" fmla="*/ 973 h 7146317"/>
                <a:gd name="T118" fmla="*/ 851 w 9324976"/>
                <a:gd name="T119" fmla="*/ 905 h 7146317"/>
                <a:gd name="T120" fmla="*/ 706 w 9324976"/>
                <a:gd name="T121" fmla="*/ 885 h 71463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324976"/>
                <a:gd name="T184" fmla="*/ 0 h 7146317"/>
                <a:gd name="T185" fmla="*/ 9324976 w 9324976"/>
                <a:gd name="T186" fmla="*/ 7146317 h 71463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324976" h="7146317">
                  <a:moveTo>
                    <a:pt x="1886890" y="6060467"/>
                  </a:moveTo>
                  <a:lnTo>
                    <a:pt x="1884509" y="6139049"/>
                  </a:lnTo>
                  <a:lnTo>
                    <a:pt x="1705915" y="6150955"/>
                  </a:lnTo>
                  <a:lnTo>
                    <a:pt x="1608138" y="6019335"/>
                  </a:lnTo>
                  <a:lnTo>
                    <a:pt x="1403350" y="5890513"/>
                  </a:lnTo>
                  <a:lnTo>
                    <a:pt x="1403350" y="5747574"/>
                  </a:lnTo>
                  <a:lnTo>
                    <a:pt x="1403350" y="5669928"/>
                  </a:lnTo>
                  <a:lnTo>
                    <a:pt x="1312863" y="5502283"/>
                  </a:lnTo>
                  <a:lnTo>
                    <a:pt x="1171575" y="5361108"/>
                  </a:lnTo>
                  <a:lnTo>
                    <a:pt x="1101725" y="5062877"/>
                  </a:lnTo>
                  <a:lnTo>
                    <a:pt x="1216025" y="4884644"/>
                  </a:lnTo>
                  <a:lnTo>
                    <a:pt x="1028700" y="4748763"/>
                  </a:lnTo>
                  <a:lnTo>
                    <a:pt x="774700" y="4332298"/>
                  </a:lnTo>
                  <a:lnTo>
                    <a:pt x="604838" y="4124065"/>
                  </a:lnTo>
                  <a:lnTo>
                    <a:pt x="460375" y="4312886"/>
                  </a:lnTo>
                  <a:lnTo>
                    <a:pt x="307975" y="4120536"/>
                  </a:lnTo>
                  <a:lnTo>
                    <a:pt x="274638" y="3974067"/>
                  </a:lnTo>
                  <a:lnTo>
                    <a:pt x="130175" y="3998773"/>
                  </a:lnTo>
                  <a:lnTo>
                    <a:pt x="0" y="3959950"/>
                  </a:lnTo>
                  <a:lnTo>
                    <a:pt x="17463" y="1621744"/>
                  </a:lnTo>
                  <a:lnTo>
                    <a:pt x="252413" y="1621744"/>
                  </a:lnTo>
                  <a:lnTo>
                    <a:pt x="358775" y="1672920"/>
                  </a:lnTo>
                  <a:lnTo>
                    <a:pt x="466725" y="1743507"/>
                  </a:lnTo>
                  <a:lnTo>
                    <a:pt x="558800" y="1695861"/>
                  </a:lnTo>
                  <a:lnTo>
                    <a:pt x="661988" y="1591744"/>
                  </a:lnTo>
                  <a:lnTo>
                    <a:pt x="728663" y="1508804"/>
                  </a:lnTo>
                  <a:lnTo>
                    <a:pt x="852488" y="1577627"/>
                  </a:lnTo>
                  <a:lnTo>
                    <a:pt x="1042988" y="1503510"/>
                  </a:lnTo>
                  <a:lnTo>
                    <a:pt x="1249363" y="1445276"/>
                  </a:lnTo>
                  <a:lnTo>
                    <a:pt x="1336675" y="1473511"/>
                  </a:lnTo>
                  <a:lnTo>
                    <a:pt x="1368425" y="1355277"/>
                  </a:lnTo>
                  <a:lnTo>
                    <a:pt x="1368425" y="1207043"/>
                  </a:lnTo>
                  <a:lnTo>
                    <a:pt x="1490663" y="1261749"/>
                  </a:lnTo>
                  <a:lnTo>
                    <a:pt x="1557338" y="1489393"/>
                  </a:lnTo>
                  <a:lnTo>
                    <a:pt x="1601788" y="1547627"/>
                  </a:lnTo>
                  <a:lnTo>
                    <a:pt x="1676400" y="1552921"/>
                  </a:lnTo>
                  <a:lnTo>
                    <a:pt x="1709738" y="1371159"/>
                  </a:lnTo>
                  <a:lnTo>
                    <a:pt x="1776413" y="1399394"/>
                  </a:lnTo>
                  <a:lnTo>
                    <a:pt x="1816100" y="1429394"/>
                  </a:lnTo>
                  <a:lnTo>
                    <a:pt x="1838325" y="1577627"/>
                  </a:lnTo>
                  <a:lnTo>
                    <a:pt x="1878013" y="1584686"/>
                  </a:lnTo>
                  <a:lnTo>
                    <a:pt x="1952625" y="1577627"/>
                  </a:lnTo>
                  <a:lnTo>
                    <a:pt x="1958975" y="1489393"/>
                  </a:lnTo>
                  <a:lnTo>
                    <a:pt x="2043113" y="1452334"/>
                  </a:lnTo>
                  <a:lnTo>
                    <a:pt x="2166938" y="1519392"/>
                  </a:lnTo>
                  <a:lnTo>
                    <a:pt x="2239963" y="1589980"/>
                  </a:lnTo>
                  <a:lnTo>
                    <a:pt x="2363788" y="1595274"/>
                  </a:lnTo>
                  <a:lnTo>
                    <a:pt x="2490788" y="1694096"/>
                  </a:lnTo>
                  <a:lnTo>
                    <a:pt x="2624138" y="1725860"/>
                  </a:lnTo>
                  <a:lnTo>
                    <a:pt x="2708422" y="1776599"/>
                  </a:lnTo>
                  <a:lnTo>
                    <a:pt x="2765572" y="1843274"/>
                  </a:lnTo>
                  <a:lnTo>
                    <a:pt x="2865584" y="1952811"/>
                  </a:lnTo>
                  <a:lnTo>
                    <a:pt x="2751284" y="2019486"/>
                  </a:lnTo>
                  <a:lnTo>
                    <a:pt x="2732234" y="2095686"/>
                  </a:lnTo>
                  <a:lnTo>
                    <a:pt x="3006725" y="2108797"/>
                  </a:lnTo>
                  <a:lnTo>
                    <a:pt x="3257550" y="2078797"/>
                  </a:lnTo>
                  <a:lnTo>
                    <a:pt x="3403747" y="2148074"/>
                  </a:lnTo>
                  <a:lnTo>
                    <a:pt x="3608534" y="2043299"/>
                  </a:lnTo>
                  <a:lnTo>
                    <a:pt x="3789509" y="1971861"/>
                  </a:lnTo>
                  <a:lnTo>
                    <a:pt x="3944938" y="2018798"/>
                  </a:lnTo>
                  <a:lnTo>
                    <a:pt x="4081463" y="2038209"/>
                  </a:lnTo>
                  <a:lnTo>
                    <a:pt x="4262438" y="2092915"/>
                  </a:lnTo>
                  <a:lnTo>
                    <a:pt x="4402138" y="2029386"/>
                  </a:lnTo>
                  <a:lnTo>
                    <a:pt x="4445000" y="1971151"/>
                  </a:lnTo>
                  <a:lnTo>
                    <a:pt x="4429125" y="1847624"/>
                  </a:lnTo>
                  <a:lnTo>
                    <a:pt x="4516438" y="1822918"/>
                  </a:lnTo>
                  <a:lnTo>
                    <a:pt x="4519613" y="1764683"/>
                  </a:lnTo>
                  <a:lnTo>
                    <a:pt x="4410075" y="1678214"/>
                  </a:lnTo>
                  <a:lnTo>
                    <a:pt x="4491038" y="1552921"/>
                  </a:lnTo>
                  <a:lnTo>
                    <a:pt x="4505325" y="1471746"/>
                  </a:lnTo>
                  <a:lnTo>
                    <a:pt x="4672013" y="1344689"/>
                  </a:lnTo>
                  <a:lnTo>
                    <a:pt x="4684713" y="1254690"/>
                  </a:lnTo>
                  <a:lnTo>
                    <a:pt x="4721226" y="1175279"/>
                  </a:lnTo>
                  <a:lnTo>
                    <a:pt x="4678363" y="1065869"/>
                  </a:lnTo>
                  <a:lnTo>
                    <a:pt x="4760913" y="1021752"/>
                  </a:lnTo>
                  <a:lnTo>
                    <a:pt x="4799013" y="905283"/>
                  </a:lnTo>
                  <a:lnTo>
                    <a:pt x="4826001" y="751755"/>
                  </a:lnTo>
                  <a:lnTo>
                    <a:pt x="4799013" y="569993"/>
                  </a:lnTo>
                  <a:lnTo>
                    <a:pt x="4773613" y="389995"/>
                  </a:lnTo>
                  <a:lnTo>
                    <a:pt x="4826001" y="273526"/>
                  </a:lnTo>
                  <a:lnTo>
                    <a:pt x="4838701" y="132351"/>
                  </a:lnTo>
                  <a:lnTo>
                    <a:pt x="4838701" y="33529"/>
                  </a:lnTo>
                  <a:lnTo>
                    <a:pt x="4973638" y="0"/>
                  </a:lnTo>
                  <a:lnTo>
                    <a:pt x="5091113" y="12353"/>
                  </a:lnTo>
                  <a:lnTo>
                    <a:pt x="5192713" y="26470"/>
                  </a:lnTo>
                  <a:lnTo>
                    <a:pt x="5307013" y="28235"/>
                  </a:lnTo>
                  <a:lnTo>
                    <a:pt x="5364163" y="105881"/>
                  </a:lnTo>
                  <a:lnTo>
                    <a:pt x="5248276" y="389995"/>
                  </a:lnTo>
                  <a:lnTo>
                    <a:pt x="5173663" y="539993"/>
                  </a:lnTo>
                  <a:lnTo>
                    <a:pt x="5038726" y="539993"/>
                  </a:lnTo>
                  <a:lnTo>
                    <a:pt x="5005388" y="635286"/>
                  </a:lnTo>
                  <a:lnTo>
                    <a:pt x="4995863" y="727050"/>
                  </a:lnTo>
                  <a:lnTo>
                    <a:pt x="4987926" y="762343"/>
                  </a:lnTo>
                  <a:lnTo>
                    <a:pt x="4957763" y="811754"/>
                  </a:lnTo>
                  <a:lnTo>
                    <a:pt x="5092701" y="926459"/>
                  </a:lnTo>
                  <a:lnTo>
                    <a:pt x="5110163" y="1092339"/>
                  </a:lnTo>
                  <a:lnTo>
                    <a:pt x="5159376" y="1182338"/>
                  </a:lnTo>
                  <a:lnTo>
                    <a:pt x="5159376" y="1371159"/>
                  </a:lnTo>
                  <a:lnTo>
                    <a:pt x="5248276" y="1489393"/>
                  </a:lnTo>
                  <a:lnTo>
                    <a:pt x="5330826" y="1529981"/>
                  </a:lnTo>
                  <a:lnTo>
                    <a:pt x="5487988" y="1600568"/>
                  </a:lnTo>
                  <a:lnTo>
                    <a:pt x="5634038" y="1805271"/>
                  </a:lnTo>
                  <a:lnTo>
                    <a:pt x="5621338" y="1964093"/>
                  </a:lnTo>
                  <a:lnTo>
                    <a:pt x="5576888" y="1987034"/>
                  </a:lnTo>
                  <a:lnTo>
                    <a:pt x="5581651" y="2075268"/>
                  </a:lnTo>
                  <a:lnTo>
                    <a:pt x="5683251" y="2172325"/>
                  </a:lnTo>
                  <a:lnTo>
                    <a:pt x="5735638" y="2158208"/>
                  </a:lnTo>
                  <a:lnTo>
                    <a:pt x="5672138" y="2017033"/>
                  </a:lnTo>
                  <a:lnTo>
                    <a:pt x="5702301" y="1902329"/>
                  </a:lnTo>
                  <a:lnTo>
                    <a:pt x="5773738" y="1900564"/>
                  </a:lnTo>
                  <a:lnTo>
                    <a:pt x="5821363" y="1821153"/>
                  </a:lnTo>
                  <a:lnTo>
                    <a:pt x="5859463" y="1727625"/>
                  </a:lnTo>
                  <a:lnTo>
                    <a:pt x="5851526" y="1589980"/>
                  </a:lnTo>
                  <a:lnTo>
                    <a:pt x="5834063" y="1445276"/>
                  </a:lnTo>
                  <a:lnTo>
                    <a:pt x="5697538" y="1434688"/>
                  </a:lnTo>
                  <a:lnTo>
                    <a:pt x="5592763" y="1388806"/>
                  </a:lnTo>
                  <a:lnTo>
                    <a:pt x="5486401" y="1286454"/>
                  </a:lnTo>
                  <a:lnTo>
                    <a:pt x="5429251" y="1233514"/>
                  </a:lnTo>
                  <a:lnTo>
                    <a:pt x="5427663" y="1125868"/>
                  </a:lnTo>
                  <a:lnTo>
                    <a:pt x="5348288" y="944106"/>
                  </a:lnTo>
                  <a:lnTo>
                    <a:pt x="5345113" y="806460"/>
                  </a:lnTo>
                  <a:lnTo>
                    <a:pt x="5338763" y="698815"/>
                  </a:lnTo>
                  <a:lnTo>
                    <a:pt x="5373688" y="531170"/>
                  </a:lnTo>
                  <a:lnTo>
                    <a:pt x="5416551" y="423524"/>
                  </a:lnTo>
                  <a:lnTo>
                    <a:pt x="5438776" y="365289"/>
                  </a:lnTo>
                  <a:lnTo>
                    <a:pt x="5529263" y="238232"/>
                  </a:lnTo>
                  <a:lnTo>
                    <a:pt x="5659438" y="121763"/>
                  </a:lnTo>
                  <a:lnTo>
                    <a:pt x="5776913" y="91764"/>
                  </a:lnTo>
                  <a:lnTo>
                    <a:pt x="5915026" y="128822"/>
                  </a:lnTo>
                  <a:lnTo>
                    <a:pt x="5878513" y="206468"/>
                  </a:lnTo>
                  <a:lnTo>
                    <a:pt x="5791201" y="307055"/>
                  </a:lnTo>
                  <a:lnTo>
                    <a:pt x="5743576" y="418230"/>
                  </a:lnTo>
                  <a:lnTo>
                    <a:pt x="5735638" y="552346"/>
                  </a:lnTo>
                  <a:lnTo>
                    <a:pt x="5830888" y="578816"/>
                  </a:lnTo>
                  <a:lnTo>
                    <a:pt x="5830888" y="462347"/>
                  </a:lnTo>
                  <a:lnTo>
                    <a:pt x="5872163" y="361760"/>
                  </a:lnTo>
                  <a:lnTo>
                    <a:pt x="5940426" y="259408"/>
                  </a:lnTo>
                  <a:lnTo>
                    <a:pt x="6043613" y="187056"/>
                  </a:lnTo>
                  <a:lnTo>
                    <a:pt x="6169026" y="137645"/>
                  </a:lnTo>
                  <a:lnTo>
                    <a:pt x="6261101" y="183527"/>
                  </a:lnTo>
                  <a:lnTo>
                    <a:pt x="6424613" y="139410"/>
                  </a:lnTo>
                  <a:lnTo>
                    <a:pt x="6524626" y="165880"/>
                  </a:lnTo>
                  <a:lnTo>
                    <a:pt x="6619876" y="165880"/>
                  </a:lnTo>
                  <a:lnTo>
                    <a:pt x="6759576" y="239997"/>
                  </a:lnTo>
                  <a:lnTo>
                    <a:pt x="6800851" y="389995"/>
                  </a:lnTo>
                  <a:lnTo>
                    <a:pt x="6850063" y="529405"/>
                  </a:lnTo>
                  <a:lnTo>
                    <a:pt x="6919913" y="577051"/>
                  </a:lnTo>
                  <a:lnTo>
                    <a:pt x="6992938" y="624698"/>
                  </a:lnTo>
                  <a:lnTo>
                    <a:pt x="7005638" y="711167"/>
                  </a:lnTo>
                  <a:lnTo>
                    <a:pt x="7035801" y="809990"/>
                  </a:lnTo>
                  <a:lnTo>
                    <a:pt x="7140576" y="827637"/>
                  </a:lnTo>
                  <a:lnTo>
                    <a:pt x="7205663" y="854107"/>
                  </a:lnTo>
                  <a:lnTo>
                    <a:pt x="7292976" y="852342"/>
                  </a:lnTo>
                  <a:lnTo>
                    <a:pt x="7373938" y="944106"/>
                  </a:lnTo>
                  <a:lnTo>
                    <a:pt x="7372351" y="1065869"/>
                  </a:lnTo>
                  <a:lnTo>
                    <a:pt x="7462838" y="1090574"/>
                  </a:lnTo>
                  <a:lnTo>
                    <a:pt x="7615238" y="1198220"/>
                  </a:lnTo>
                  <a:lnTo>
                    <a:pt x="7634288" y="1270572"/>
                  </a:lnTo>
                  <a:lnTo>
                    <a:pt x="7715251" y="1282925"/>
                  </a:lnTo>
                  <a:lnTo>
                    <a:pt x="7777163" y="1402923"/>
                  </a:lnTo>
                  <a:lnTo>
                    <a:pt x="7762876" y="1526451"/>
                  </a:lnTo>
                  <a:lnTo>
                    <a:pt x="7762876" y="1667626"/>
                  </a:lnTo>
                  <a:lnTo>
                    <a:pt x="7659688" y="1784095"/>
                  </a:lnTo>
                  <a:lnTo>
                    <a:pt x="7791451" y="1870564"/>
                  </a:lnTo>
                  <a:lnTo>
                    <a:pt x="7904163" y="2017033"/>
                  </a:lnTo>
                  <a:lnTo>
                    <a:pt x="7993063" y="1955269"/>
                  </a:lnTo>
                  <a:lnTo>
                    <a:pt x="8069263" y="2055856"/>
                  </a:lnTo>
                  <a:lnTo>
                    <a:pt x="8129588" y="2138796"/>
                  </a:lnTo>
                  <a:lnTo>
                    <a:pt x="8221663" y="2175855"/>
                  </a:lnTo>
                  <a:lnTo>
                    <a:pt x="8229601" y="2255265"/>
                  </a:lnTo>
                  <a:lnTo>
                    <a:pt x="8329613" y="2249971"/>
                  </a:lnTo>
                  <a:lnTo>
                    <a:pt x="8396288" y="2320559"/>
                  </a:lnTo>
                  <a:lnTo>
                    <a:pt x="8407401" y="2421146"/>
                  </a:lnTo>
                  <a:lnTo>
                    <a:pt x="8329613" y="2498792"/>
                  </a:lnTo>
                  <a:lnTo>
                    <a:pt x="8301038" y="2661143"/>
                  </a:lnTo>
                  <a:lnTo>
                    <a:pt x="8210551" y="2691142"/>
                  </a:lnTo>
                  <a:lnTo>
                    <a:pt x="8172451" y="2777612"/>
                  </a:lnTo>
                  <a:lnTo>
                    <a:pt x="8102601" y="2789965"/>
                  </a:lnTo>
                  <a:lnTo>
                    <a:pt x="7991476" y="2722907"/>
                  </a:lnTo>
                  <a:lnTo>
                    <a:pt x="7916863" y="2699966"/>
                  </a:lnTo>
                  <a:lnTo>
                    <a:pt x="7934326" y="2617026"/>
                  </a:lnTo>
                  <a:lnTo>
                    <a:pt x="7854951" y="2488204"/>
                  </a:lnTo>
                  <a:lnTo>
                    <a:pt x="7800976" y="2544674"/>
                  </a:lnTo>
                  <a:lnTo>
                    <a:pt x="7786688" y="2636437"/>
                  </a:lnTo>
                  <a:lnTo>
                    <a:pt x="7829551" y="2752906"/>
                  </a:lnTo>
                  <a:lnTo>
                    <a:pt x="7926388" y="2816435"/>
                  </a:lnTo>
                  <a:lnTo>
                    <a:pt x="8024813" y="2876434"/>
                  </a:lnTo>
                  <a:lnTo>
                    <a:pt x="8067676" y="2992903"/>
                  </a:lnTo>
                  <a:lnTo>
                    <a:pt x="8102601" y="3093490"/>
                  </a:lnTo>
                  <a:lnTo>
                    <a:pt x="8116888" y="3183489"/>
                  </a:lnTo>
                  <a:lnTo>
                    <a:pt x="8067676" y="3218783"/>
                  </a:lnTo>
                  <a:lnTo>
                    <a:pt x="8062913" y="3324664"/>
                  </a:lnTo>
                  <a:lnTo>
                    <a:pt x="8096251" y="3377604"/>
                  </a:lnTo>
                  <a:lnTo>
                    <a:pt x="8064501" y="3405839"/>
                  </a:lnTo>
                  <a:lnTo>
                    <a:pt x="7991476" y="3395251"/>
                  </a:lnTo>
                  <a:lnTo>
                    <a:pt x="7862888" y="3292899"/>
                  </a:lnTo>
                  <a:lnTo>
                    <a:pt x="7812088" y="3331722"/>
                  </a:lnTo>
                  <a:lnTo>
                    <a:pt x="7921626" y="3479956"/>
                  </a:lnTo>
                  <a:lnTo>
                    <a:pt x="7867651" y="3554072"/>
                  </a:lnTo>
                  <a:lnTo>
                    <a:pt x="7758113" y="3495838"/>
                  </a:lnTo>
                  <a:lnTo>
                    <a:pt x="7677151" y="3490544"/>
                  </a:lnTo>
                  <a:lnTo>
                    <a:pt x="7521576" y="3368781"/>
                  </a:lnTo>
                  <a:lnTo>
                    <a:pt x="7369176" y="3361722"/>
                  </a:lnTo>
                  <a:lnTo>
                    <a:pt x="7273926" y="3215253"/>
                  </a:lnTo>
                  <a:lnTo>
                    <a:pt x="7121526" y="3151725"/>
                  </a:lnTo>
                  <a:lnTo>
                    <a:pt x="7102476" y="2991138"/>
                  </a:lnTo>
                  <a:lnTo>
                    <a:pt x="6837509" y="3076761"/>
                  </a:lnTo>
                  <a:lnTo>
                    <a:pt x="6713684" y="3052949"/>
                  </a:lnTo>
                  <a:lnTo>
                    <a:pt x="6608763" y="2894081"/>
                  </a:lnTo>
                  <a:lnTo>
                    <a:pt x="6704159" y="2800536"/>
                  </a:lnTo>
                  <a:lnTo>
                    <a:pt x="6823222" y="2771961"/>
                  </a:lnTo>
                  <a:lnTo>
                    <a:pt x="6961334" y="2810061"/>
                  </a:lnTo>
                  <a:lnTo>
                    <a:pt x="7066109" y="2748149"/>
                  </a:lnTo>
                  <a:lnTo>
                    <a:pt x="7038976" y="2617026"/>
                  </a:lnTo>
                  <a:lnTo>
                    <a:pt x="7113734" y="2548124"/>
                  </a:lnTo>
                  <a:lnTo>
                    <a:pt x="7081838" y="2454675"/>
                  </a:lnTo>
                  <a:lnTo>
                    <a:pt x="7228034" y="2348099"/>
                  </a:lnTo>
                  <a:lnTo>
                    <a:pt x="7210426" y="2158208"/>
                  </a:lnTo>
                  <a:lnTo>
                    <a:pt x="7153276" y="2055856"/>
                  </a:lnTo>
                  <a:lnTo>
                    <a:pt x="7043738" y="2092915"/>
                  </a:lnTo>
                  <a:lnTo>
                    <a:pt x="7018338" y="1886447"/>
                  </a:lnTo>
                  <a:lnTo>
                    <a:pt x="6929438" y="1769977"/>
                  </a:lnTo>
                  <a:lnTo>
                    <a:pt x="6802438" y="1807036"/>
                  </a:lnTo>
                  <a:lnTo>
                    <a:pt x="6723063" y="1628803"/>
                  </a:lnTo>
                  <a:lnTo>
                    <a:pt x="6667501" y="1441746"/>
                  </a:lnTo>
                  <a:lnTo>
                    <a:pt x="6543676" y="1473511"/>
                  </a:lnTo>
                  <a:lnTo>
                    <a:pt x="6454776" y="1577627"/>
                  </a:lnTo>
                  <a:lnTo>
                    <a:pt x="6288088" y="1526451"/>
                  </a:lnTo>
                  <a:lnTo>
                    <a:pt x="6197601" y="1589980"/>
                  </a:lnTo>
                  <a:lnTo>
                    <a:pt x="6288088" y="1757625"/>
                  </a:lnTo>
                  <a:lnTo>
                    <a:pt x="6248401" y="1900564"/>
                  </a:lnTo>
                  <a:lnTo>
                    <a:pt x="6210301" y="2041739"/>
                  </a:lnTo>
                  <a:lnTo>
                    <a:pt x="6288088" y="2170561"/>
                  </a:lnTo>
                  <a:lnTo>
                    <a:pt x="6261101" y="2352323"/>
                  </a:lnTo>
                  <a:lnTo>
                    <a:pt x="6186488" y="2378793"/>
                  </a:lnTo>
                  <a:lnTo>
                    <a:pt x="6172201" y="2468792"/>
                  </a:lnTo>
                  <a:lnTo>
                    <a:pt x="6119813" y="2511145"/>
                  </a:lnTo>
                  <a:lnTo>
                    <a:pt x="6108701" y="2636437"/>
                  </a:lnTo>
                  <a:lnTo>
                    <a:pt x="6021388" y="2617026"/>
                  </a:lnTo>
                  <a:lnTo>
                    <a:pt x="5972176" y="2678789"/>
                  </a:lnTo>
                  <a:lnTo>
                    <a:pt x="6105526" y="2786435"/>
                  </a:lnTo>
                  <a:lnTo>
                    <a:pt x="6264276" y="2911728"/>
                  </a:lnTo>
                  <a:lnTo>
                    <a:pt x="6396038" y="3040550"/>
                  </a:lnTo>
                  <a:lnTo>
                    <a:pt x="6351588" y="3127019"/>
                  </a:lnTo>
                  <a:lnTo>
                    <a:pt x="6326188" y="3188783"/>
                  </a:lnTo>
                  <a:lnTo>
                    <a:pt x="6211888" y="3149960"/>
                  </a:lnTo>
                  <a:lnTo>
                    <a:pt x="6088063" y="3038785"/>
                  </a:lnTo>
                  <a:lnTo>
                    <a:pt x="6018213" y="3164077"/>
                  </a:lnTo>
                  <a:lnTo>
                    <a:pt x="5959476" y="3202900"/>
                  </a:lnTo>
                  <a:lnTo>
                    <a:pt x="5886451" y="3245253"/>
                  </a:lnTo>
                  <a:lnTo>
                    <a:pt x="5791201" y="3151725"/>
                  </a:lnTo>
                  <a:lnTo>
                    <a:pt x="5667376" y="3135842"/>
                  </a:lnTo>
                  <a:lnTo>
                    <a:pt x="5735638" y="3022903"/>
                  </a:lnTo>
                  <a:lnTo>
                    <a:pt x="5754688" y="2917022"/>
                  </a:lnTo>
                  <a:lnTo>
                    <a:pt x="5722938" y="2855258"/>
                  </a:lnTo>
                  <a:lnTo>
                    <a:pt x="5562601" y="3042314"/>
                  </a:lnTo>
                  <a:lnTo>
                    <a:pt x="5419726" y="3038785"/>
                  </a:lnTo>
                  <a:lnTo>
                    <a:pt x="5351463" y="3217018"/>
                  </a:lnTo>
                  <a:lnTo>
                    <a:pt x="5178426" y="3428780"/>
                  </a:lnTo>
                  <a:lnTo>
                    <a:pt x="4986338" y="3644071"/>
                  </a:lnTo>
                  <a:lnTo>
                    <a:pt x="4914901" y="3790540"/>
                  </a:lnTo>
                  <a:lnTo>
                    <a:pt x="4889501" y="3935244"/>
                  </a:lnTo>
                  <a:lnTo>
                    <a:pt x="4892676" y="4177006"/>
                  </a:lnTo>
                  <a:lnTo>
                    <a:pt x="5054601" y="4219358"/>
                  </a:lnTo>
                  <a:lnTo>
                    <a:pt x="5092701" y="4385238"/>
                  </a:lnTo>
                  <a:lnTo>
                    <a:pt x="5172076" y="4521119"/>
                  </a:lnTo>
                  <a:lnTo>
                    <a:pt x="5314951" y="4499943"/>
                  </a:lnTo>
                  <a:lnTo>
                    <a:pt x="5467351" y="4581118"/>
                  </a:lnTo>
                  <a:lnTo>
                    <a:pt x="5649913" y="4729352"/>
                  </a:lnTo>
                  <a:lnTo>
                    <a:pt x="5834063" y="4798174"/>
                  </a:lnTo>
                  <a:lnTo>
                    <a:pt x="5957888" y="4888173"/>
                  </a:lnTo>
                  <a:lnTo>
                    <a:pt x="6188076" y="4888173"/>
                  </a:lnTo>
                  <a:lnTo>
                    <a:pt x="6197601" y="5034642"/>
                  </a:lnTo>
                  <a:lnTo>
                    <a:pt x="6178551" y="5174052"/>
                  </a:lnTo>
                  <a:lnTo>
                    <a:pt x="6291263" y="5426402"/>
                  </a:lnTo>
                  <a:lnTo>
                    <a:pt x="6434138" y="5592282"/>
                  </a:lnTo>
                  <a:lnTo>
                    <a:pt x="6491288" y="5539341"/>
                  </a:lnTo>
                  <a:lnTo>
                    <a:pt x="6588126" y="5428166"/>
                  </a:lnTo>
                  <a:lnTo>
                    <a:pt x="6538913" y="5147582"/>
                  </a:lnTo>
                  <a:lnTo>
                    <a:pt x="6469063" y="5036407"/>
                  </a:lnTo>
                  <a:lnTo>
                    <a:pt x="6488113" y="4914643"/>
                  </a:lnTo>
                  <a:lnTo>
                    <a:pt x="6602413" y="4902291"/>
                  </a:lnTo>
                  <a:lnTo>
                    <a:pt x="6735763" y="4805233"/>
                  </a:lnTo>
                  <a:lnTo>
                    <a:pt x="6775451" y="4593471"/>
                  </a:lnTo>
                  <a:lnTo>
                    <a:pt x="6777038" y="4438179"/>
                  </a:lnTo>
                  <a:lnTo>
                    <a:pt x="6667501" y="4304063"/>
                  </a:lnTo>
                  <a:lnTo>
                    <a:pt x="6597651" y="4267005"/>
                  </a:lnTo>
                  <a:lnTo>
                    <a:pt x="6564313" y="4155829"/>
                  </a:lnTo>
                  <a:lnTo>
                    <a:pt x="6629401" y="4076419"/>
                  </a:lnTo>
                  <a:lnTo>
                    <a:pt x="6672263" y="3993479"/>
                  </a:lnTo>
                  <a:lnTo>
                    <a:pt x="6667501" y="3877010"/>
                  </a:lnTo>
                  <a:lnTo>
                    <a:pt x="6573838" y="3827598"/>
                  </a:lnTo>
                  <a:lnTo>
                    <a:pt x="6557963" y="3771128"/>
                  </a:lnTo>
                  <a:lnTo>
                    <a:pt x="6646863" y="3721717"/>
                  </a:lnTo>
                  <a:lnTo>
                    <a:pt x="6643688" y="3637013"/>
                  </a:lnTo>
                  <a:lnTo>
                    <a:pt x="6692253" y="3548249"/>
                  </a:lnTo>
                  <a:lnTo>
                    <a:pt x="6716065" y="3476811"/>
                  </a:lnTo>
                  <a:lnTo>
                    <a:pt x="6839890" y="3469667"/>
                  </a:lnTo>
                  <a:lnTo>
                    <a:pt x="6907213" y="3432309"/>
                  </a:lnTo>
                  <a:lnTo>
                    <a:pt x="6992938" y="3474662"/>
                  </a:lnTo>
                  <a:lnTo>
                    <a:pt x="7067551" y="3388192"/>
                  </a:lnTo>
                  <a:lnTo>
                    <a:pt x="7153276" y="3435839"/>
                  </a:lnTo>
                  <a:lnTo>
                    <a:pt x="7235826" y="3501132"/>
                  </a:lnTo>
                  <a:lnTo>
                    <a:pt x="7315201" y="3599954"/>
                  </a:lnTo>
                  <a:lnTo>
                    <a:pt x="7416801" y="3760540"/>
                  </a:lnTo>
                  <a:lnTo>
                    <a:pt x="7526338" y="3700541"/>
                  </a:lnTo>
                  <a:lnTo>
                    <a:pt x="7556501" y="3811716"/>
                  </a:lnTo>
                  <a:lnTo>
                    <a:pt x="7519988" y="3944067"/>
                  </a:lnTo>
                  <a:lnTo>
                    <a:pt x="7556501" y="4161124"/>
                  </a:lnTo>
                  <a:lnTo>
                    <a:pt x="7669213" y="4205241"/>
                  </a:lnTo>
                  <a:lnTo>
                    <a:pt x="7811440" y="4405499"/>
                  </a:lnTo>
                  <a:lnTo>
                    <a:pt x="7994797" y="4250717"/>
                  </a:lnTo>
                  <a:lnTo>
                    <a:pt x="7963840" y="4176899"/>
                  </a:lnTo>
                  <a:lnTo>
                    <a:pt x="8009084" y="4098317"/>
                  </a:lnTo>
                  <a:lnTo>
                    <a:pt x="8049565" y="4007830"/>
                  </a:lnTo>
                  <a:lnTo>
                    <a:pt x="8085284" y="3948299"/>
                  </a:lnTo>
                  <a:lnTo>
                    <a:pt x="8137672" y="3962586"/>
                  </a:lnTo>
                  <a:lnTo>
                    <a:pt x="8134351" y="4044654"/>
                  </a:lnTo>
                  <a:lnTo>
                    <a:pt x="8243888" y="4168182"/>
                  </a:lnTo>
                  <a:lnTo>
                    <a:pt x="8267701" y="4279357"/>
                  </a:lnTo>
                  <a:lnTo>
                    <a:pt x="8316913" y="4362297"/>
                  </a:lnTo>
                  <a:lnTo>
                    <a:pt x="8301038" y="4469943"/>
                  </a:lnTo>
                  <a:lnTo>
                    <a:pt x="8416926" y="4528178"/>
                  </a:lnTo>
                  <a:lnTo>
                    <a:pt x="8364538" y="4637588"/>
                  </a:lnTo>
                  <a:lnTo>
                    <a:pt x="8372476" y="4702881"/>
                  </a:lnTo>
                  <a:lnTo>
                    <a:pt x="8448676" y="4771704"/>
                  </a:lnTo>
                  <a:lnTo>
                    <a:pt x="8501063" y="4859938"/>
                  </a:lnTo>
                  <a:lnTo>
                    <a:pt x="8615363" y="4896997"/>
                  </a:lnTo>
                  <a:lnTo>
                    <a:pt x="8647113" y="4948172"/>
                  </a:lnTo>
                  <a:lnTo>
                    <a:pt x="8755063" y="4928761"/>
                  </a:lnTo>
                  <a:lnTo>
                    <a:pt x="8813801" y="5038171"/>
                  </a:lnTo>
                  <a:lnTo>
                    <a:pt x="8834438" y="5110523"/>
                  </a:lnTo>
                  <a:lnTo>
                    <a:pt x="8915401" y="5131699"/>
                  </a:lnTo>
                  <a:lnTo>
                    <a:pt x="8983663" y="5230522"/>
                  </a:lnTo>
                  <a:lnTo>
                    <a:pt x="8964613" y="5316991"/>
                  </a:lnTo>
                  <a:lnTo>
                    <a:pt x="8988426" y="5444048"/>
                  </a:lnTo>
                  <a:lnTo>
                    <a:pt x="8988426" y="5507577"/>
                  </a:lnTo>
                  <a:lnTo>
                    <a:pt x="9031288" y="5553459"/>
                  </a:lnTo>
                  <a:lnTo>
                    <a:pt x="8955088" y="5618752"/>
                  </a:lnTo>
                  <a:lnTo>
                    <a:pt x="8985397" y="5669942"/>
                  </a:lnTo>
                  <a:lnTo>
                    <a:pt x="9017001" y="5777574"/>
                  </a:lnTo>
                  <a:lnTo>
                    <a:pt x="9064626" y="5849926"/>
                  </a:lnTo>
                  <a:lnTo>
                    <a:pt x="9083028" y="5960455"/>
                  </a:lnTo>
                  <a:lnTo>
                    <a:pt x="9171134" y="5977124"/>
                  </a:lnTo>
                  <a:lnTo>
                    <a:pt x="9242572" y="5941405"/>
                  </a:lnTo>
                  <a:lnTo>
                    <a:pt x="9294959" y="5984267"/>
                  </a:lnTo>
                  <a:lnTo>
                    <a:pt x="9321801" y="6114628"/>
                  </a:lnTo>
                  <a:lnTo>
                    <a:pt x="9324976" y="6236391"/>
                  </a:lnTo>
                  <a:lnTo>
                    <a:pt x="9264651" y="6322861"/>
                  </a:lnTo>
                  <a:lnTo>
                    <a:pt x="9201151" y="6344037"/>
                  </a:lnTo>
                  <a:lnTo>
                    <a:pt x="9124951" y="6342272"/>
                  </a:lnTo>
                  <a:lnTo>
                    <a:pt x="9097963" y="6259332"/>
                  </a:lnTo>
                  <a:lnTo>
                    <a:pt x="9010651" y="6289332"/>
                  </a:lnTo>
                  <a:lnTo>
                    <a:pt x="8940153" y="6286686"/>
                  </a:lnTo>
                  <a:lnTo>
                    <a:pt x="8874126" y="6289332"/>
                  </a:lnTo>
                  <a:lnTo>
                    <a:pt x="8823472" y="6255730"/>
                  </a:lnTo>
                  <a:lnTo>
                    <a:pt x="8702028" y="6277161"/>
                  </a:lnTo>
                  <a:lnTo>
                    <a:pt x="8711553" y="6179530"/>
                  </a:lnTo>
                  <a:lnTo>
                    <a:pt x="8785372" y="6046180"/>
                  </a:lnTo>
                  <a:lnTo>
                    <a:pt x="8837759" y="5946167"/>
                  </a:lnTo>
                  <a:lnTo>
                    <a:pt x="8906815" y="5767574"/>
                  </a:lnTo>
                  <a:lnTo>
                    <a:pt x="8866334" y="5643749"/>
                  </a:lnTo>
                  <a:lnTo>
                    <a:pt x="8771084" y="5674705"/>
                  </a:lnTo>
                  <a:lnTo>
                    <a:pt x="8675834" y="5779480"/>
                  </a:lnTo>
                  <a:lnTo>
                    <a:pt x="8571059" y="5850917"/>
                  </a:lnTo>
                  <a:lnTo>
                    <a:pt x="8442472" y="5881874"/>
                  </a:lnTo>
                  <a:lnTo>
                    <a:pt x="8328172" y="5858061"/>
                  </a:lnTo>
                  <a:lnTo>
                    <a:pt x="8206728" y="5860442"/>
                  </a:lnTo>
                  <a:lnTo>
                    <a:pt x="8137672" y="5836630"/>
                  </a:lnTo>
                  <a:lnTo>
                    <a:pt x="8051947" y="5834249"/>
                  </a:lnTo>
                  <a:lnTo>
                    <a:pt x="7978128" y="5822342"/>
                  </a:lnTo>
                  <a:lnTo>
                    <a:pt x="7892403" y="5860442"/>
                  </a:lnTo>
                  <a:lnTo>
                    <a:pt x="7849540" y="5912830"/>
                  </a:lnTo>
                  <a:lnTo>
                    <a:pt x="7882878" y="6017605"/>
                  </a:lnTo>
                  <a:lnTo>
                    <a:pt x="8015288" y="5945218"/>
                  </a:lnTo>
                  <a:lnTo>
                    <a:pt x="8105776" y="5987571"/>
                  </a:lnTo>
                  <a:lnTo>
                    <a:pt x="8161484" y="6079517"/>
                  </a:lnTo>
                  <a:lnTo>
                    <a:pt x="8151959" y="6162861"/>
                  </a:lnTo>
                  <a:lnTo>
                    <a:pt x="8064501" y="6160510"/>
                  </a:lnTo>
                  <a:lnTo>
                    <a:pt x="8040688" y="6231097"/>
                  </a:lnTo>
                  <a:lnTo>
                    <a:pt x="8121651" y="6315802"/>
                  </a:lnTo>
                  <a:lnTo>
                    <a:pt x="8130528" y="6408130"/>
                  </a:lnTo>
                  <a:lnTo>
                    <a:pt x="8296276" y="6336978"/>
                  </a:lnTo>
                  <a:lnTo>
                    <a:pt x="8423422" y="6498617"/>
                  </a:lnTo>
                  <a:lnTo>
                    <a:pt x="8475809" y="6384317"/>
                  </a:lnTo>
                  <a:lnTo>
                    <a:pt x="8566297" y="6360505"/>
                  </a:lnTo>
                  <a:lnTo>
                    <a:pt x="8597253" y="6539099"/>
                  </a:lnTo>
                  <a:lnTo>
                    <a:pt x="8440090" y="6646255"/>
                  </a:lnTo>
                  <a:lnTo>
                    <a:pt x="8256734" y="6727217"/>
                  </a:lnTo>
                  <a:lnTo>
                    <a:pt x="8123384" y="6784367"/>
                  </a:lnTo>
                  <a:lnTo>
                    <a:pt x="8023372" y="6889142"/>
                  </a:lnTo>
                  <a:lnTo>
                    <a:pt x="7937647" y="6836755"/>
                  </a:lnTo>
                  <a:lnTo>
                    <a:pt x="7930503" y="6779605"/>
                  </a:lnTo>
                  <a:lnTo>
                    <a:pt x="8099572" y="6634349"/>
                  </a:lnTo>
                  <a:lnTo>
                    <a:pt x="8059090" y="6589105"/>
                  </a:lnTo>
                  <a:lnTo>
                    <a:pt x="7828109" y="6710549"/>
                  </a:lnTo>
                  <a:lnTo>
                    <a:pt x="7740651" y="6481682"/>
                  </a:lnTo>
                  <a:lnTo>
                    <a:pt x="7720953" y="6317642"/>
                  </a:lnTo>
                  <a:lnTo>
                    <a:pt x="7567613" y="6303449"/>
                  </a:lnTo>
                  <a:lnTo>
                    <a:pt x="7518547" y="6496236"/>
                  </a:lnTo>
                  <a:lnTo>
                    <a:pt x="7435203" y="6646255"/>
                  </a:lnTo>
                  <a:lnTo>
                    <a:pt x="7281863" y="6645798"/>
                  </a:lnTo>
                  <a:lnTo>
                    <a:pt x="7097713" y="6645798"/>
                  </a:lnTo>
                  <a:lnTo>
                    <a:pt x="6978003" y="6720074"/>
                  </a:lnTo>
                  <a:lnTo>
                    <a:pt x="6839890" y="6879617"/>
                  </a:lnTo>
                  <a:lnTo>
                    <a:pt x="6570809" y="6898667"/>
                  </a:lnTo>
                  <a:lnTo>
                    <a:pt x="6551759" y="7003442"/>
                  </a:lnTo>
                  <a:lnTo>
                    <a:pt x="6211240" y="7146317"/>
                  </a:lnTo>
                  <a:lnTo>
                    <a:pt x="6135040" y="7084405"/>
                  </a:lnTo>
                  <a:lnTo>
                    <a:pt x="6165997" y="7058211"/>
                  </a:lnTo>
                  <a:lnTo>
                    <a:pt x="6194572" y="7008205"/>
                  </a:lnTo>
                  <a:lnTo>
                    <a:pt x="6270772" y="6855805"/>
                  </a:lnTo>
                  <a:lnTo>
                    <a:pt x="6361259" y="6686736"/>
                  </a:lnTo>
                  <a:lnTo>
                    <a:pt x="6477940" y="6746267"/>
                  </a:lnTo>
                  <a:lnTo>
                    <a:pt x="6492228" y="6651017"/>
                  </a:lnTo>
                  <a:lnTo>
                    <a:pt x="6385072" y="6529574"/>
                  </a:lnTo>
                  <a:lnTo>
                    <a:pt x="6197601" y="6490506"/>
                  </a:lnTo>
                  <a:lnTo>
                    <a:pt x="5967413" y="6471094"/>
                  </a:lnTo>
                  <a:lnTo>
                    <a:pt x="5973115" y="6253349"/>
                  </a:lnTo>
                  <a:lnTo>
                    <a:pt x="5863578" y="6217630"/>
                  </a:lnTo>
                  <a:lnTo>
                    <a:pt x="5796903" y="6129524"/>
                  </a:lnTo>
                  <a:lnTo>
                    <a:pt x="5651647" y="6084280"/>
                  </a:lnTo>
                  <a:lnTo>
                    <a:pt x="5580209" y="6162861"/>
                  </a:lnTo>
                  <a:lnTo>
                    <a:pt x="5353051" y="6225803"/>
                  </a:lnTo>
                  <a:lnTo>
                    <a:pt x="5254626" y="6171098"/>
                  </a:lnTo>
                  <a:lnTo>
                    <a:pt x="5054601" y="6146392"/>
                  </a:lnTo>
                  <a:lnTo>
                    <a:pt x="4865688" y="6081099"/>
                  </a:lnTo>
                  <a:lnTo>
                    <a:pt x="1886890" y="606046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6" name="Freeform 172">
              <a:extLst>
                <a:ext uri="{FF2B5EF4-FFF2-40B4-BE49-F238E27FC236}">
                  <a16:creationId xmlns:a16="http://schemas.microsoft.com/office/drawing/2014/main" id="{DD8B3721-6D31-73E4-F854-78B77174CF5A}"/>
                </a:ext>
              </a:extLst>
            </p:cNvPr>
            <p:cNvSpPr>
              <a:spLocks/>
            </p:cNvSpPr>
            <p:nvPr/>
          </p:nvSpPr>
          <p:spPr bwMode="auto">
            <a:xfrm>
              <a:off x="2631049" y="68581"/>
              <a:ext cx="1561982" cy="2092575"/>
            </a:xfrm>
            <a:custGeom>
              <a:avLst/>
              <a:gdLst>
                <a:gd name="T0" fmla="*/ 121 w 6476107"/>
                <a:gd name="T1" fmla="*/ 440 h 9653587"/>
                <a:gd name="T2" fmla="*/ 74 w 6476107"/>
                <a:gd name="T3" fmla="*/ 365 h 9653587"/>
                <a:gd name="T4" fmla="*/ 121 w 6476107"/>
                <a:gd name="T5" fmla="*/ 310 h 9653587"/>
                <a:gd name="T6" fmla="*/ 172 w 6476107"/>
                <a:gd name="T7" fmla="*/ 263 h 9653587"/>
                <a:gd name="T8" fmla="*/ 190 w 6476107"/>
                <a:gd name="T9" fmla="*/ 200 h 9653587"/>
                <a:gd name="T10" fmla="*/ 263 w 6476107"/>
                <a:gd name="T11" fmla="*/ 170 h 9653587"/>
                <a:gd name="T12" fmla="*/ 355 w 6476107"/>
                <a:gd name="T13" fmla="*/ 145 h 9653587"/>
                <a:gd name="T14" fmla="*/ 409 w 6476107"/>
                <a:gd name="T15" fmla="*/ 223 h 9653587"/>
                <a:gd name="T16" fmla="*/ 416 w 6476107"/>
                <a:gd name="T17" fmla="*/ 160 h 9653587"/>
                <a:gd name="T18" fmla="*/ 372 w 6476107"/>
                <a:gd name="T19" fmla="*/ 128 h 9653587"/>
                <a:gd name="T20" fmla="*/ 397 w 6476107"/>
                <a:gd name="T21" fmla="*/ 65 h 9653587"/>
                <a:gd name="T22" fmla="*/ 512 w 6476107"/>
                <a:gd name="T23" fmla="*/ 18 h 9653587"/>
                <a:gd name="T24" fmla="*/ 638 w 6476107"/>
                <a:gd name="T25" fmla="*/ 5 h 9653587"/>
                <a:gd name="T26" fmla="*/ 697 w 6476107"/>
                <a:gd name="T27" fmla="*/ 58 h 9653587"/>
                <a:gd name="T28" fmla="*/ 773 w 6476107"/>
                <a:gd name="T29" fmla="*/ 142 h 9653587"/>
                <a:gd name="T30" fmla="*/ 702 w 6476107"/>
                <a:gd name="T31" fmla="*/ 205 h 9653587"/>
                <a:gd name="T32" fmla="*/ 737 w 6476107"/>
                <a:gd name="T33" fmla="*/ 208 h 9653587"/>
                <a:gd name="T34" fmla="*/ 769 w 6476107"/>
                <a:gd name="T35" fmla="*/ 240 h 9653587"/>
                <a:gd name="T36" fmla="*/ 786 w 6476107"/>
                <a:gd name="T37" fmla="*/ 245 h 9653587"/>
                <a:gd name="T38" fmla="*/ 821 w 6476107"/>
                <a:gd name="T39" fmla="*/ 219 h 9653587"/>
                <a:gd name="T40" fmla="*/ 890 w 6476107"/>
                <a:gd name="T41" fmla="*/ 226 h 9653587"/>
                <a:gd name="T42" fmla="*/ 926 w 6476107"/>
                <a:gd name="T43" fmla="*/ 292 h 9653587"/>
                <a:gd name="T44" fmla="*/ 868 w 6476107"/>
                <a:gd name="T45" fmla="*/ 369 h 9653587"/>
                <a:gd name="T46" fmla="*/ 825 w 6476107"/>
                <a:gd name="T47" fmla="*/ 431 h 9653587"/>
                <a:gd name="T48" fmla="*/ 833 w 6476107"/>
                <a:gd name="T49" fmla="*/ 488 h 9653587"/>
                <a:gd name="T50" fmla="*/ 806 w 6476107"/>
                <a:gd name="T51" fmla="*/ 556 h 9653587"/>
                <a:gd name="T52" fmla="*/ 838 w 6476107"/>
                <a:gd name="T53" fmla="*/ 631 h 9653587"/>
                <a:gd name="T54" fmla="*/ 811 w 6476107"/>
                <a:gd name="T55" fmla="*/ 703 h 9653587"/>
                <a:gd name="T56" fmla="*/ 818 w 6476107"/>
                <a:gd name="T57" fmla="*/ 793 h 9653587"/>
                <a:gd name="T58" fmla="*/ 771 w 6476107"/>
                <a:gd name="T59" fmla="*/ 856 h 9653587"/>
                <a:gd name="T60" fmla="*/ 764 w 6476107"/>
                <a:gd name="T61" fmla="*/ 921 h 9653587"/>
                <a:gd name="T62" fmla="*/ 791 w 6476107"/>
                <a:gd name="T63" fmla="*/ 984 h 9653587"/>
                <a:gd name="T64" fmla="*/ 742 w 6476107"/>
                <a:gd name="T65" fmla="*/ 1044 h 9653587"/>
                <a:gd name="T66" fmla="*/ 660 w 6476107"/>
                <a:gd name="T67" fmla="*/ 1096 h 9653587"/>
                <a:gd name="T68" fmla="*/ 599 w 6476107"/>
                <a:gd name="T69" fmla="*/ 1146 h 9653587"/>
                <a:gd name="T70" fmla="*/ 527 w 6476107"/>
                <a:gd name="T71" fmla="*/ 1194 h 9653587"/>
                <a:gd name="T72" fmla="*/ 493 w 6476107"/>
                <a:gd name="T73" fmla="*/ 1261 h 9653587"/>
                <a:gd name="T74" fmla="*/ 471 w 6476107"/>
                <a:gd name="T75" fmla="*/ 1334 h 9653587"/>
                <a:gd name="T76" fmla="*/ 424 w 6476107"/>
                <a:gd name="T77" fmla="*/ 1394 h 9653587"/>
                <a:gd name="T78" fmla="*/ 352 w 6476107"/>
                <a:gd name="T79" fmla="*/ 1334 h 9653587"/>
                <a:gd name="T80" fmla="*/ 308 w 6476107"/>
                <a:gd name="T81" fmla="*/ 1201 h 9653587"/>
                <a:gd name="T82" fmla="*/ 293 w 6476107"/>
                <a:gd name="T83" fmla="*/ 1106 h 9653587"/>
                <a:gd name="T84" fmla="*/ 328 w 6476107"/>
                <a:gd name="T85" fmla="*/ 1044 h 9653587"/>
                <a:gd name="T86" fmla="*/ 269 w 6476107"/>
                <a:gd name="T87" fmla="*/ 1026 h 9653587"/>
                <a:gd name="T88" fmla="*/ 325 w 6476107"/>
                <a:gd name="T89" fmla="*/ 986 h 9653587"/>
                <a:gd name="T90" fmla="*/ 249 w 6476107"/>
                <a:gd name="T91" fmla="*/ 913 h 9653587"/>
                <a:gd name="T92" fmla="*/ 244 w 6476107"/>
                <a:gd name="T93" fmla="*/ 846 h 9653587"/>
                <a:gd name="T94" fmla="*/ 224 w 6476107"/>
                <a:gd name="T95" fmla="*/ 726 h 9653587"/>
                <a:gd name="T96" fmla="*/ 140 w 6476107"/>
                <a:gd name="T97" fmla="*/ 698 h 9653587"/>
                <a:gd name="T98" fmla="*/ 47 w 6476107"/>
                <a:gd name="T99" fmla="*/ 691 h 9653587"/>
                <a:gd name="T100" fmla="*/ 10 w 6476107"/>
                <a:gd name="T101" fmla="*/ 616 h 9653587"/>
                <a:gd name="T102" fmla="*/ 30 w 6476107"/>
                <a:gd name="T103" fmla="*/ 571 h 9653587"/>
                <a:gd name="T104" fmla="*/ 12 w 6476107"/>
                <a:gd name="T105" fmla="*/ 523 h 9653587"/>
                <a:gd name="T106" fmla="*/ 96 w 6476107"/>
                <a:gd name="T107" fmla="*/ 473 h 96535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76107"/>
                <a:gd name="T163" fmla="*/ 0 h 9653587"/>
                <a:gd name="T164" fmla="*/ 6476107 w 6476107"/>
                <a:gd name="T165" fmla="*/ 9653587 h 96535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76107" h="9653587">
                  <a:moveTo>
                    <a:pt x="659957" y="3263914"/>
                  </a:moveTo>
                  <a:lnTo>
                    <a:pt x="778411" y="3177567"/>
                  </a:lnTo>
                  <a:lnTo>
                    <a:pt x="829177" y="3039412"/>
                  </a:lnTo>
                  <a:lnTo>
                    <a:pt x="810845" y="2816349"/>
                  </a:lnTo>
                  <a:lnTo>
                    <a:pt x="527402" y="2719928"/>
                  </a:lnTo>
                  <a:lnTo>
                    <a:pt x="507660" y="2521330"/>
                  </a:lnTo>
                  <a:lnTo>
                    <a:pt x="643035" y="2365906"/>
                  </a:lnTo>
                  <a:lnTo>
                    <a:pt x="778411" y="2262290"/>
                  </a:lnTo>
                  <a:lnTo>
                    <a:pt x="829177" y="2141404"/>
                  </a:lnTo>
                  <a:lnTo>
                    <a:pt x="964553" y="2003249"/>
                  </a:lnTo>
                  <a:lnTo>
                    <a:pt x="1142234" y="1947123"/>
                  </a:lnTo>
                  <a:lnTo>
                    <a:pt x="1184539" y="1813286"/>
                  </a:lnTo>
                  <a:lnTo>
                    <a:pt x="1095698" y="1610370"/>
                  </a:lnTo>
                  <a:lnTo>
                    <a:pt x="1302993" y="1381551"/>
                  </a:lnTo>
                  <a:lnTo>
                    <a:pt x="1472213" y="1347012"/>
                  </a:lnTo>
                  <a:lnTo>
                    <a:pt x="1607588" y="1191588"/>
                  </a:lnTo>
                  <a:lnTo>
                    <a:pt x="1805012" y="1175757"/>
                  </a:lnTo>
                  <a:lnTo>
                    <a:pt x="2064482" y="1139780"/>
                  </a:lnTo>
                  <a:lnTo>
                    <a:pt x="2216780" y="1018894"/>
                  </a:lnTo>
                  <a:lnTo>
                    <a:pt x="2436766" y="1001624"/>
                  </a:lnTo>
                  <a:lnTo>
                    <a:pt x="2605986" y="1174318"/>
                  </a:lnTo>
                  <a:lnTo>
                    <a:pt x="2673673" y="1312473"/>
                  </a:lnTo>
                  <a:lnTo>
                    <a:pt x="2809049" y="1536975"/>
                  </a:lnTo>
                  <a:lnTo>
                    <a:pt x="2842893" y="1329743"/>
                  </a:lnTo>
                  <a:lnTo>
                    <a:pt x="2792127" y="1243396"/>
                  </a:lnTo>
                  <a:lnTo>
                    <a:pt x="2859815" y="1105241"/>
                  </a:lnTo>
                  <a:lnTo>
                    <a:pt x="2809049" y="1001624"/>
                  </a:lnTo>
                  <a:lnTo>
                    <a:pt x="2724439" y="846200"/>
                  </a:lnTo>
                  <a:lnTo>
                    <a:pt x="2555220" y="880739"/>
                  </a:lnTo>
                  <a:lnTo>
                    <a:pt x="2521376" y="759853"/>
                  </a:lnTo>
                  <a:lnTo>
                    <a:pt x="2538298" y="569890"/>
                  </a:lnTo>
                  <a:lnTo>
                    <a:pt x="2724439" y="449004"/>
                  </a:lnTo>
                  <a:lnTo>
                    <a:pt x="2988140" y="402952"/>
                  </a:lnTo>
                  <a:lnTo>
                    <a:pt x="3232099" y="207233"/>
                  </a:lnTo>
                  <a:lnTo>
                    <a:pt x="3519773" y="120886"/>
                  </a:lnTo>
                  <a:lnTo>
                    <a:pt x="3739758" y="17269"/>
                  </a:lnTo>
                  <a:lnTo>
                    <a:pt x="4044354" y="0"/>
                  </a:lnTo>
                  <a:lnTo>
                    <a:pt x="4382794" y="34539"/>
                  </a:lnTo>
                  <a:lnTo>
                    <a:pt x="4585858" y="138155"/>
                  </a:lnTo>
                  <a:lnTo>
                    <a:pt x="4822765" y="241771"/>
                  </a:lnTo>
                  <a:lnTo>
                    <a:pt x="4786101" y="402952"/>
                  </a:lnTo>
                  <a:lnTo>
                    <a:pt x="4991985" y="604429"/>
                  </a:lnTo>
                  <a:lnTo>
                    <a:pt x="5195049" y="777122"/>
                  </a:lnTo>
                  <a:lnTo>
                    <a:pt x="5306452" y="981477"/>
                  </a:lnTo>
                  <a:lnTo>
                    <a:pt x="5025829" y="1260665"/>
                  </a:lnTo>
                  <a:lnTo>
                    <a:pt x="4805843" y="1295204"/>
                  </a:lnTo>
                  <a:lnTo>
                    <a:pt x="4822765" y="1416090"/>
                  </a:lnTo>
                  <a:lnTo>
                    <a:pt x="4873531" y="1554245"/>
                  </a:lnTo>
                  <a:lnTo>
                    <a:pt x="5025829" y="1536975"/>
                  </a:lnTo>
                  <a:lnTo>
                    <a:pt x="5059673" y="1433359"/>
                  </a:lnTo>
                  <a:lnTo>
                    <a:pt x="5144283" y="1381551"/>
                  </a:lnTo>
                  <a:lnTo>
                    <a:pt x="5262737" y="1450628"/>
                  </a:lnTo>
                  <a:lnTo>
                    <a:pt x="5279659" y="1657861"/>
                  </a:lnTo>
                  <a:lnTo>
                    <a:pt x="5228893" y="1813286"/>
                  </a:lnTo>
                  <a:lnTo>
                    <a:pt x="5178127" y="1968710"/>
                  </a:lnTo>
                  <a:lnTo>
                    <a:pt x="5398113" y="1692400"/>
                  </a:lnTo>
                  <a:lnTo>
                    <a:pt x="5601177" y="1726939"/>
                  </a:lnTo>
                  <a:lnTo>
                    <a:pt x="5584255" y="1657861"/>
                  </a:lnTo>
                  <a:lnTo>
                    <a:pt x="5636431" y="1512510"/>
                  </a:lnTo>
                  <a:lnTo>
                    <a:pt x="5736553" y="1416090"/>
                  </a:lnTo>
                  <a:lnTo>
                    <a:pt x="5939616" y="1450628"/>
                  </a:lnTo>
                  <a:lnTo>
                    <a:pt x="6110246" y="1561440"/>
                  </a:lnTo>
                  <a:lnTo>
                    <a:pt x="6278056" y="1657861"/>
                  </a:lnTo>
                  <a:lnTo>
                    <a:pt x="6476107" y="1823365"/>
                  </a:lnTo>
                  <a:lnTo>
                    <a:pt x="6358120" y="2015094"/>
                  </a:lnTo>
                  <a:lnTo>
                    <a:pt x="6225384" y="2206823"/>
                  </a:lnTo>
                  <a:lnTo>
                    <a:pt x="6063152" y="2398552"/>
                  </a:lnTo>
                  <a:lnTo>
                    <a:pt x="5959913" y="2546036"/>
                  </a:lnTo>
                  <a:lnTo>
                    <a:pt x="5945165" y="2708268"/>
                  </a:lnTo>
                  <a:lnTo>
                    <a:pt x="5827178" y="2929494"/>
                  </a:lnTo>
                  <a:lnTo>
                    <a:pt x="5664946" y="2973739"/>
                  </a:lnTo>
                  <a:lnTo>
                    <a:pt x="5589895" y="3107050"/>
                  </a:lnTo>
                  <a:lnTo>
                    <a:pt x="5635021" y="3212106"/>
                  </a:lnTo>
                  <a:lnTo>
                    <a:pt x="5719631" y="3367530"/>
                  </a:lnTo>
                  <a:lnTo>
                    <a:pt x="5533489" y="3402069"/>
                  </a:lnTo>
                  <a:lnTo>
                    <a:pt x="5651943" y="3661110"/>
                  </a:lnTo>
                  <a:lnTo>
                    <a:pt x="5533489" y="3833804"/>
                  </a:lnTo>
                  <a:lnTo>
                    <a:pt x="5651943" y="4092845"/>
                  </a:lnTo>
                  <a:lnTo>
                    <a:pt x="5651943" y="4265538"/>
                  </a:lnTo>
                  <a:lnTo>
                    <a:pt x="5753475" y="4351885"/>
                  </a:lnTo>
                  <a:lnTo>
                    <a:pt x="5685787" y="4541849"/>
                  </a:lnTo>
                  <a:lnTo>
                    <a:pt x="5651943" y="4731812"/>
                  </a:lnTo>
                  <a:lnTo>
                    <a:pt x="5567333" y="4852698"/>
                  </a:lnTo>
                  <a:lnTo>
                    <a:pt x="5635021" y="5094469"/>
                  </a:lnTo>
                  <a:lnTo>
                    <a:pt x="5702709" y="5336240"/>
                  </a:lnTo>
                  <a:lnTo>
                    <a:pt x="5618099" y="5474395"/>
                  </a:lnTo>
                  <a:lnTo>
                    <a:pt x="5516567" y="5629820"/>
                  </a:lnTo>
                  <a:lnTo>
                    <a:pt x="5495414" y="5809709"/>
                  </a:lnTo>
                  <a:lnTo>
                    <a:pt x="5296581" y="5906130"/>
                  </a:lnTo>
                  <a:lnTo>
                    <a:pt x="5296581" y="6027016"/>
                  </a:lnTo>
                  <a:lnTo>
                    <a:pt x="5364269" y="6182440"/>
                  </a:lnTo>
                  <a:lnTo>
                    <a:pt x="5245815" y="6355134"/>
                  </a:lnTo>
                  <a:lnTo>
                    <a:pt x="5306452" y="6486094"/>
                  </a:lnTo>
                  <a:lnTo>
                    <a:pt x="5415035" y="6683253"/>
                  </a:lnTo>
                  <a:lnTo>
                    <a:pt x="5431957" y="6786869"/>
                  </a:lnTo>
                  <a:lnTo>
                    <a:pt x="5381191" y="6907755"/>
                  </a:lnTo>
                  <a:lnTo>
                    <a:pt x="5306452" y="7064618"/>
                  </a:lnTo>
                  <a:lnTo>
                    <a:pt x="5093517" y="7201334"/>
                  </a:lnTo>
                  <a:lnTo>
                    <a:pt x="4907375" y="7391297"/>
                  </a:lnTo>
                  <a:lnTo>
                    <a:pt x="4687390" y="7494914"/>
                  </a:lnTo>
                  <a:lnTo>
                    <a:pt x="4535092" y="7563991"/>
                  </a:lnTo>
                  <a:lnTo>
                    <a:pt x="4281262" y="7615799"/>
                  </a:lnTo>
                  <a:lnTo>
                    <a:pt x="4230496" y="7736685"/>
                  </a:lnTo>
                  <a:lnTo>
                    <a:pt x="4112042" y="7909379"/>
                  </a:lnTo>
                  <a:lnTo>
                    <a:pt x="3942822" y="8082073"/>
                  </a:lnTo>
                  <a:lnTo>
                    <a:pt x="3790524" y="8254767"/>
                  </a:lnTo>
                  <a:lnTo>
                    <a:pt x="3621305" y="8237497"/>
                  </a:lnTo>
                  <a:lnTo>
                    <a:pt x="3519773" y="8375652"/>
                  </a:lnTo>
                  <a:lnTo>
                    <a:pt x="3366065" y="8464878"/>
                  </a:lnTo>
                  <a:lnTo>
                    <a:pt x="3384397" y="8703771"/>
                  </a:lnTo>
                  <a:lnTo>
                    <a:pt x="3333631" y="8876465"/>
                  </a:lnTo>
                  <a:lnTo>
                    <a:pt x="3181333" y="8962812"/>
                  </a:lnTo>
                  <a:lnTo>
                    <a:pt x="3232099" y="9204583"/>
                  </a:lnTo>
                  <a:lnTo>
                    <a:pt x="3164411" y="9429085"/>
                  </a:lnTo>
                  <a:lnTo>
                    <a:pt x="3079801" y="9653587"/>
                  </a:lnTo>
                  <a:lnTo>
                    <a:pt x="2910581" y="9619048"/>
                  </a:lnTo>
                  <a:lnTo>
                    <a:pt x="2825971" y="9394546"/>
                  </a:lnTo>
                  <a:lnTo>
                    <a:pt x="2639829" y="9411816"/>
                  </a:lnTo>
                  <a:lnTo>
                    <a:pt x="2419844" y="9204583"/>
                  </a:lnTo>
                  <a:lnTo>
                    <a:pt x="2318312" y="8980081"/>
                  </a:lnTo>
                  <a:lnTo>
                    <a:pt x="2199858" y="8651963"/>
                  </a:lnTo>
                  <a:lnTo>
                    <a:pt x="2115248" y="8289305"/>
                  </a:lnTo>
                  <a:lnTo>
                    <a:pt x="1979872" y="8116612"/>
                  </a:lnTo>
                  <a:lnTo>
                    <a:pt x="1946028" y="7788493"/>
                  </a:lnTo>
                  <a:lnTo>
                    <a:pt x="2013716" y="7633069"/>
                  </a:lnTo>
                  <a:lnTo>
                    <a:pt x="2047560" y="7356759"/>
                  </a:lnTo>
                  <a:lnTo>
                    <a:pt x="2216780" y="7339489"/>
                  </a:lnTo>
                  <a:lnTo>
                    <a:pt x="2250624" y="7201334"/>
                  </a:lnTo>
                  <a:lnTo>
                    <a:pt x="2081404" y="7184065"/>
                  </a:lnTo>
                  <a:lnTo>
                    <a:pt x="1929106" y="7270412"/>
                  </a:lnTo>
                  <a:lnTo>
                    <a:pt x="1844496" y="7080448"/>
                  </a:lnTo>
                  <a:lnTo>
                    <a:pt x="1912184" y="6804138"/>
                  </a:lnTo>
                  <a:lnTo>
                    <a:pt x="1996794" y="6735061"/>
                  </a:lnTo>
                  <a:lnTo>
                    <a:pt x="2233702" y="6804138"/>
                  </a:lnTo>
                  <a:lnTo>
                    <a:pt x="2081404" y="6614175"/>
                  </a:lnTo>
                  <a:lnTo>
                    <a:pt x="1827574" y="6579636"/>
                  </a:lnTo>
                  <a:lnTo>
                    <a:pt x="1709120" y="6303326"/>
                  </a:lnTo>
                  <a:lnTo>
                    <a:pt x="1742964" y="6130632"/>
                  </a:lnTo>
                  <a:lnTo>
                    <a:pt x="1776808" y="5923400"/>
                  </a:lnTo>
                  <a:lnTo>
                    <a:pt x="1675276" y="5837053"/>
                  </a:lnTo>
                  <a:lnTo>
                    <a:pt x="1675276" y="5491665"/>
                  </a:lnTo>
                  <a:lnTo>
                    <a:pt x="1590666" y="5284432"/>
                  </a:lnTo>
                  <a:lnTo>
                    <a:pt x="1539901" y="5008122"/>
                  </a:lnTo>
                  <a:lnTo>
                    <a:pt x="1387603" y="4904506"/>
                  </a:lnTo>
                  <a:lnTo>
                    <a:pt x="1150695" y="4800889"/>
                  </a:lnTo>
                  <a:lnTo>
                    <a:pt x="964553" y="4818159"/>
                  </a:lnTo>
                  <a:lnTo>
                    <a:pt x="710723" y="4869967"/>
                  </a:lnTo>
                  <a:lnTo>
                    <a:pt x="524582" y="4869967"/>
                  </a:lnTo>
                  <a:lnTo>
                    <a:pt x="321518" y="4766351"/>
                  </a:lnTo>
                  <a:lnTo>
                    <a:pt x="270752" y="4559118"/>
                  </a:lnTo>
                  <a:lnTo>
                    <a:pt x="101532" y="4409450"/>
                  </a:lnTo>
                  <a:lnTo>
                    <a:pt x="67688" y="4248269"/>
                  </a:lnTo>
                  <a:lnTo>
                    <a:pt x="169220" y="4161922"/>
                  </a:lnTo>
                  <a:lnTo>
                    <a:pt x="355362" y="4127383"/>
                  </a:lnTo>
                  <a:lnTo>
                    <a:pt x="203064" y="3937420"/>
                  </a:lnTo>
                  <a:lnTo>
                    <a:pt x="16922" y="3902881"/>
                  </a:lnTo>
                  <a:lnTo>
                    <a:pt x="0" y="3730187"/>
                  </a:lnTo>
                  <a:lnTo>
                    <a:pt x="84610" y="3609302"/>
                  </a:lnTo>
                  <a:lnTo>
                    <a:pt x="243959" y="3540224"/>
                  </a:lnTo>
                  <a:lnTo>
                    <a:pt x="439972" y="3298453"/>
                  </a:lnTo>
                  <a:lnTo>
                    <a:pt x="659957" y="326391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7" name="Freeform 173">
              <a:extLst>
                <a:ext uri="{FF2B5EF4-FFF2-40B4-BE49-F238E27FC236}">
                  <a16:creationId xmlns:a16="http://schemas.microsoft.com/office/drawing/2014/main" id="{A5D96894-A207-DDE5-4755-6C0A97101165}"/>
                </a:ext>
              </a:extLst>
            </p:cNvPr>
            <p:cNvSpPr>
              <a:spLocks/>
            </p:cNvSpPr>
            <p:nvPr/>
          </p:nvSpPr>
          <p:spPr bwMode="auto">
            <a:xfrm>
              <a:off x="2001325" y="0"/>
              <a:ext cx="905368" cy="1137840"/>
            </a:xfrm>
            <a:custGeom>
              <a:avLst/>
              <a:gdLst>
                <a:gd name="T0" fmla="*/ 2147483647 w 2346"/>
                <a:gd name="T1" fmla="*/ 2147483647 h 3126"/>
                <a:gd name="T2" fmla="*/ 2147483647 w 2346"/>
                <a:gd name="T3" fmla="*/ 2147483647 h 3126"/>
                <a:gd name="T4" fmla="*/ 2147483647 w 2346"/>
                <a:gd name="T5" fmla="*/ 2147483647 h 3126"/>
                <a:gd name="T6" fmla="*/ 2147483647 w 2346"/>
                <a:gd name="T7" fmla="*/ 2147483647 h 3126"/>
                <a:gd name="T8" fmla="*/ 2147483647 w 2346"/>
                <a:gd name="T9" fmla="*/ 2147483647 h 3126"/>
                <a:gd name="T10" fmla="*/ 2147483647 w 2346"/>
                <a:gd name="T11" fmla="*/ 2147483647 h 3126"/>
                <a:gd name="T12" fmla="*/ 2147483647 w 2346"/>
                <a:gd name="T13" fmla="*/ 2147483647 h 3126"/>
                <a:gd name="T14" fmla="*/ 2147483647 w 2346"/>
                <a:gd name="T15" fmla="*/ 2147483647 h 3126"/>
                <a:gd name="T16" fmla="*/ 2147483647 w 2346"/>
                <a:gd name="T17" fmla="*/ 2147483647 h 3126"/>
                <a:gd name="T18" fmla="*/ 2147483647 w 2346"/>
                <a:gd name="T19" fmla="*/ 2147483647 h 3126"/>
                <a:gd name="T20" fmla="*/ 2147483647 w 2346"/>
                <a:gd name="T21" fmla="*/ 2147483647 h 3126"/>
                <a:gd name="T22" fmla="*/ 2147483647 w 2346"/>
                <a:gd name="T23" fmla="*/ 2147483647 h 3126"/>
                <a:gd name="T24" fmla="*/ 2147483647 w 2346"/>
                <a:gd name="T25" fmla="*/ 2147483647 h 3126"/>
                <a:gd name="T26" fmla="*/ 2147483647 w 2346"/>
                <a:gd name="T27" fmla="*/ 2147483647 h 3126"/>
                <a:gd name="T28" fmla="*/ 2147483647 w 2346"/>
                <a:gd name="T29" fmla="*/ 2147483647 h 3126"/>
                <a:gd name="T30" fmla="*/ 2147483647 w 2346"/>
                <a:gd name="T31" fmla="*/ 2147483647 h 3126"/>
                <a:gd name="T32" fmla="*/ 2147483647 w 2346"/>
                <a:gd name="T33" fmla="*/ 2147483647 h 3126"/>
                <a:gd name="T34" fmla="*/ 2147483647 w 2346"/>
                <a:gd name="T35" fmla="*/ 2147483647 h 3126"/>
                <a:gd name="T36" fmla="*/ 2147483647 w 2346"/>
                <a:gd name="T37" fmla="*/ 2147483647 h 3126"/>
                <a:gd name="T38" fmla="*/ 2147483647 w 2346"/>
                <a:gd name="T39" fmla="*/ 2147483647 h 3126"/>
                <a:gd name="T40" fmla="*/ 2147483647 w 2346"/>
                <a:gd name="T41" fmla="*/ 2147483647 h 3126"/>
                <a:gd name="T42" fmla="*/ 2147483647 w 2346"/>
                <a:gd name="T43" fmla="*/ 2147483647 h 3126"/>
                <a:gd name="T44" fmla="*/ 2147483647 w 2346"/>
                <a:gd name="T45" fmla="*/ 2147483647 h 3126"/>
                <a:gd name="T46" fmla="*/ 2147483647 w 2346"/>
                <a:gd name="T47" fmla="*/ 2147483647 h 3126"/>
                <a:gd name="T48" fmla="*/ 2147483647 w 2346"/>
                <a:gd name="T49" fmla="*/ 2147483647 h 3126"/>
                <a:gd name="T50" fmla="*/ 2147483647 w 2346"/>
                <a:gd name="T51" fmla="*/ 2147483647 h 3126"/>
                <a:gd name="T52" fmla="*/ 2147483647 w 2346"/>
                <a:gd name="T53" fmla="*/ 2147483647 h 3126"/>
                <a:gd name="T54" fmla="*/ 2147483647 w 2346"/>
                <a:gd name="T55" fmla="*/ 2147483647 h 3126"/>
                <a:gd name="T56" fmla="*/ 2147483647 w 2346"/>
                <a:gd name="T57" fmla="*/ 2147483647 h 3126"/>
                <a:gd name="T58" fmla="*/ 2147483647 w 2346"/>
                <a:gd name="T59" fmla="*/ 2147483647 h 3126"/>
                <a:gd name="T60" fmla="*/ 2147483647 w 2346"/>
                <a:gd name="T61" fmla="*/ 2147483647 h 3126"/>
                <a:gd name="T62" fmla="*/ 2147483647 w 2346"/>
                <a:gd name="T63" fmla="*/ 2147483647 h 3126"/>
                <a:gd name="T64" fmla="*/ 2147483647 w 2346"/>
                <a:gd name="T65" fmla="*/ 2147483647 h 3126"/>
                <a:gd name="T66" fmla="*/ 2147483647 w 2346"/>
                <a:gd name="T67" fmla="*/ 2147483647 h 3126"/>
                <a:gd name="T68" fmla="*/ 2147483647 w 2346"/>
                <a:gd name="T69" fmla="*/ 2147483647 h 3126"/>
                <a:gd name="T70" fmla="*/ 2147483647 w 2346"/>
                <a:gd name="T71" fmla="*/ 2147483647 h 3126"/>
                <a:gd name="T72" fmla="*/ 2147483647 w 2346"/>
                <a:gd name="T73" fmla="*/ 2147483647 h 3126"/>
                <a:gd name="T74" fmla="*/ 2147483647 w 2346"/>
                <a:gd name="T75" fmla="*/ 2147483647 h 3126"/>
                <a:gd name="T76" fmla="*/ 2147483647 w 2346"/>
                <a:gd name="T77" fmla="*/ 2147483647 h 3126"/>
                <a:gd name="T78" fmla="*/ 2147483647 w 2346"/>
                <a:gd name="T79" fmla="*/ 2147483647 h 3126"/>
                <a:gd name="T80" fmla="*/ 2147483647 w 2346"/>
                <a:gd name="T81" fmla="*/ 2147483647 h 3126"/>
                <a:gd name="T82" fmla="*/ 0 w 2346"/>
                <a:gd name="T83" fmla="*/ 2147483647 h 3126"/>
                <a:gd name="T84" fmla="*/ 2147483647 w 2346"/>
                <a:gd name="T85" fmla="*/ 2147483647 h 3126"/>
                <a:gd name="T86" fmla="*/ 2147483647 w 2346"/>
                <a:gd name="T87" fmla="*/ 2147483647 h 3126"/>
                <a:gd name="T88" fmla="*/ 2147483647 w 2346"/>
                <a:gd name="T89" fmla="*/ 2147483647 h 3126"/>
                <a:gd name="T90" fmla="*/ 2147483647 w 2346"/>
                <a:gd name="T91" fmla="*/ 2147483647 h 3126"/>
                <a:gd name="T92" fmla="*/ 2147483647 w 2346"/>
                <a:gd name="T93" fmla="*/ 2147483647 h 3126"/>
                <a:gd name="T94" fmla="*/ 2147483647 w 2346"/>
                <a:gd name="T95" fmla="*/ 2147483647 h 3126"/>
                <a:gd name="T96" fmla="*/ 2147483647 w 2346"/>
                <a:gd name="T97" fmla="*/ 2147483647 h 3126"/>
                <a:gd name="T98" fmla="*/ 2147483647 w 2346"/>
                <a:gd name="T99" fmla="*/ 2147483647 h 3126"/>
                <a:gd name="T100" fmla="*/ 2147483647 w 2346"/>
                <a:gd name="T101" fmla="*/ 2147483647 h 3126"/>
                <a:gd name="T102" fmla="*/ 2147483647 w 2346"/>
                <a:gd name="T103" fmla="*/ 2147483647 h 3126"/>
                <a:gd name="T104" fmla="*/ 2147483647 w 2346"/>
                <a:gd name="T105" fmla="*/ 2147483647 h 3126"/>
                <a:gd name="T106" fmla="*/ 2147483647 w 2346"/>
                <a:gd name="T107" fmla="*/ 2147483647 h 31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46"/>
                <a:gd name="T163" fmla="*/ 0 h 3126"/>
                <a:gd name="T164" fmla="*/ 2346 w 2346"/>
                <a:gd name="T165" fmla="*/ 3126 h 312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46" h="3126">
                  <a:moveTo>
                    <a:pt x="1168" y="2627"/>
                  </a:moveTo>
                  <a:lnTo>
                    <a:pt x="1191" y="2595"/>
                  </a:lnTo>
                  <a:lnTo>
                    <a:pt x="1245" y="2571"/>
                  </a:lnTo>
                  <a:lnTo>
                    <a:pt x="1264" y="2517"/>
                  </a:lnTo>
                  <a:lnTo>
                    <a:pt x="1255" y="2451"/>
                  </a:lnTo>
                  <a:lnTo>
                    <a:pt x="1204" y="2435"/>
                  </a:lnTo>
                  <a:lnTo>
                    <a:pt x="1150" y="2403"/>
                  </a:lnTo>
                  <a:lnTo>
                    <a:pt x="1171" y="2360"/>
                  </a:lnTo>
                  <a:lnTo>
                    <a:pt x="1210" y="2342"/>
                  </a:lnTo>
                  <a:lnTo>
                    <a:pt x="1242" y="2304"/>
                  </a:lnTo>
                  <a:lnTo>
                    <a:pt x="1225" y="2270"/>
                  </a:lnTo>
                  <a:lnTo>
                    <a:pt x="1254" y="2264"/>
                  </a:lnTo>
                  <a:lnTo>
                    <a:pt x="1263" y="2210"/>
                  </a:lnTo>
                  <a:lnTo>
                    <a:pt x="1338" y="2175"/>
                  </a:lnTo>
                  <a:lnTo>
                    <a:pt x="1401" y="2115"/>
                  </a:lnTo>
                  <a:lnTo>
                    <a:pt x="1401" y="2070"/>
                  </a:lnTo>
                  <a:lnTo>
                    <a:pt x="1446" y="2048"/>
                  </a:lnTo>
                  <a:lnTo>
                    <a:pt x="1411" y="1952"/>
                  </a:lnTo>
                  <a:lnTo>
                    <a:pt x="1456" y="1923"/>
                  </a:lnTo>
                  <a:lnTo>
                    <a:pt x="1531" y="1889"/>
                  </a:lnTo>
                  <a:lnTo>
                    <a:pt x="1528" y="1856"/>
                  </a:lnTo>
                  <a:lnTo>
                    <a:pt x="1488" y="1850"/>
                  </a:lnTo>
                  <a:lnTo>
                    <a:pt x="1452" y="1820"/>
                  </a:lnTo>
                  <a:lnTo>
                    <a:pt x="1494" y="1776"/>
                  </a:lnTo>
                  <a:lnTo>
                    <a:pt x="1488" y="1728"/>
                  </a:lnTo>
                  <a:lnTo>
                    <a:pt x="1449" y="1691"/>
                  </a:lnTo>
                  <a:lnTo>
                    <a:pt x="1462" y="1652"/>
                  </a:lnTo>
                  <a:lnTo>
                    <a:pt x="1507" y="1608"/>
                  </a:lnTo>
                  <a:lnTo>
                    <a:pt x="1564" y="1583"/>
                  </a:lnTo>
                  <a:lnTo>
                    <a:pt x="1621" y="1554"/>
                  </a:lnTo>
                  <a:lnTo>
                    <a:pt x="1681" y="1509"/>
                  </a:lnTo>
                  <a:lnTo>
                    <a:pt x="1711" y="1470"/>
                  </a:lnTo>
                  <a:lnTo>
                    <a:pt x="1744" y="1425"/>
                  </a:lnTo>
                  <a:lnTo>
                    <a:pt x="1723" y="1380"/>
                  </a:lnTo>
                  <a:lnTo>
                    <a:pt x="1764" y="1371"/>
                  </a:lnTo>
                  <a:lnTo>
                    <a:pt x="1768" y="1298"/>
                  </a:lnTo>
                  <a:lnTo>
                    <a:pt x="1888" y="1118"/>
                  </a:lnTo>
                  <a:lnTo>
                    <a:pt x="1962" y="1073"/>
                  </a:lnTo>
                  <a:lnTo>
                    <a:pt x="2013" y="965"/>
                  </a:lnTo>
                  <a:lnTo>
                    <a:pt x="2086" y="864"/>
                  </a:lnTo>
                  <a:lnTo>
                    <a:pt x="2140" y="816"/>
                  </a:lnTo>
                  <a:lnTo>
                    <a:pt x="2103" y="789"/>
                  </a:lnTo>
                  <a:lnTo>
                    <a:pt x="2056" y="810"/>
                  </a:lnTo>
                  <a:lnTo>
                    <a:pt x="1990" y="845"/>
                  </a:lnTo>
                  <a:lnTo>
                    <a:pt x="1887" y="894"/>
                  </a:lnTo>
                  <a:lnTo>
                    <a:pt x="1771" y="974"/>
                  </a:lnTo>
                  <a:lnTo>
                    <a:pt x="1768" y="948"/>
                  </a:lnTo>
                  <a:lnTo>
                    <a:pt x="1842" y="894"/>
                  </a:lnTo>
                  <a:lnTo>
                    <a:pt x="1908" y="825"/>
                  </a:lnTo>
                  <a:lnTo>
                    <a:pt x="1861" y="791"/>
                  </a:lnTo>
                  <a:lnTo>
                    <a:pt x="1945" y="764"/>
                  </a:lnTo>
                  <a:lnTo>
                    <a:pt x="2023" y="750"/>
                  </a:lnTo>
                  <a:lnTo>
                    <a:pt x="2092" y="698"/>
                  </a:lnTo>
                  <a:lnTo>
                    <a:pt x="2151" y="678"/>
                  </a:lnTo>
                  <a:lnTo>
                    <a:pt x="2253" y="578"/>
                  </a:lnTo>
                  <a:lnTo>
                    <a:pt x="2346" y="477"/>
                  </a:lnTo>
                  <a:lnTo>
                    <a:pt x="2338" y="416"/>
                  </a:lnTo>
                  <a:lnTo>
                    <a:pt x="2317" y="342"/>
                  </a:lnTo>
                  <a:lnTo>
                    <a:pt x="2269" y="306"/>
                  </a:lnTo>
                  <a:lnTo>
                    <a:pt x="2199" y="312"/>
                  </a:lnTo>
                  <a:lnTo>
                    <a:pt x="2200" y="246"/>
                  </a:lnTo>
                  <a:lnTo>
                    <a:pt x="2152" y="213"/>
                  </a:lnTo>
                  <a:lnTo>
                    <a:pt x="2188" y="173"/>
                  </a:lnTo>
                  <a:lnTo>
                    <a:pt x="2149" y="146"/>
                  </a:lnTo>
                  <a:lnTo>
                    <a:pt x="2109" y="107"/>
                  </a:lnTo>
                  <a:lnTo>
                    <a:pt x="2037" y="83"/>
                  </a:lnTo>
                  <a:lnTo>
                    <a:pt x="2001" y="150"/>
                  </a:lnTo>
                  <a:lnTo>
                    <a:pt x="1945" y="123"/>
                  </a:lnTo>
                  <a:lnTo>
                    <a:pt x="1902" y="66"/>
                  </a:lnTo>
                  <a:lnTo>
                    <a:pt x="1798" y="68"/>
                  </a:lnTo>
                  <a:lnTo>
                    <a:pt x="1717" y="32"/>
                  </a:lnTo>
                  <a:lnTo>
                    <a:pt x="1668" y="3"/>
                  </a:lnTo>
                  <a:lnTo>
                    <a:pt x="1602" y="36"/>
                  </a:lnTo>
                  <a:lnTo>
                    <a:pt x="1560" y="0"/>
                  </a:lnTo>
                  <a:lnTo>
                    <a:pt x="1482" y="3"/>
                  </a:lnTo>
                  <a:lnTo>
                    <a:pt x="1398" y="15"/>
                  </a:lnTo>
                  <a:lnTo>
                    <a:pt x="1309" y="47"/>
                  </a:lnTo>
                  <a:lnTo>
                    <a:pt x="1237" y="65"/>
                  </a:lnTo>
                  <a:lnTo>
                    <a:pt x="1134" y="108"/>
                  </a:lnTo>
                  <a:lnTo>
                    <a:pt x="1043" y="93"/>
                  </a:lnTo>
                  <a:lnTo>
                    <a:pt x="991" y="150"/>
                  </a:lnTo>
                  <a:lnTo>
                    <a:pt x="924" y="143"/>
                  </a:lnTo>
                  <a:lnTo>
                    <a:pt x="948" y="258"/>
                  </a:lnTo>
                  <a:lnTo>
                    <a:pt x="888" y="273"/>
                  </a:lnTo>
                  <a:lnTo>
                    <a:pt x="859" y="375"/>
                  </a:lnTo>
                  <a:lnTo>
                    <a:pt x="924" y="470"/>
                  </a:lnTo>
                  <a:lnTo>
                    <a:pt x="909" y="513"/>
                  </a:lnTo>
                  <a:lnTo>
                    <a:pt x="733" y="330"/>
                  </a:lnTo>
                  <a:lnTo>
                    <a:pt x="703" y="332"/>
                  </a:lnTo>
                  <a:lnTo>
                    <a:pt x="669" y="357"/>
                  </a:lnTo>
                  <a:lnTo>
                    <a:pt x="667" y="432"/>
                  </a:lnTo>
                  <a:lnTo>
                    <a:pt x="604" y="470"/>
                  </a:lnTo>
                  <a:lnTo>
                    <a:pt x="646" y="536"/>
                  </a:lnTo>
                  <a:lnTo>
                    <a:pt x="631" y="585"/>
                  </a:lnTo>
                  <a:lnTo>
                    <a:pt x="556" y="524"/>
                  </a:lnTo>
                  <a:lnTo>
                    <a:pt x="435" y="614"/>
                  </a:lnTo>
                  <a:lnTo>
                    <a:pt x="367" y="663"/>
                  </a:lnTo>
                  <a:lnTo>
                    <a:pt x="324" y="723"/>
                  </a:lnTo>
                  <a:lnTo>
                    <a:pt x="340" y="818"/>
                  </a:lnTo>
                  <a:lnTo>
                    <a:pt x="430" y="747"/>
                  </a:lnTo>
                  <a:lnTo>
                    <a:pt x="460" y="797"/>
                  </a:lnTo>
                  <a:lnTo>
                    <a:pt x="400" y="857"/>
                  </a:lnTo>
                  <a:lnTo>
                    <a:pt x="478" y="921"/>
                  </a:lnTo>
                  <a:lnTo>
                    <a:pt x="438" y="959"/>
                  </a:lnTo>
                  <a:lnTo>
                    <a:pt x="447" y="1031"/>
                  </a:lnTo>
                  <a:lnTo>
                    <a:pt x="520" y="1058"/>
                  </a:lnTo>
                  <a:lnTo>
                    <a:pt x="507" y="1127"/>
                  </a:lnTo>
                  <a:lnTo>
                    <a:pt x="610" y="1194"/>
                  </a:lnTo>
                  <a:lnTo>
                    <a:pt x="676" y="1203"/>
                  </a:lnTo>
                  <a:lnTo>
                    <a:pt x="763" y="1263"/>
                  </a:lnTo>
                  <a:lnTo>
                    <a:pt x="852" y="1223"/>
                  </a:lnTo>
                  <a:lnTo>
                    <a:pt x="1000" y="1203"/>
                  </a:lnTo>
                  <a:lnTo>
                    <a:pt x="1053" y="1161"/>
                  </a:lnTo>
                  <a:lnTo>
                    <a:pt x="1123" y="1092"/>
                  </a:lnTo>
                  <a:lnTo>
                    <a:pt x="1180" y="1103"/>
                  </a:lnTo>
                  <a:lnTo>
                    <a:pt x="1099" y="1184"/>
                  </a:lnTo>
                  <a:lnTo>
                    <a:pt x="1021" y="1265"/>
                  </a:lnTo>
                  <a:lnTo>
                    <a:pt x="894" y="1316"/>
                  </a:lnTo>
                  <a:lnTo>
                    <a:pt x="816" y="1317"/>
                  </a:lnTo>
                  <a:lnTo>
                    <a:pt x="631" y="1292"/>
                  </a:lnTo>
                  <a:lnTo>
                    <a:pt x="544" y="1227"/>
                  </a:lnTo>
                  <a:lnTo>
                    <a:pt x="466" y="1233"/>
                  </a:lnTo>
                  <a:lnTo>
                    <a:pt x="421" y="1155"/>
                  </a:lnTo>
                  <a:lnTo>
                    <a:pt x="375" y="1043"/>
                  </a:lnTo>
                  <a:lnTo>
                    <a:pt x="370" y="950"/>
                  </a:lnTo>
                  <a:lnTo>
                    <a:pt x="307" y="911"/>
                  </a:lnTo>
                  <a:lnTo>
                    <a:pt x="271" y="867"/>
                  </a:lnTo>
                  <a:lnTo>
                    <a:pt x="186" y="869"/>
                  </a:lnTo>
                  <a:lnTo>
                    <a:pt x="153" y="902"/>
                  </a:lnTo>
                  <a:lnTo>
                    <a:pt x="136" y="974"/>
                  </a:lnTo>
                  <a:lnTo>
                    <a:pt x="216" y="1017"/>
                  </a:lnTo>
                  <a:lnTo>
                    <a:pt x="145" y="1034"/>
                  </a:lnTo>
                  <a:lnTo>
                    <a:pt x="112" y="1152"/>
                  </a:lnTo>
                  <a:lnTo>
                    <a:pt x="85" y="1202"/>
                  </a:lnTo>
                  <a:lnTo>
                    <a:pt x="60" y="1362"/>
                  </a:lnTo>
                  <a:lnTo>
                    <a:pt x="61" y="1463"/>
                  </a:lnTo>
                  <a:lnTo>
                    <a:pt x="130" y="1561"/>
                  </a:lnTo>
                  <a:lnTo>
                    <a:pt x="100" y="1618"/>
                  </a:lnTo>
                  <a:lnTo>
                    <a:pt x="181" y="1680"/>
                  </a:lnTo>
                  <a:lnTo>
                    <a:pt x="265" y="1624"/>
                  </a:lnTo>
                  <a:lnTo>
                    <a:pt x="315" y="1671"/>
                  </a:lnTo>
                  <a:lnTo>
                    <a:pt x="234" y="1748"/>
                  </a:lnTo>
                  <a:lnTo>
                    <a:pt x="190" y="1809"/>
                  </a:lnTo>
                  <a:lnTo>
                    <a:pt x="207" y="1896"/>
                  </a:lnTo>
                  <a:lnTo>
                    <a:pt x="297" y="1934"/>
                  </a:lnTo>
                  <a:lnTo>
                    <a:pt x="244" y="1977"/>
                  </a:lnTo>
                  <a:lnTo>
                    <a:pt x="408" y="2088"/>
                  </a:lnTo>
                  <a:lnTo>
                    <a:pt x="483" y="2041"/>
                  </a:lnTo>
                  <a:lnTo>
                    <a:pt x="520" y="2085"/>
                  </a:lnTo>
                  <a:lnTo>
                    <a:pt x="568" y="2034"/>
                  </a:lnTo>
                  <a:lnTo>
                    <a:pt x="628" y="2085"/>
                  </a:lnTo>
                  <a:lnTo>
                    <a:pt x="700" y="2100"/>
                  </a:lnTo>
                  <a:lnTo>
                    <a:pt x="754" y="2167"/>
                  </a:lnTo>
                  <a:lnTo>
                    <a:pt x="715" y="2203"/>
                  </a:lnTo>
                  <a:lnTo>
                    <a:pt x="643" y="2148"/>
                  </a:lnTo>
                  <a:lnTo>
                    <a:pt x="577" y="2176"/>
                  </a:lnTo>
                  <a:lnTo>
                    <a:pt x="556" y="2239"/>
                  </a:lnTo>
                  <a:lnTo>
                    <a:pt x="579" y="2313"/>
                  </a:lnTo>
                  <a:lnTo>
                    <a:pt x="634" y="2350"/>
                  </a:lnTo>
                  <a:lnTo>
                    <a:pt x="625" y="2380"/>
                  </a:lnTo>
                  <a:lnTo>
                    <a:pt x="559" y="2383"/>
                  </a:lnTo>
                  <a:lnTo>
                    <a:pt x="475" y="2452"/>
                  </a:lnTo>
                  <a:lnTo>
                    <a:pt x="408" y="2502"/>
                  </a:lnTo>
                  <a:lnTo>
                    <a:pt x="295" y="2539"/>
                  </a:lnTo>
                  <a:lnTo>
                    <a:pt x="201" y="2443"/>
                  </a:lnTo>
                  <a:lnTo>
                    <a:pt x="136" y="2397"/>
                  </a:lnTo>
                  <a:lnTo>
                    <a:pt x="37" y="2401"/>
                  </a:lnTo>
                  <a:lnTo>
                    <a:pt x="0" y="2451"/>
                  </a:lnTo>
                  <a:lnTo>
                    <a:pt x="43" y="2557"/>
                  </a:lnTo>
                  <a:lnTo>
                    <a:pt x="139" y="2662"/>
                  </a:lnTo>
                  <a:lnTo>
                    <a:pt x="198" y="2664"/>
                  </a:lnTo>
                  <a:lnTo>
                    <a:pt x="227" y="2633"/>
                  </a:lnTo>
                  <a:lnTo>
                    <a:pt x="277" y="2667"/>
                  </a:lnTo>
                  <a:lnTo>
                    <a:pt x="300" y="2761"/>
                  </a:lnTo>
                  <a:lnTo>
                    <a:pt x="328" y="2811"/>
                  </a:lnTo>
                  <a:lnTo>
                    <a:pt x="292" y="2851"/>
                  </a:lnTo>
                  <a:lnTo>
                    <a:pt x="289" y="2922"/>
                  </a:lnTo>
                  <a:lnTo>
                    <a:pt x="339" y="2974"/>
                  </a:lnTo>
                  <a:lnTo>
                    <a:pt x="319" y="3028"/>
                  </a:lnTo>
                  <a:lnTo>
                    <a:pt x="358" y="3069"/>
                  </a:lnTo>
                  <a:lnTo>
                    <a:pt x="409" y="3067"/>
                  </a:lnTo>
                  <a:lnTo>
                    <a:pt x="529" y="3078"/>
                  </a:lnTo>
                  <a:lnTo>
                    <a:pt x="574" y="3126"/>
                  </a:lnTo>
                  <a:lnTo>
                    <a:pt x="700" y="3097"/>
                  </a:lnTo>
                  <a:lnTo>
                    <a:pt x="856" y="3090"/>
                  </a:lnTo>
                  <a:lnTo>
                    <a:pt x="895" y="3058"/>
                  </a:lnTo>
                  <a:lnTo>
                    <a:pt x="973" y="3114"/>
                  </a:lnTo>
                  <a:lnTo>
                    <a:pt x="1098" y="3069"/>
                  </a:lnTo>
                  <a:lnTo>
                    <a:pt x="1144" y="3006"/>
                  </a:lnTo>
                  <a:lnTo>
                    <a:pt x="1159" y="2926"/>
                  </a:lnTo>
                  <a:lnTo>
                    <a:pt x="1131" y="2841"/>
                  </a:lnTo>
                  <a:lnTo>
                    <a:pt x="1089" y="2769"/>
                  </a:lnTo>
                  <a:lnTo>
                    <a:pt x="987" y="2736"/>
                  </a:lnTo>
                  <a:lnTo>
                    <a:pt x="802" y="2767"/>
                  </a:lnTo>
                  <a:lnTo>
                    <a:pt x="681" y="2856"/>
                  </a:lnTo>
                  <a:lnTo>
                    <a:pt x="628" y="2791"/>
                  </a:lnTo>
                  <a:lnTo>
                    <a:pt x="591" y="2826"/>
                  </a:lnTo>
                  <a:lnTo>
                    <a:pt x="520" y="2788"/>
                  </a:lnTo>
                  <a:lnTo>
                    <a:pt x="453" y="2723"/>
                  </a:lnTo>
                  <a:lnTo>
                    <a:pt x="544" y="2587"/>
                  </a:lnTo>
                  <a:lnTo>
                    <a:pt x="600" y="2626"/>
                  </a:lnTo>
                  <a:lnTo>
                    <a:pt x="645" y="2581"/>
                  </a:lnTo>
                  <a:lnTo>
                    <a:pt x="756" y="2659"/>
                  </a:lnTo>
                  <a:lnTo>
                    <a:pt x="802" y="2656"/>
                  </a:lnTo>
                  <a:lnTo>
                    <a:pt x="816" y="2607"/>
                  </a:lnTo>
                  <a:lnTo>
                    <a:pt x="862" y="2587"/>
                  </a:lnTo>
                  <a:lnTo>
                    <a:pt x="928" y="2620"/>
                  </a:lnTo>
                  <a:lnTo>
                    <a:pt x="985" y="2598"/>
                  </a:lnTo>
                  <a:lnTo>
                    <a:pt x="1026" y="2602"/>
                  </a:lnTo>
                  <a:lnTo>
                    <a:pt x="1048" y="2683"/>
                  </a:lnTo>
                  <a:lnTo>
                    <a:pt x="1101" y="2653"/>
                  </a:lnTo>
                  <a:lnTo>
                    <a:pt x="1120" y="2671"/>
                  </a:lnTo>
                  <a:lnTo>
                    <a:pt x="1095" y="2728"/>
                  </a:lnTo>
                  <a:lnTo>
                    <a:pt x="1149" y="2767"/>
                  </a:lnTo>
                  <a:lnTo>
                    <a:pt x="1203" y="2712"/>
                  </a:lnTo>
                  <a:lnTo>
                    <a:pt x="1201" y="2663"/>
                  </a:lnTo>
                  <a:lnTo>
                    <a:pt x="1168" y="262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8" name="Freeform 174">
              <a:extLst>
                <a:ext uri="{FF2B5EF4-FFF2-40B4-BE49-F238E27FC236}">
                  <a16:creationId xmlns:a16="http://schemas.microsoft.com/office/drawing/2014/main" id="{2E0509C8-5DDC-E599-25DF-85F2C9682C3E}"/>
                </a:ext>
              </a:extLst>
            </p:cNvPr>
            <p:cNvSpPr>
              <a:spLocks/>
            </p:cNvSpPr>
            <p:nvPr/>
          </p:nvSpPr>
          <p:spPr bwMode="auto">
            <a:xfrm>
              <a:off x="1450038" y="870487"/>
              <a:ext cx="315983" cy="269658"/>
            </a:xfrm>
            <a:custGeom>
              <a:avLst/>
              <a:gdLst>
                <a:gd name="T0" fmla="*/ 2147483647 w 824"/>
                <a:gd name="T1" fmla="*/ 2147483647 h 668"/>
                <a:gd name="T2" fmla="*/ 2147483647 w 824"/>
                <a:gd name="T3" fmla="*/ 2147483647 h 668"/>
                <a:gd name="T4" fmla="*/ 2147483647 w 824"/>
                <a:gd name="T5" fmla="*/ 2147483647 h 668"/>
                <a:gd name="T6" fmla="*/ 2147483647 w 824"/>
                <a:gd name="T7" fmla="*/ 2147483647 h 668"/>
                <a:gd name="T8" fmla="*/ 2147483647 w 824"/>
                <a:gd name="T9" fmla="*/ 2147483647 h 668"/>
                <a:gd name="T10" fmla="*/ 2147483647 w 824"/>
                <a:gd name="T11" fmla="*/ 2147483647 h 668"/>
                <a:gd name="T12" fmla="*/ 2147483647 w 824"/>
                <a:gd name="T13" fmla="*/ 2147483647 h 668"/>
                <a:gd name="T14" fmla="*/ 2147483647 w 824"/>
                <a:gd name="T15" fmla="*/ 2147483647 h 668"/>
                <a:gd name="T16" fmla="*/ 0 w 824"/>
                <a:gd name="T17" fmla="*/ 2147483647 h 668"/>
                <a:gd name="T18" fmla="*/ 2147483647 w 824"/>
                <a:gd name="T19" fmla="*/ 2147483647 h 668"/>
                <a:gd name="T20" fmla="*/ 2147483647 w 824"/>
                <a:gd name="T21" fmla="*/ 2147483647 h 668"/>
                <a:gd name="T22" fmla="*/ 2147483647 w 824"/>
                <a:gd name="T23" fmla="*/ 2147483647 h 668"/>
                <a:gd name="T24" fmla="*/ 2147483647 w 824"/>
                <a:gd name="T25" fmla="*/ 2147483647 h 668"/>
                <a:gd name="T26" fmla="*/ 2147483647 w 824"/>
                <a:gd name="T27" fmla="*/ 2147483647 h 668"/>
                <a:gd name="T28" fmla="*/ 2147483647 w 824"/>
                <a:gd name="T29" fmla="*/ 2147483647 h 668"/>
                <a:gd name="T30" fmla="*/ 2147483647 w 824"/>
                <a:gd name="T31" fmla="*/ 2147483647 h 668"/>
                <a:gd name="T32" fmla="*/ 2147483647 w 824"/>
                <a:gd name="T33" fmla="*/ 2147483647 h 668"/>
                <a:gd name="T34" fmla="*/ 2147483647 w 824"/>
                <a:gd name="T35" fmla="*/ 2147483647 h 668"/>
                <a:gd name="T36" fmla="*/ 2147483647 w 824"/>
                <a:gd name="T37" fmla="*/ 2147483647 h 668"/>
                <a:gd name="T38" fmla="*/ 2147483647 w 824"/>
                <a:gd name="T39" fmla="*/ 2147483647 h 668"/>
                <a:gd name="T40" fmla="*/ 2147483647 w 824"/>
                <a:gd name="T41" fmla="*/ 2147483647 h 668"/>
                <a:gd name="T42" fmla="*/ 2147483647 w 824"/>
                <a:gd name="T43" fmla="*/ 2147483647 h 668"/>
                <a:gd name="T44" fmla="*/ 2147483647 w 824"/>
                <a:gd name="T45" fmla="*/ 2147483647 h 668"/>
                <a:gd name="T46" fmla="*/ 2147483647 w 824"/>
                <a:gd name="T47" fmla="*/ 0 h 668"/>
                <a:gd name="T48" fmla="*/ 2147483647 w 824"/>
                <a:gd name="T49" fmla="*/ 2147483647 h 668"/>
                <a:gd name="T50" fmla="*/ 2147483647 w 824"/>
                <a:gd name="T51" fmla="*/ 2147483647 h 668"/>
                <a:gd name="T52" fmla="*/ 2147483647 w 824"/>
                <a:gd name="T53" fmla="*/ 2147483647 h 668"/>
                <a:gd name="T54" fmla="*/ 2147483647 w 824"/>
                <a:gd name="T55" fmla="*/ 2147483647 h 668"/>
                <a:gd name="T56" fmla="*/ 2147483647 w 824"/>
                <a:gd name="T57" fmla="*/ 2147483647 h 668"/>
                <a:gd name="T58" fmla="*/ 2147483647 w 824"/>
                <a:gd name="T59" fmla="*/ 2147483647 h 668"/>
                <a:gd name="T60" fmla="*/ 2147483647 w 824"/>
                <a:gd name="T61" fmla="*/ 2147483647 h 668"/>
                <a:gd name="T62" fmla="*/ 2147483647 w 824"/>
                <a:gd name="T63" fmla="*/ 2147483647 h 668"/>
                <a:gd name="T64" fmla="*/ 2147483647 w 824"/>
                <a:gd name="T65" fmla="*/ 2147483647 h 668"/>
                <a:gd name="T66" fmla="*/ 2147483647 w 824"/>
                <a:gd name="T67" fmla="*/ 2147483647 h 668"/>
                <a:gd name="T68" fmla="*/ 2147483647 w 824"/>
                <a:gd name="T69" fmla="*/ 2147483647 h 668"/>
                <a:gd name="T70" fmla="*/ 2147483647 w 824"/>
                <a:gd name="T71" fmla="*/ 2147483647 h 668"/>
                <a:gd name="T72" fmla="*/ 2147483647 w 824"/>
                <a:gd name="T73" fmla="*/ 2147483647 h 668"/>
                <a:gd name="T74" fmla="*/ 2147483647 w 824"/>
                <a:gd name="T75" fmla="*/ 2147483647 h 6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24"/>
                <a:gd name="T115" fmla="*/ 0 h 668"/>
                <a:gd name="T116" fmla="*/ 824 w 824"/>
                <a:gd name="T117" fmla="*/ 668 h 6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24" h="668">
                  <a:moveTo>
                    <a:pt x="273" y="665"/>
                  </a:moveTo>
                  <a:lnTo>
                    <a:pt x="215" y="581"/>
                  </a:lnTo>
                  <a:lnTo>
                    <a:pt x="296" y="551"/>
                  </a:lnTo>
                  <a:lnTo>
                    <a:pt x="356" y="524"/>
                  </a:lnTo>
                  <a:lnTo>
                    <a:pt x="326" y="482"/>
                  </a:lnTo>
                  <a:lnTo>
                    <a:pt x="270" y="491"/>
                  </a:lnTo>
                  <a:lnTo>
                    <a:pt x="167" y="546"/>
                  </a:lnTo>
                  <a:lnTo>
                    <a:pt x="109" y="533"/>
                  </a:lnTo>
                  <a:lnTo>
                    <a:pt x="0" y="432"/>
                  </a:lnTo>
                  <a:lnTo>
                    <a:pt x="42" y="375"/>
                  </a:lnTo>
                  <a:lnTo>
                    <a:pt x="41" y="317"/>
                  </a:lnTo>
                  <a:lnTo>
                    <a:pt x="109" y="170"/>
                  </a:lnTo>
                  <a:lnTo>
                    <a:pt x="200" y="80"/>
                  </a:lnTo>
                  <a:lnTo>
                    <a:pt x="239" y="147"/>
                  </a:lnTo>
                  <a:lnTo>
                    <a:pt x="299" y="179"/>
                  </a:lnTo>
                  <a:lnTo>
                    <a:pt x="408" y="297"/>
                  </a:lnTo>
                  <a:lnTo>
                    <a:pt x="441" y="377"/>
                  </a:lnTo>
                  <a:lnTo>
                    <a:pt x="572" y="374"/>
                  </a:lnTo>
                  <a:lnTo>
                    <a:pt x="534" y="275"/>
                  </a:lnTo>
                  <a:lnTo>
                    <a:pt x="546" y="218"/>
                  </a:lnTo>
                  <a:lnTo>
                    <a:pt x="471" y="132"/>
                  </a:lnTo>
                  <a:lnTo>
                    <a:pt x="516" y="99"/>
                  </a:lnTo>
                  <a:lnTo>
                    <a:pt x="531" y="38"/>
                  </a:lnTo>
                  <a:lnTo>
                    <a:pt x="593" y="0"/>
                  </a:lnTo>
                  <a:lnTo>
                    <a:pt x="650" y="62"/>
                  </a:lnTo>
                  <a:lnTo>
                    <a:pt x="633" y="119"/>
                  </a:lnTo>
                  <a:lnTo>
                    <a:pt x="653" y="194"/>
                  </a:lnTo>
                  <a:lnTo>
                    <a:pt x="678" y="273"/>
                  </a:lnTo>
                  <a:lnTo>
                    <a:pt x="771" y="228"/>
                  </a:lnTo>
                  <a:lnTo>
                    <a:pt x="824" y="279"/>
                  </a:lnTo>
                  <a:lnTo>
                    <a:pt x="821" y="353"/>
                  </a:lnTo>
                  <a:lnTo>
                    <a:pt x="788" y="521"/>
                  </a:lnTo>
                  <a:lnTo>
                    <a:pt x="726" y="555"/>
                  </a:lnTo>
                  <a:lnTo>
                    <a:pt x="641" y="548"/>
                  </a:lnTo>
                  <a:lnTo>
                    <a:pt x="576" y="515"/>
                  </a:lnTo>
                  <a:lnTo>
                    <a:pt x="456" y="597"/>
                  </a:lnTo>
                  <a:lnTo>
                    <a:pt x="371" y="668"/>
                  </a:lnTo>
                  <a:lnTo>
                    <a:pt x="273" y="66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79" name="Freeform 175">
              <a:extLst>
                <a:ext uri="{FF2B5EF4-FFF2-40B4-BE49-F238E27FC236}">
                  <a16:creationId xmlns:a16="http://schemas.microsoft.com/office/drawing/2014/main" id="{35BE498A-EBE8-473A-26A7-5F13AA28B400}"/>
                </a:ext>
              </a:extLst>
            </p:cNvPr>
            <p:cNvSpPr>
              <a:spLocks/>
            </p:cNvSpPr>
            <p:nvPr/>
          </p:nvSpPr>
          <p:spPr bwMode="auto">
            <a:xfrm>
              <a:off x="1766021" y="540906"/>
              <a:ext cx="181521" cy="232781"/>
            </a:xfrm>
            <a:custGeom>
              <a:avLst/>
              <a:gdLst>
                <a:gd name="T0" fmla="*/ 57 w 762000"/>
                <a:gd name="T1" fmla="*/ 139 h 935038"/>
                <a:gd name="T2" fmla="*/ 47 w 762000"/>
                <a:gd name="T3" fmla="*/ 127 h 935038"/>
                <a:gd name="T4" fmla="*/ 60 w 762000"/>
                <a:gd name="T5" fmla="*/ 120 h 935038"/>
                <a:gd name="T6" fmla="*/ 77 w 762000"/>
                <a:gd name="T7" fmla="*/ 117 h 935038"/>
                <a:gd name="T8" fmla="*/ 74 w 762000"/>
                <a:gd name="T9" fmla="*/ 106 h 935038"/>
                <a:gd name="T10" fmla="*/ 62 w 762000"/>
                <a:gd name="T11" fmla="*/ 105 h 935038"/>
                <a:gd name="T12" fmla="*/ 45 w 762000"/>
                <a:gd name="T13" fmla="*/ 110 h 935038"/>
                <a:gd name="T14" fmla="*/ 32 w 762000"/>
                <a:gd name="T15" fmla="*/ 97 h 935038"/>
                <a:gd name="T16" fmla="*/ 20 w 762000"/>
                <a:gd name="T17" fmla="*/ 103 h 935038"/>
                <a:gd name="T18" fmla="*/ 19 w 762000"/>
                <a:gd name="T19" fmla="*/ 93 h 935038"/>
                <a:gd name="T20" fmla="*/ 14 w 762000"/>
                <a:gd name="T21" fmla="*/ 72 h 935038"/>
                <a:gd name="T22" fmla="*/ 28 w 762000"/>
                <a:gd name="T23" fmla="*/ 69 h 935038"/>
                <a:gd name="T24" fmla="*/ 24 w 762000"/>
                <a:gd name="T25" fmla="*/ 54 h 935038"/>
                <a:gd name="T26" fmla="*/ 15 w 762000"/>
                <a:gd name="T27" fmla="*/ 50 h 935038"/>
                <a:gd name="T28" fmla="*/ 0 w 762000"/>
                <a:gd name="T29" fmla="*/ 41 h 935038"/>
                <a:gd name="T30" fmla="*/ 8 w 762000"/>
                <a:gd name="T31" fmla="*/ 3 h 935038"/>
                <a:gd name="T32" fmla="*/ 16 w 762000"/>
                <a:gd name="T33" fmla="*/ 7 h 935038"/>
                <a:gd name="T34" fmla="*/ 27 w 762000"/>
                <a:gd name="T35" fmla="*/ 0 h 935038"/>
                <a:gd name="T36" fmla="*/ 48 w 762000"/>
                <a:gd name="T37" fmla="*/ 9 h 935038"/>
                <a:gd name="T38" fmla="*/ 45 w 762000"/>
                <a:gd name="T39" fmla="*/ 35 h 935038"/>
                <a:gd name="T40" fmla="*/ 63 w 762000"/>
                <a:gd name="T41" fmla="*/ 29 h 935038"/>
                <a:gd name="T42" fmla="*/ 72 w 762000"/>
                <a:gd name="T43" fmla="*/ 49 h 935038"/>
                <a:gd name="T44" fmla="*/ 96 w 762000"/>
                <a:gd name="T45" fmla="*/ 55 h 935038"/>
                <a:gd name="T46" fmla="*/ 100 w 762000"/>
                <a:gd name="T47" fmla="*/ 76 h 935038"/>
                <a:gd name="T48" fmla="*/ 100 w 762000"/>
                <a:gd name="T49" fmla="*/ 98 h 935038"/>
                <a:gd name="T50" fmla="*/ 104 w 762000"/>
                <a:gd name="T51" fmla="*/ 121 h 935038"/>
                <a:gd name="T52" fmla="*/ 87 w 762000"/>
                <a:gd name="T53" fmla="*/ 130 h 935038"/>
                <a:gd name="T54" fmla="*/ 72 w 762000"/>
                <a:gd name="T55" fmla="*/ 137 h 935038"/>
                <a:gd name="T56" fmla="*/ 57 w 762000"/>
                <a:gd name="T57" fmla="*/ 139 h 93503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62000"/>
                <a:gd name="T88" fmla="*/ 0 h 935038"/>
                <a:gd name="T89" fmla="*/ 762000 w 762000"/>
                <a:gd name="T90" fmla="*/ 935038 h 93503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62000" h="935038">
                  <a:moveTo>
                    <a:pt x="413288" y="935038"/>
                  </a:moveTo>
                  <a:lnTo>
                    <a:pt x="340640" y="855495"/>
                  </a:lnTo>
                  <a:lnTo>
                    <a:pt x="435890" y="808418"/>
                  </a:lnTo>
                  <a:lnTo>
                    <a:pt x="561814" y="792185"/>
                  </a:lnTo>
                  <a:lnTo>
                    <a:pt x="544055" y="715888"/>
                  </a:lnTo>
                  <a:lnTo>
                    <a:pt x="455263" y="706148"/>
                  </a:lnTo>
                  <a:lnTo>
                    <a:pt x="330953" y="740238"/>
                  </a:lnTo>
                  <a:lnTo>
                    <a:pt x="237318" y="652579"/>
                  </a:lnTo>
                  <a:lnTo>
                    <a:pt x="145297" y="696409"/>
                  </a:lnTo>
                  <a:lnTo>
                    <a:pt x="135610" y="628229"/>
                  </a:lnTo>
                  <a:lnTo>
                    <a:pt x="103322" y="482129"/>
                  </a:lnTo>
                  <a:lnTo>
                    <a:pt x="205030" y="462649"/>
                  </a:lnTo>
                  <a:lnTo>
                    <a:pt x="179199" y="365249"/>
                  </a:lnTo>
                  <a:lnTo>
                    <a:pt x="111394" y="334406"/>
                  </a:lnTo>
                  <a:lnTo>
                    <a:pt x="0" y="277589"/>
                  </a:lnTo>
                  <a:lnTo>
                    <a:pt x="59733" y="22727"/>
                  </a:lnTo>
                  <a:lnTo>
                    <a:pt x="116237" y="47077"/>
                  </a:lnTo>
                  <a:lnTo>
                    <a:pt x="200186" y="0"/>
                  </a:lnTo>
                  <a:lnTo>
                    <a:pt x="348712" y="63310"/>
                  </a:lnTo>
                  <a:lnTo>
                    <a:pt x="329339" y="233760"/>
                  </a:lnTo>
                  <a:lnTo>
                    <a:pt x="461720" y="198046"/>
                  </a:lnTo>
                  <a:lnTo>
                    <a:pt x="529525" y="331159"/>
                  </a:lnTo>
                  <a:lnTo>
                    <a:pt x="698826" y="368550"/>
                  </a:lnTo>
                  <a:lnTo>
                    <a:pt x="727401" y="516188"/>
                  </a:lnTo>
                  <a:lnTo>
                    <a:pt x="728097" y="662319"/>
                  </a:lnTo>
                  <a:lnTo>
                    <a:pt x="762000" y="816535"/>
                  </a:lnTo>
                  <a:lnTo>
                    <a:pt x="636076" y="879845"/>
                  </a:lnTo>
                  <a:lnTo>
                    <a:pt x="529525" y="923675"/>
                  </a:lnTo>
                  <a:lnTo>
                    <a:pt x="413288" y="93503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0" name="Freeform 176">
              <a:extLst>
                <a:ext uri="{FF2B5EF4-FFF2-40B4-BE49-F238E27FC236}">
                  <a16:creationId xmlns:a16="http://schemas.microsoft.com/office/drawing/2014/main" id="{4C766095-633C-6BCB-4D50-4966948AFDD7}"/>
                </a:ext>
              </a:extLst>
            </p:cNvPr>
            <p:cNvSpPr>
              <a:spLocks/>
            </p:cNvSpPr>
            <p:nvPr/>
          </p:nvSpPr>
          <p:spPr bwMode="auto">
            <a:xfrm>
              <a:off x="1963229" y="612353"/>
              <a:ext cx="134460" cy="200515"/>
            </a:xfrm>
            <a:custGeom>
              <a:avLst/>
              <a:gdLst>
                <a:gd name="T0" fmla="*/ 2147483647 w 344"/>
                <a:gd name="T1" fmla="*/ 2147483647 h 500"/>
                <a:gd name="T2" fmla="*/ 2147483647 w 344"/>
                <a:gd name="T3" fmla="*/ 2147483647 h 500"/>
                <a:gd name="T4" fmla="*/ 2147483647 w 344"/>
                <a:gd name="T5" fmla="*/ 2147483647 h 500"/>
                <a:gd name="T6" fmla="*/ 2147483647 w 344"/>
                <a:gd name="T7" fmla="*/ 2147483647 h 500"/>
                <a:gd name="T8" fmla="*/ 2147483647 w 344"/>
                <a:gd name="T9" fmla="*/ 2147483647 h 500"/>
                <a:gd name="T10" fmla="*/ 2147483647 w 344"/>
                <a:gd name="T11" fmla="*/ 2147483647 h 500"/>
                <a:gd name="T12" fmla="*/ 2147483647 w 344"/>
                <a:gd name="T13" fmla="*/ 2147483647 h 500"/>
                <a:gd name="T14" fmla="*/ 2147483647 w 344"/>
                <a:gd name="T15" fmla="*/ 2147483647 h 500"/>
                <a:gd name="T16" fmla="*/ 2147483647 w 344"/>
                <a:gd name="T17" fmla="*/ 2147483647 h 500"/>
                <a:gd name="T18" fmla="*/ 0 w 344"/>
                <a:gd name="T19" fmla="*/ 2147483647 h 500"/>
                <a:gd name="T20" fmla="*/ 2147483647 w 344"/>
                <a:gd name="T21" fmla="*/ 2147483647 h 500"/>
                <a:gd name="T22" fmla="*/ 2147483647 w 344"/>
                <a:gd name="T23" fmla="*/ 0 h 500"/>
                <a:gd name="T24" fmla="*/ 2147483647 w 344"/>
                <a:gd name="T25" fmla="*/ 2147483647 h 500"/>
                <a:gd name="T26" fmla="*/ 2147483647 w 344"/>
                <a:gd name="T27" fmla="*/ 2147483647 h 500"/>
                <a:gd name="T28" fmla="*/ 2147483647 w 344"/>
                <a:gd name="T29" fmla="*/ 2147483647 h 500"/>
                <a:gd name="T30" fmla="*/ 2147483647 w 344"/>
                <a:gd name="T31" fmla="*/ 2147483647 h 500"/>
                <a:gd name="T32" fmla="*/ 2147483647 w 344"/>
                <a:gd name="T33" fmla="*/ 2147483647 h 500"/>
                <a:gd name="T34" fmla="*/ 2147483647 w 344"/>
                <a:gd name="T35" fmla="*/ 2147483647 h 500"/>
                <a:gd name="T36" fmla="*/ 2147483647 w 344"/>
                <a:gd name="T37" fmla="*/ 2147483647 h 5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4"/>
                <a:gd name="T58" fmla="*/ 0 h 500"/>
                <a:gd name="T59" fmla="*/ 344 w 344"/>
                <a:gd name="T60" fmla="*/ 500 h 5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4" h="500">
                  <a:moveTo>
                    <a:pt x="292" y="500"/>
                  </a:moveTo>
                  <a:lnTo>
                    <a:pt x="242" y="485"/>
                  </a:lnTo>
                  <a:lnTo>
                    <a:pt x="152" y="482"/>
                  </a:lnTo>
                  <a:lnTo>
                    <a:pt x="111" y="435"/>
                  </a:lnTo>
                  <a:lnTo>
                    <a:pt x="155" y="388"/>
                  </a:lnTo>
                  <a:lnTo>
                    <a:pt x="152" y="352"/>
                  </a:lnTo>
                  <a:lnTo>
                    <a:pt x="75" y="375"/>
                  </a:lnTo>
                  <a:lnTo>
                    <a:pt x="21" y="295"/>
                  </a:lnTo>
                  <a:lnTo>
                    <a:pt x="30" y="244"/>
                  </a:lnTo>
                  <a:lnTo>
                    <a:pt x="0" y="92"/>
                  </a:lnTo>
                  <a:lnTo>
                    <a:pt x="6" y="49"/>
                  </a:lnTo>
                  <a:lnTo>
                    <a:pt x="48" y="0"/>
                  </a:lnTo>
                  <a:lnTo>
                    <a:pt x="171" y="104"/>
                  </a:lnTo>
                  <a:lnTo>
                    <a:pt x="233" y="132"/>
                  </a:lnTo>
                  <a:lnTo>
                    <a:pt x="261" y="206"/>
                  </a:lnTo>
                  <a:lnTo>
                    <a:pt x="222" y="360"/>
                  </a:lnTo>
                  <a:lnTo>
                    <a:pt x="314" y="378"/>
                  </a:lnTo>
                  <a:lnTo>
                    <a:pt x="344" y="417"/>
                  </a:lnTo>
                  <a:lnTo>
                    <a:pt x="292" y="50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1" name="Freeform 177">
              <a:extLst>
                <a:ext uri="{FF2B5EF4-FFF2-40B4-BE49-F238E27FC236}">
                  <a16:creationId xmlns:a16="http://schemas.microsoft.com/office/drawing/2014/main" id="{68446946-1DD8-DC89-269D-7D64E6F332ED}"/>
                </a:ext>
              </a:extLst>
            </p:cNvPr>
            <p:cNvSpPr>
              <a:spLocks/>
            </p:cNvSpPr>
            <p:nvPr/>
          </p:nvSpPr>
          <p:spPr bwMode="auto">
            <a:xfrm>
              <a:off x="1804118" y="888925"/>
              <a:ext cx="197210" cy="202818"/>
            </a:xfrm>
            <a:custGeom>
              <a:avLst/>
              <a:gdLst>
                <a:gd name="T0" fmla="*/ 2147483647 w 507"/>
                <a:gd name="T1" fmla="*/ 2147483647 h 500"/>
                <a:gd name="T2" fmla="*/ 2147483647 w 507"/>
                <a:gd name="T3" fmla="*/ 2147483647 h 500"/>
                <a:gd name="T4" fmla="*/ 2147483647 w 507"/>
                <a:gd name="T5" fmla="*/ 2147483647 h 500"/>
                <a:gd name="T6" fmla="*/ 2147483647 w 507"/>
                <a:gd name="T7" fmla="*/ 2147483647 h 500"/>
                <a:gd name="T8" fmla="*/ 2147483647 w 507"/>
                <a:gd name="T9" fmla="*/ 2147483647 h 500"/>
                <a:gd name="T10" fmla="*/ 2147483647 w 507"/>
                <a:gd name="T11" fmla="*/ 2147483647 h 500"/>
                <a:gd name="T12" fmla="*/ 2147483647 w 507"/>
                <a:gd name="T13" fmla="*/ 2147483647 h 500"/>
                <a:gd name="T14" fmla="*/ 0 w 507"/>
                <a:gd name="T15" fmla="*/ 2147483647 h 500"/>
                <a:gd name="T16" fmla="*/ 2147483647 w 507"/>
                <a:gd name="T17" fmla="*/ 2147483647 h 500"/>
                <a:gd name="T18" fmla="*/ 2147483647 w 507"/>
                <a:gd name="T19" fmla="*/ 2147483647 h 500"/>
                <a:gd name="T20" fmla="*/ 2147483647 w 507"/>
                <a:gd name="T21" fmla="*/ 2147483647 h 500"/>
                <a:gd name="T22" fmla="*/ 2147483647 w 507"/>
                <a:gd name="T23" fmla="*/ 2147483647 h 500"/>
                <a:gd name="T24" fmla="*/ 2147483647 w 507"/>
                <a:gd name="T25" fmla="*/ 0 h 500"/>
                <a:gd name="T26" fmla="*/ 2147483647 w 507"/>
                <a:gd name="T27" fmla="*/ 2147483647 h 500"/>
                <a:gd name="T28" fmla="*/ 2147483647 w 507"/>
                <a:gd name="T29" fmla="*/ 0 h 500"/>
                <a:gd name="T30" fmla="*/ 2147483647 w 507"/>
                <a:gd name="T31" fmla="*/ 2147483647 h 500"/>
                <a:gd name="T32" fmla="*/ 2147483647 w 507"/>
                <a:gd name="T33" fmla="*/ 2147483647 h 500"/>
                <a:gd name="T34" fmla="*/ 2147483647 w 507"/>
                <a:gd name="T35" fmla="*/ 2147483647 h 500"/>
                <a:gd name="T36" fmla="*/ 2147483647 w 507"/>
                <a:gd name="T37" fmla="*/ 2147483647 h 500"/>
                <a:gd name="T38" fmla="*/ 2147483647 w 507"/>
                <a:gd name="T39" fmla="*/ 2147483647 h 500"/>
                <a:gd name="T40" fmla="*/ 2147483647 w 507"/>
                <a:gd name="T41" fmla="*/ 2147483647 h 5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7"/>
                <a:gd name="T64" fmla="*/ 0 h 500"/>
                <a:gd name="T65" fmla="*/ 507 w 507"/>
                <a:gd name="T66" fmla="*/ 500 h 5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7" h="500">
                  <a:moveTo>
                    <a:pt x="433" y="491"/>
                  </a:moveTo>
                  <a:lnTo>
                    <a:pt x="336" y="500"/>
                  </a:lnTo>
                  <a:lnTo>
                    <a:pt x="253" y="386"/>
                  </a:lnTo>
                  <a:lnTo>
                    <a:pt x="204" y="320"/>
                  </a:lnTo>
                  <a:lnTo>
                    <a:pt x="154" y="343"/>
                  </a:lnTo>
                  <a:lnTo>
                    <a:pt x="19" y="194"/>
                  </a:lnTo>
                  <a:lnTo>
                    <a:pt x="33" y="122"/>
                  </a:lnTo>
                  <a:lnTo>
                    <a:pt x="0" y="68"/>
                  </a:lnTo>
                  <a:lnTo>
                    <a:pt x="48" y="19"/>
                  </a:lnTo>
                  <a:lnTo>
                    <a:pt x="165" y="131"/>
                  </a:lnTo>
                  <a:lnTo>
                    <a:pt x="195" y="111"/>
                  </a:lnTo>
                  <a:lnTo>
                    <a:pt x="181" y="39"/>
                  </a:lnTo>
                  <a:lnTo>
                    <a:pt x="231" y="0"/>
                  </a:lnTo>
                  <a:lnTo>
                    <a:pt x="352" y="1"/>
                  </a:lnTo>
                  <a:lnTo>
                    <a:pt x="412" y="0"/>
                  </a:lnTo>
                  <a:lnTo>
                    <a:pt x="486" y="101"/>
                  </a:lnTo>
                  <a:lnTo>
                    <a:pt x="454" y="256"/>
                  </a:lnTo>
                  <a:lnTo>
                    <a:pt x="507" y="304"/>
                  </a:lnTo>
                  <a:lnTo>
                    <a:pt x="498" y="367"/>
                  </a:lnTo>
                  <a:lnTo>
                    <a:pt x="448" y="376"/>
                  </a:lnTo>
                  <a:lnTo>
                    <a:pt x="433" y="49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2" name="Freeform 178">
              <a:extLst>
                <a:ext uri="{FF2B5EF4-FFF2-40B4-BE49-F238E27FC236}">
                  <a16:creationId xmlns:a16="http://schemas.microsoft.com/office/drawing/2014/main" id="{15F3CAC2-3AA7-CCF4-E860-E0038233D4B2}"/>
                </a:ext>
              </a:extLst>
            </p:cNvPr>
            <p:cNvSpPr>
              <a:spLocks/>
            </p:cNvSpPr>
            <p:nvPr/>
          </p:nvSpPr>
          <p:spPr bwMode="auto">
            <a:xfrm>
              <a:off x="1342468" y="722981"/>
              <a:ext cx="347356" cy="271963"/>
            </a:xfrm>
            <a:custGeom>
              <a:avLst/>
              <a:gdLst>
                <a:gd name="T0" fmla="*/ 2147483647 w 905"/>
                <a:gd name="T1" fmla="*/ 2147483647 h 682"/>
                <a:gd name="T2" fmla="*/ 0 w 905"/>
                <a:gd name="T3" fmla="*/ 2147483647 h 682"/>
                <a:gd name="T4" fmla="*/ 2147483647 w 905"/>
                <a:gd name="T5" fmla="*/ 2147483647 h 682"/>
                <a:gd name="T6" fmla="*/ 2147483647 w 905"/>
                <a:gd name="T7" fmla="*/ 2147483647 h 682"/>
                <a:gd name="T8" fmla="*/ 2147483647 w 905"/>
                <a:gd name="T9" fmla="*/ 2147483647 h 682"/>
                <a:gd name="T10" fmla="*/ 2147483647 w 905"/>
                <a:gd name="T11" fmla="*/ 2147483647 h 682"/>
                <a:gd name="T12" fmla="*/ 2147483647 w 905"/>
                <a:gd name="T13" fmla="*/ 2147483647 h 682"/>
                <a:gd name="T14" fmla="*/ 2147483647 w 905"/>
                <a:gd name="T15" fmla="*/ 2147483647 h 682"/>
                <a:gd name="T16" fmla="*/ 2147483647 w 905"/>
                <a:gd name="T17" fmla="*/ 2147483647 h 682"/>
                <a:gd name="T18" fmla="*/ 2147483647 w 905"/>
                <a:gd name="T19" fmla="*/ 2147483647 h 682"/>
                <a:gd name="T20" fmla="*/ 2147483647 w 905"/>
                <a:gd name="T21" fmla="*/ 2147483647 h 682"/>
                <a:gd name="T22" fmla="*/ 2147483647 w 905"/>
                <a:gd name="T23" fmla="*/ 2147483647 h 682"/>
                <a:gd name="T24" fmla="*/ 2147483647 w 905"/>
                <a:gd name="T25" fmla="*/ 0 h 682"/>
                <a:gd name="T26" fmla="*/ 2147483647 w 905"/>
                <a:gd name="T27" fmla="*/ 2147483647 h 682"/>
                <a:gd name="T28" fmla="*/ 2147483647 w 905"/>
                <a:gd name="T29" fmla="*/ 2147483647 h 682"/>
                <a:gd name="T30" fmla="*/ 2147483647 w 905"/>
                <a:gd name="T31" fmla="*/ 2147483647 h 682"/>
                <a:gd name="T32" fmla="*/ 2147483647 w 905"/>
                <a:gd name="T33" fmla="*/ 2147483647 h 682"/>
                <a:gd name="T34" fmla="*/ 2147483647 w 905"/>
                <a:gd name="T35" fmla="*/ 2147483647 h 682"/>
                <a:gd name="T36" fmla="*/ 2147483647 w 905"/>
                <a:gd name="T37" fmla="*/ 2147483647 h 682"/>
                <a:gd name="T38" fmla="*/ 2147483647 w 905"/>
                <a:gd name="T39" fmla="*/ 2147483647 h 682"/>
                <a:gd name="T40" fmla="*/ 2147483647 w 905"/>
                <a:gd name="T41" fmla="*/ 2147483647 h 682"/>
                <a:gd name="T42" fmla="*/ 2147483647 w 905"/>
                <a:gd name="T43" fmla="*/ 2147483647 h 682"/>
                <a:gd name="T44" fmla="*/ 2147483647 w 905"/>
                <a:gd name="T45" fmla="*/ 2147483647 h 682"/>
                <a:gd name="T46" fmla="*/ 2147483647 w 905"/>
                <a:gd name="T47" fmla="*/ 2147483647 h 682"/>
                <a:gd name="T48" fmla="*/ 2147483647 w 905"/>
                <a:gd name="T49" fmla="*/ 2147483647 h 682"/>
                <a:gd name="T50" fmla="*/ 2147483647 w 905"/>
                <a:gd name="T51" fmla="*/ 2147483647 h 682"/>
                <a:gd name="T52" fmla="*/ 2147483647 w 905"/>
                <a:gd name="T53" fmla="*/ 2147483647 h 682"/>
                <a:gd name="T54" fmla="*/ 2147483647 w 905"/>
                <a:gd name="T55" fmla="*/ 2147483647 h 682"/>
                <a:gd name="T56" fmla="*/ 2147483647 w 905"/>
                <a:gd name="T57" fmla="*/ 2147483647 h 682"/>
                <a:gd name="T58" fmla="*/ 2147483647 w 905"/>
                <a:gd name="T59" fmla="*/ 2147483647 h 682"/>
                <a:gd name="T60" fmla="*/ 2147483647 w 905"/>
                <a:gd name="T61" fmla="*/ 2147483647 h 6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05"/>
                <a:gd name="T94" fmla="*/ 0 h 682"/>
                <a:gd name="T95" fmla="*/ 905 w 905"/>
                <a:gd name="T96" fmla="*/ 682 h 68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05" h="682">
                  <a:moveTo>
                    <a:pt x="136" y="682"/>
                  </a:moveTo>
                  <a:lnTo>
                    <a:pt x="0" y="591"/>
                  </a:lnTo>
                  <a:lnTo>
                    <a:pt x="76" y="496"/>
                  </a:lnTo>
                  <a:lnTo>
                    <a:pt x="301" y="223"/>
                  </a:lnTo>
                  <a:lnTo>
                    <a:pt x="362" y="240"/>
                  </a:lnTo>
                  <a:lnTo>
                    <a:pt x="509" y="114"/>
                  </a:lnTo>
                  <a:lnTo>
                    <a:pt x="497" y="66"/>
                  </a:lnTo>
                  <a:lnTo>
                    <a:pt x="517" y="22"/>
                  </a:lnTo>
                  <a:lnTo>
                    <a:pt x="547" y="10"/>
                  </a:lnTo>
                  <a:lnTo>
                    <a:pt x="637" y="84"/>
                  </a:lnTo>
                  <a:lnTo>
                    <a:pt x="695" y="39"/>
                  </a:lnTo>
                  <a:lnTo>
                    <a:pt x="745" y="10"/>
                  </a:lnTo>
                  <a:lnTo>
                    <a:pt x="824" y="0"/>
                  </a:lnTo>
                  <a:lnTo>
                    <a:pt x="905" y="19"/>
                  </a:lnTo>
                  <a:lnTo>
                    <a:pt x="892" y="70"/>
                  </a:lnTo>
                  <a:lnTo>
                    <a:pt x="824" y="109"/>
                  </a:lnTo>
                  <a:lnTo>
                    <a:pt x="869" y="156"/>
                  </a:lnTo>
                  <a:lnTo>
                    <a:pt x="830" y="213"/>
                  </a:lnTo>
                  <a:lnTo>
                    <a:pt x="776" y="253"/>
                  </a:lnTo>
                  <a:lnTo>
                    <a:pt x="710" y="249"/>
                  </a:lnTo>
                  <a:lnTo>
                    <a:pt x="649" y="222"/>
                  </a:lnTo>
                  <a:lnTo>
                    <a:pt x="593" y="154"/>
                  </a:lnTo>
                  <a:lnTo>
                    <a:pt x="529" y="144"/>
                  </a:lnTo>
                  <a:lnTo>
                    <a:pt x="479" y="192"/>
                  </a:lnTo>
                  <a:lnTo>
                    <a:pt x="473" y="237"/>
                  </a:lnTo>
                  <a:lnTo>
                    <a:pt x="509" y="276"/>
                  </a:lnTo>
                  <a:lnTo>
                    <a:pt x="453" y="319"/>
                  </a:lnTo>
                  <a:lnTo>
                    <a:pt x="464" y="430"/>
                  </a:lnTo>
                  <a:lnTo>
                    <a:pt x="403" y="510"/>
                  </a:lnTo>
                  <a:lnTo>
                    <a:pt x="293" y="549"/>
                  </a:lnTo>
                  <a:lnTo>
                    <a:pt x="136" y="68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3" name="Freeform 179">
              <a:extLst>
                <a:ext uri="{FF2B5EF4-FFF2-40B4-BE49-F238E27FC236}">
                  <a16:creationId xmlns:a16="http://schemas.microsoft.com/office/drawing/2014/main" id="{00B38F4B-3A25-DF22-C8DF-30FDC965ABD0}"/>
                </a:ext>
              </a:extLst>
            </p:cNvPr>
            <p:cNvSpPr>
              <a:spLocks/>
            </p:cNvSpPr>
            <p:nvPr/>
          </p:nvSpPr>
          <p:spPr bwMode="auto">
            <a:xfrm>
              <a:off x="1568811" y="640009"/>
              <a:ext cx="118772" cy="69143"/>
            </a:xfrm>
            <a:custGeom>
              <a:avLst/>
              <a:gdLst>
                <a:gd name="T0" fmla="*/ 2147483647 w 309"/>
                <a:gd name="T1" fmla="*/ 2147483647 h 172"/>
                <a:gd name="T2" fmla="*/ 2147483647 w 309"/>
                <a:gd name="T3" fmla="*/ 2147483647 h 172"/>
                <a:gd name="T4" fmla="*/ 2147483647 w 309"/>
                <a:gd name="T5" fmla="*/ 2147483647 h 172"/>
                <a:gd name="T6" fmla="*/ 0 w 309"/>
                <a:gd name="T7" fmla="*/ 2147483647 h 172"/>
                <a:gd name="T8" fmla="*/ 2147483647 w 309"/>
                <a:gd name="T9" fmla="*/ 2147483647 h 172"/>
                <a:gd name="T10" fmla="*/ 2147483647 w 309"/>
                <a:gd name="T11" fmla="*/ 2147483647 h 172"/>
                <a:gd name="T12" fmla="*/ 2147483647 w 309"/>
                <a:gd name="T13" fmla="*/ 0 h 172"/>
                <a:gd name="T14" fmla="*/ 2147483647 w 309"/>
                <a:gd name="T15" fmla="*/ 2147483647 h 172"/>
                <a:gd name="T16" fmla="*/ 2147483647 w 309"/>
                <a:gd name="T17" fmla="*/ 2147483647 h 172"/>
                <a:gd name="T18" fmla="*/ 2147483647 w 309"/>
                <a:gd name="T19" fmla="*/ 2147483647 h 172"/>
                <a:gd name="T20" fmla="*/ 2147483647 w 309"/>
                <a:gd name="T21" fmla="*/ 2147483647 h 1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9"/>
                <a:gd name="T34" fmla="*/ 0 h 172"/>
                <a:gd name="T35" fmla="*/ 309 w 309"/>
                <a:gd name="T36" fmla="*/ 172 h 1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9" h="172">
                  <a:moveTo>
                    <a:pt x="211" y="163"/>
                  </a:moveTo>
                  <a:lnTo>
                    <a:pt x="121" y="156"/>
                  </a:lnTo>
                  <a:lnTo>
                    <a:pt x="30" y="172"/>
                  </a:lnTo>
                  <a:lnTo>
                    <a:pt x="0" y="127"/>
                  </a:lnTo>
                  <a:lnTo>
                    <a:pt x="102" y="58"/>
                  </a:lnTo>
                  <a:lnTo>
                    <a:pt x="162" y="43"/>
                  </a:lnTo>
                  <a:lnTo>
                    <a:pt x="223" y="0"/>
                  </a:lnTo>
                  <a:lnTo>
                    <a:pt x="285" y="36"/>
                  </a:lnTo>
                  <a:lnTo>
                    <a:pt x="309" y="120"/>
                  </a:lnTo>
                  <a:lnTo>
                    <a:pt x="269" y="157"/>
                  </a:lnTo>
                  <a:lnTo>
                    <a:pt x="211" y="16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4" name="Freeform 180">
              <a:extLst>
                <a:ext uri="{FF2B5EF4-FFF2-40B4-BE49-F238E27FC236}">
                  <a16:creationId xmlns:a16="http://schemas.microsoft.com/office/drawing/2014/main" id="{592957F0-D35D-9C07-D561-BB30DE69E38C}"/>
                </a:ext>
              </a:extLst>
            </p:cNvPr>
            <p:cNvSpPr>
              <a:spLocks/>
            </p:cNvSpPr>
            <p:nvPr/>
          </p:nvSpPr>
          <p:spPr bwMode="auto">
            <a:xfrm>
              <a:off x="1264034" y="1098660"/>
              <a:ext cx="266679" cy="336496"/>
            </a:xfrm>
            <a:custGeom>
              <a:avLst/>
              <a:gdLst>
                <a:gd name="T0" fmla="*/ 2147483647 w 702"/>
                <a:gd name="T1" fmla="*/ 2147483647 h 770"/>
                <a:gd name="T2" fmla="*/ 2147483647 w 702"/>
                <a:gd name="T3" fmla="*/ 2147483647 h 770"/>
                <a:gd name="T4" fmla="*/ 2147483647 w 702"/>
                <a:gd name="T5" fmla="*/ 2147483647 h 770"/>
                <a:gd name="T6" fmla="*/ 2147483647 w 702"/>
                <a:gd name="T7" fmla="*/ 2147483647 h 770"/>
                <a:gd name="T8" fmla="*/ 0 w 702"/>
                <a:gd name="T9" fmla="*/ 2147483647 h 770"/>
                <a:gd name="T10" fmla="*/ 2147483647 w 702"/>
                <a:gd name="T11" fmla="*/ 2147483647 h 770"/>
                <a:gd name="T12" fmla="*/ 2147483647 w 702"/>
                <a:gd name="T13" fmla="*/ 2147483647 h 770"/>
                <a:gd name="T14" fmla="*/ 2147483647 w 702"/>
                <a:gd name="T15" fmla="*/ 2147483647 h 770"/>
                <a:gd name="T16" fmla="*/ 2147483647 w 702"/>
                <a:gd name="T17" fmla="*/ 2147483647 h 770"/>
                <a:gd name="T18" fmla="*/ 2147483647 w 702"/>
                <a:gd name="T19" fmla="*/ 2147483647 h 770"/>
                <a:gd name="T20" fmla="*/ 2147483647 w 702"/>
                <a:gd name="T21" fmla="*/ 2147483647 h 770"/>
                <a:gd name="T22" fmla="*/ 2147483647 w 702"/>
                <a:gd name="T23" fmla="*/ 2147483647 h 770"/>
                <a:gd name="T24" fmla="*/ 2147483647 w 702"/>
                <a:gd name="T25" fmla="*/ 2147483647 h 770"/>
                <a:gd name="T26" fmla="*/ 2147483647 w 702"/>
                <a:gd name="T27" fmla="*/ 0 h 770"/>
                <a:gd name="T28" fmla="*/ 2147483647 w 702"/>
                <a:gd name="T29" fmla="*/ 2147483647 h 770"/>
                <a:gd name="T30" fmla="*/ 2147483647 w 702"/>
                <a:gd name="T31" fmla="*/ 2147483647 h 770"/>
                <a:gd name="T32" fmla="*/ 2147483647 w 702"/>
                <a:gd name="T33" fmla="*/ 2147483647 h 770"/>
                <a:gd name="T34" fmla="*/ 2147483647 w 702"/>
                <a:gd name="T35" fmla="*/ 2147483647 h 770"/>
                <a:gd name="T36" fmla="*/ 2147483647 w 702"/>
                <a:gd name="T37" fmla="*/ 2147483647 h 770"/>
                <a:gd name="T38" fmla="*/ 2147483647 w 702"/>
                <a:gd name="T39" fmla="*/ 2147483647 h 770"/>
                <a:gd name="T40" fmla="*/ 2147483647 w 702"/>
                <a:gd name="T41" fmla="*/ 2147483647 h 770"/>
                <a:gd name="T42" fmla="*/ 2147483647 w 702"/>
                <a:gd name="T43" fmla="*/ 2147483647 h 770"/>
                <a:gd name="T44" fmla="*/ 2147483647 w 702"/>
                <a:gd name="T45" fmla="*/ 2147483647 h 770"/>
                <a:gd name="T46" fmla="*/ 2147483647 w 702"/>
                <a:gd name="T47" fmla="*/ 2147483647 h 770"/>
                <a:gd name="T48" fmla="*/ 2147483647 w 702"/>
                <a:gd name="T49" fmla="*/ 2147483647 h 770"/>
                <a:gd name="T50" fmla="*/ 2147483647 w 702"/>
                <a:gd name="T51" fmla="*/ 2147483647 h 770"/>
                <a:gd name="T52" fmla="*/ 2147483647 w 702"/>
                <a:gd name="T53" fmla="*/ 2147483647 h 7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2"/>
                <a:gd name="T82" fmla="*/ 0 h 770"/>
                <a:gd name="T83" fmla="*/ 702 w 702"/>
                <a:gd name="T84" fmla="*/ 770 h 7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2" h="770">
                  <a:moveTo>
                    <a:pt x="188" y="770"/>
                  </a:moveTo>
                  <a:lnTo>
                    <a:pt x="147" y="730"/>
                  </a:lnTo>
                  <a:lnTo>
                    <a:pt x="105" y="643"/>
                  </a:lnTo>
                  <a:lnTo>
                    <a:pt x="44" y="593"/>
                  </a:lnTo>
                  <a:lnTo>
                    <a:pt x="0" y="580"/>
                  </a:lnTo>
                  <a:lnTo>
                    <a:pt x="18" y="466"/>
                  </a:lnTo>
                  <a:lnTo>
                    <a:pt x="21" y="406"/>
                  </a:lnTo>
                  <a:lnTo>
                    <a:pt x="50" y="371"/>
                  </a:lnTo>
                  <a:lnTo>
                    <a:pt x="48" y="283"/>
                  </a:lnTo>
                  <a:lnTo>
                    <a:pt x="66" y="141"/>
                  </a:lnTo>
                  <a:lnTo>
                    <a:pt x="53" y="61"/>
                  </a:lnTo>
                  <a:lnTo>
                    <a:pt x="140" y="25"/>
                  </a:lnTo>
                  <a:lnTo>
                    <a:pt x="217" y="25"/>
                  </a:lnTo>
                  <a:lnTo>
                    <a:pt x="261" y="0"/>
                  </a:lnTo>
                  <a:lnTo>
                    <a:pt x="334" y="83"/>
                  </a:lnTo>
                  <a:lnTo>
                    <a:pt x="430" y="120"/>
                  </a:lnTo>
                  <a:lnTo>
                    <a:pt x="520" y="91"/>
                  </a:lnTo>
                  <a:lnTo>
                    <a:pt x="594" y="159"/>
                  </a:lnTo>
                  <a:lnTo>
                    <a:pt x="702" y="251"/>
                  </a:lnTo>
                  <a:lnTo>
                    <a:pt x="676" y="300"/>
                  </a:lnTo>
                  <a:lnTo>
                    <a:pt x="543" y="376"/>
                  </a:lnTo>
                  <a:lnTo>
                    <a:pt x="445" y="446"/>
                  </a:lnTo>
                  <a:lnTo>
                    <a:pt x="369" y="562"/>
                  </a:lnTo>
                  <a:lnTo>
                    <a:pt x="362" y="632"/>
                  </a:lnTo>
                  <a:lnTo>
                    <a:pt x="312" y="691"/>
                  </a:lnTo>
                  <a:lnTo>
                    <a:pt x="251" y="710"/>
                  </a:lnTo>
                  <a:lnTo>
                    <a:pt x="188" y="77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5" name="Freeform 181">
              <a:extLst>
                <a:ext uri="{FF2B5EF4-FFF2-40B4-BE49-F238E27FC236}">
                  <a16:creationId xmlns:a16="http://schemas.microsoft.com/office/drawing/2014/main" id="{2A8B5FE7-9082-AD28-4BA1-B0E5D5C6645C}"/>
                </a:ext>
              </a:extLst>
            </p:cNvPr>
            <p:cNvSpPr>
              <a:spLocks/>
            </p:cNvSpPr>
            <p:nvPr/>
          </p:nvSpPr>
          <p:spPr bwMode="auto">
            <a:xfrm>
              <a:off x="1441073" y="1193153"/>
              <a:ext cx="475095" cy="430991"/>
            </a:xfrm>
            <a:custGeom>
              <a:avLst/>
              <a:gdLst>
                <a:gd name="T0" fmla="*/ 2147483647 w 1240"/>
                <a:gd name="T1" fmla="*/ 2147483647 h 981"/>
                <a:gd name="T2" fmla="*/ 2147483647 w 1240"/>
                <a:gd name="T3" fmla="*/ 2147483647 h 981"/>
                <a:gd name="T4" fmla="*/ 2147483647 w 1240"/>
                <a:gd name="T5" fmla="*/ 2147483647 h 981"/>
                <a:gd name="T6" fmla="*/ 2147483647 w 1240"/>
                <a:gd name="T7" fmla="*/ 2147483647 h 981"/>
                <a:gd name="T8" fmla="*/ 2147483647 w 1240"/>
                <a:gd name="T9" fmla="*/ 2147483647 h 981"/>
                <a:gd name="T10" fmla="*/ 2147483647 w 1240"/>
                <a:gd name="T11" fmla="*/ 2147483647 h 981"/>
                <a:gd name="T12" fmla="*/ 2147483647 w 1240"/>
                <a:gd name="T13" fmla="*/ 2147483647 h 981"/>
                <a:gd name="T14" fmla="*/ 2147483647 w 1240"/>
                <a:gd name="T15" fmla="*/ 2147483647 h 981"/>
                <a:gd name="T16" fmla="*/ 2147483647 w 1240"/>
                <a:gd name="T17" fmla="*/ 2147483647 h 981"/>
                <a:gd name="T18" fmla="*/ 0 w 1240"/>
                <a:gd name="T19" fmla="*/ 2147483647 h 981"/>
                <a:gd name="T20" fmla="*/ 2147483647 w 1240"/>
                <a:gd name="T21" fmla="*/ 2147483647 h 981"/>
                <a:gd name="T22" fmla="*/ 2147483647 w 1240"/>
                <a:gd name="T23" fmla="*/ 2147483647 h 981"/>
                <a:gd name="T24" fmla="*/ 2147483647 w 1240"/>
                <a:gd name="T25" fmla="*/ 2147483647 h 981"/>
                <a:gd name="T26" fmla="*/ 2147483647 w 1240"/>
                <a:gd name="T27" fmla="*/ 2147483647 h 981"/>
                <a:gd name="T28" fmla="*/ 2147483647 w 1240"/>
                <a:gd name="T29" fmla="*/ 2147483647 h 981"/>
                <a:gd name="T30" fmla="*/ 2147483647 w 1240"/>
                <a:gd name="T31" fmla="*/ 2147483647 h 981"/>
                <a:gd name="T32" fmla="*/ 2147483647 w 1240"/>
                <a:gd name="T33" fmla="*/ 2147483647 h 981"/>
                <a:gd name="T34" fmla="*/ 2147483647 w 1240"/>
                <a:gd name="T35" fmla="*/ 2147483647 h 981"/>
                <a:gd name="T36" fmla="*/ 2147483647 w 1240"/>
                <a:gd name="T37" fmla="*/ 2147483647 h 981"/>
                <a:gd name="T38" fmla="*/ 2147483647 w 1240"/>
                <a:gd name="T39" fmla="*/ 2147483647 h 981"/>
                <a:gd name="T40" fmla="*/ 2147483647 w 1240"/>
                <a:gd name="T41" fmla="*/ 2147483647 h 981"/>
                <a:gd name="T42" fmla="*/ 2147483647 w 1240"/>
                <a:gd name="T43" fmla="*/ 0 h 981"/>
                <a:gd name="T44" fmla="*/ 2147483647 w 1240"/>
                <a:gd name="T45" fmla="*/ 2147483647 h 981"/>
                <a:gd name="T46" fmla="*/ 2147483647 w 1240"/>
                <a:gd name="T47" fmla="*/ 2147483647 h 981"/>
                <a:gd name="T48" fmla="*/ 2147483647 w 1240"/>
                <a:gd name="T49" fmla="*/ 2147483647 h 981"/>
                <a:gd name="T50" fmla="*/ 2147483647 w 1240"/>
                <a:gd name="T51" fmla="*/ 2147483647 h 981"/>
                <a:gd name="T52" fmla="*/ 2147483647 w 1240"/>
                <a:gd name="T53" fmla="*/ 2147483647 h 981"/>
                <a:gd name="T54" fmla="*/ 2147483647 w 1240"/>
                <a:gd name="T55" fmla="*/ 2147483647 h 981"/>
                <a:gd name="T56" fmla="*/ 2147483647 w 1240"/>
                <a:gd name="T57" fmla="*/ 2147483647 h 981"/>
                <a:gd name="T58" fmla="*/ 2147483647 w 1240"/>
                <a:gd name="T59" fmla="*/ 2147483647 h 981"/>
                <a:gd name="T60" fmla="*/ 2147483647 w 1240"/>
                <a:gd name="T61" fmla="*/ 2147483647 h 981"/>
                <a:gd name="T62" fmla="*/ 2147483647 w 1240"/>
                <a:gd name="T63" fmla="*/ 2147483647 h 9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40"/>
                <a:gd name="T97" fmla="*/ 0 h 981"/>
                <a:gd name="T98" fmla="*/ 1240 w 1240"/>
                <a:gd name="T99" fmla="*/ 981 h 9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40" h="981">
                  <a:moveTo>
                    <a:pt x="599" y="934"/>
                  </a:moveTo>
                  <a:lnTo>
                    <a:pt x="490" y="975"/>
                  </a:lnTo>
                  <a:lnTo>
                    <a:pt x="399" y="981"/>
                  </a:lnTo>
                  <a:lnTo>
                    <a:pt x="326" y="926"/>
                  </a:lnTo>
                  <a:lnTo>
                    <a:pt x="345" y="865"/>
                  </a:lnTo>
                  <a:lnTo>
                    <a:pt x="276" y="860"/>
                  </a:lnTo>
                  <a:lnTo>
                    <a:pt x="224" y="860"/>
                  </a:lnTo>
                  <a:lnTo>
                    <a:pt x="121" y="771"/>
                  </a:lnTo>
                  <a:lnTo>
                    <a:pt x="115" y="700"/>
                  </a:lnTo>
                  <a:lnTo>
                    <a:pt x="218" y="700"/>
                  </a:lnTo>
                  <a:lnTo>
                    <a:pt x="272" y="673"/>
                  </a:lnTo>
                  <a:lnTo>
                    <a:pt x="387" y="673"/>
                  </a:lnTo>
                  <a:lnTo>
                    <a:pt x="471" y="645"/>
                  </a:lnTo>
                  <a:lnTo>
                    <a:pt x="357" y="601"/>
                  </a:lnTo>
                  <a:lnTo>
                    <a:pt x="250" y="610"/>
                  </a:lnTo>
                  <a:lnTo>
                    <a:pt x="145" y="629"/>
                  </a:lnTo>
                  <a:lnTo>
                    <a:pt x="66" y="596"/>
                  </a:lnTo>
                  <a:lnTo>
                    <a:pt x="54" y="557"/>
                  </a:lnTo>
                  <a:lnTo>
                    <a:pt x="92" y="501"/>
                  </a:lnTo>
                  <a:lnTo>
                    <a:pt x="0" y="431"/>
                  </a:lnTo>
                  <a:lnTo>
                    <a:pt x="18" y="370"/>
                  </a:lnTo>
                  <a:lnTo>
                    <a:pt x="84" y="332"/>
                  </a:lnTo>
                  <a:lnTo>
                    <a:pt x="12" y="276"/>
                  </a:lnTo>
                  <a:lnTo>
                    <a:pt x="112" y="188"/>
                  </a:lnTo>
                  <a:lnTo>
                    <a:pt x="183" y="153"/>
                  </a:lnTo>
                  <a:lnTo>
                    <a:pt x="248" y="116"/>
                  </a:lnTo>
                  <a:lnTo>
                    <a:pt x="291" y="102"/>
                  </a:lnTo>
                  <a:lnTo>
                    <a:pt x="314" y="84"/>
                  </a:lnTo>
                  <a:lnTo>
                    <a:pt x="351" y="128"/>
                  </a:lnTo>
                  <a:lnTo>
                    <a:pt x="343" y="197"/>
                  </a:lnTo>
                  <a:lnTo>
                    <a:pt x="380" y="146"/>
                  </a:lnTo>
                  <a:lnTo>
                    <a:pt x="422" y="164"/>
                  </a:lnTo>
                  <a:lnTo>
                    <a:pt x="464" y="168"/>
                  </a:lnTo>
                  <a:lnTo>
                    <a:pt x="522" y="200"/>
                  </a:lnTo>
                  <a:lnTo>
                    <a:pt x="552" y="239"/>
                  </a:lnTo>
                  <a:lnTo>
                    <a:pt x="603" y="239"/>
                  </a:lnTo>
                  <a:lnTo>
                    <a:pt x="656" y="162"/>
                  </a:lnTo>
                  <a:lnTo>
                    <a:pt x="689" y="238"/>
                  </a:lnTo>
                  <a:lnTo>
                    <a:pt x="733" y="373"/>
                  </a:lnTo>
                  <a:lnTo>
                    <a:pt x="784" y="402"/>
                  </a:lnTo>
                  <a:lnTo>
                    <a:pt x="725" y="216"/>
                  </a:lnTo>
                  <a:lnTo>
                    <a:pt x="725" y="123"/>
                  </a:lnTo>
                  <a:lnTo>
                    <a:pt x="762" y="51"/>
                  </a:lnTo>
                  <a:lnTo>
                    <a:pt x="912" y="0"/>
                  </a:lnTo>
                  <a:lnTo>
                    <a:pt x="996" y="40"/>
                  </a:lnTo>
                  <a:lnTo>
                    <a:pt x="982" y="113"/>
                  </a:lnTo>
                  <a:lnTo>
                    <a:pt x="945" y="203"/>
                  </a:lnTo>
                  <a:lnTo>
                    <a:pt x="929" y="294"/>
                  </a:lnTo>
                  <a:lnTo>
                    <a:pt x="949" y="392"/>
                  </a:lnTo>
                  <a:lnTo>
                    <a:pt x="970" y="494"/>
                  </a:lnTo>
                  <a:lnTo>
                    <a:pt x="1027" y="563"/>
                  </a:lnTo>
                  <a:lnTo>
                    <a:pt x="1123" y="619"/>
                  </a:lnTo>
                  <a:lnTo>
                    <a:pt x="1188" y="656"/>
                  </a:lnTo>
                  <a:lnTo>
                    <a:pt x="1240" y="662"/>
                  </a:lnTo>
                  <a:lnTo>
                    <a:pt x="1226" y="733"/>
                  </a:lnTo>
                  <a:lnTo>
                    <a:pt x="1130" y="722"/>
                  </a:lnTo>
                  <a:lnTo>
                    <a:pt x="1114" y="788"/>
                  </a:lnTo>
                  <a:lnTo>
                    <a:pt x="1176" y="823"/>
                  </a:lnTo>
                  <a:lnTo>
                    <a:pt x="1103" y="915"/>
                  </a:lnTo>
                  <a:lnTo>
                    <a:pt x="1021" y="911"/>
                  </a:lnTo>
                  <a:lnTo>
                    <a:pt x="895" y="869"/>
                  </a:lnTo>
                  <a:lnTo>
                    <a:pt x="791" y="859"/>
                  </a:lnTo>
                  <a:lnTo>
                    <a:pt x="686" y="882"/>
                  </a:lnTo>
                  <a:lnTo>
                    <a:pt x="599" y="93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6" name="Freeform 182">
              <a:extLst>
                <a:ext uri="{FF2B5EF4-FFF2-40B4-BE49-F238E27FC236}">
                  <a16:creationId xmlns:a16="http://schemas.microsoft.com/office/drawing/2014/main" id="{E2A8E513-DC97-326E-6563-63E29D88659E}"/>
                </a:ext>
              </a:extLst>
            </p:cNvPr>
            <p:cNvSpPr>
              <a:spLocks/>
            </p:cNvSpPr>
            <p:nvPr/>
          </p:nvSpPr>
          <p:spPr bwMode="auto">
            <a:xfrm>
              <a:off x="1848938" y="1167802"/>
              <a:ext cx="172558" cy="246609"/>
            </a:xfrm>
            <a:custGeom>
              <a:avLst/>
              <a:gdLst>
                <a:gd name="T0" fmla="*/ 2147483647 w 450"/>
                <a:gd name="T1" fmla="*/ 2147483647 h 566"/>
                <a:gd name="T2" fmla="*/ 2147483647 w 450"/>
                <a:gd name="T3" fmla="*/ 2147483647 h 566"/>
                <a:gd name="T4" fmla="*/ 2147483647 w 450"/>
                <a:gd name="T5" fmla="*/ 2147483647 h 566"/>
                <a:gd name="T6" fmla="*/ 2147483647 w 450"/>
                <a:gd name="T7" fmla="*/ 2147483647 h 566"/>
                <a:gd name="T8" fmla="*/ 2147483647 w 450"/>
                <a:gd name="T9" fmla="*/ 2147483647 h 566"/>
                <a:gd name="T10" fmla="*/ 2147483647 w 450"/>
                <a:gd name="T11" fmla="*/ 2147483647 h 566"/>
                <a:gd name="T12" fmla="*/ 0 w 450"/>
                <a:gd name="T13" fmla="*/ 2147483647 h 566"/>
                <a:gd name="T14" fmla="*/ 2147483647 w 450"/>
                <a:gd name="T15" fmla="*/ 2147483647 h 566"/>
                <a:gd name="T16" fmla="*/ 2147483647 w 450"/>
                <a:gd name="T17" fmla="*/ 2147483647 h 566"/>
                <a:gd name="T18" fmla="*/ 2147483647 w 450"/>
                <a:gd name="T19" fmla="*/ 2147483647 h 566"/>
                <a:gd name="T20" fmla="*/ 2147483647 w 450"/>
                <a:gd name="T21" fmla="*/ 2147483647 h 566"/>
                <a:gd name="T22" fmla="*/ 2147483647 w 450"/>
                <a:gd name="T23" fmla="*/ 2147483647 h 566"/>
                <a:gd name="T24" fmla="*/ 2147483647 w 450"/>
                <a:gd name="T25" fmla="*/ 2147483647 h 566"/>
                <a:gd name="T26" fmla="*/ 2147483647 w 450"/>
                <a:gd name="T27" fmla="*/ 2147483647 h 566"/>
                <a:gd name="T28" fmla="*/ 2147483647 w 450"/>
                <a:gd name="T29" fmla="*/ 2147483647 h 566"/>
                <a:gd name="T30" fmla="*/ 2147483647 w 450"/>
                <a:gd name="T31" fmla="*/ 2147483647 h 566"/>
                <a:gd name="T32" fmla="*/ 2147483647 w 450"/>
                <a:gd name="T33" fmla="*/ 2147483647 h 566"/>
                <a:gd name="T34" fmla="*/ 2147483647 w 450"/>
                <a:gd name="T35" fmla="*/ 0 h 566"/>
                <a:gd name="T36" fmla="*/ 2147483647 w 450"/>
                <a:gd name="T37" fmla="*/ 2147483647 h 566"/>
                <a:gd name="T38" fmla="*/ 2147483647 w 450"/>
                <a:gd name="T39" fmla="*/ 2147483647 h 566"/>
                <a:gd name="T40" fmla="*/ 2147483647 w 450"/>
                <a:gd name="T41" fmla="*/ 2147483647 h 566"/>
                <a:gd name="T42" fmla="*/ 2147483647 w 450"/>
                <a:gd name="T43" fmla="*/ 2147483647 h 566"/>
                <a:gd name="T44" fmla="*/ 2147483647 w 450"/>
                <a:gd name="T45" fmla="*/ 2147483647 h 566"/>
                <a:gd name="T46" fmla="*/ 2147483647 w 450"/>
                <a:gd name="T47" fmla="*/ 2147483647 h 566"/>
                <a:gd name="T48" fmla="*/ 2147483647 w 450"/>
                <a:gd name="T49" fmla="*/ 2147483647 h 566"/>
                <a:gd name="T50" fmla="*/ 2147483647 w 450"/>
                <a:gd name="T51" fmla="*/ 2147483647 h 566"/>
                <a:gd name="T52" fmla="*/ 2147483647 w 450"/>
                <a:gd name="T53" fmla="*/ 2147483647 h 566"/>
                <a:gd name="T54" fmla="*/ 2147483647 w 450"/>
                <a:gd name="T55" fmla="*/ 2147483647 h 566"/>
                <a:gd name="T56" fmla="*/ 2147483647 w 450"/>
                <a:gd name="T57" fmla="*/ 2147483647 h 566"/>
                <a:gd name="T58" fmla="*/ 2147483647 w 450"/>
                <a:gd name="T59" fmla="*/ 2147483647 h 566"/>
                <a:gd name="T60" fmla="*/ 2147483647 w 450"/>
                <a:gd name="T61" fmla="*/ 2147483647 h 566"/>
                <a:gd name="T62" fmla="*/ 2147483647 w 450"/>
                <a:gd name="T63" fmla="*/ 2147483647 h 5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50"/>
                <a:gd name="T97" fmla="*/ 0 h 566"/>
                <a:gd name="T98" fmla="*/ 450 w 450"/>
                <a:gd name="T99" fmla="*/ 566 h 56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50" h="566">
                  <a:moveTo>
                    <a:pt x="233" y="535"/>
                  </a:moveTo>
                  <a:lnTo>
                    <a:pt x="222" y="479"/>
                  </a:lnTo>
                  <a:lnTo>
                    <a:pt x="181" y="425"/>
                  </a:lnTo>
                  <a:lnTo>
                    <a:pt x="134" y="401"/>
                  </a:lnTo>
                  <a:lnTo>
                    <a:pt x="99" y="401"/>
                  </a:lnTo>
                  <a:lnTo>
                    <a:pt x="59" y="362"/>
                  </a:lnTo>
                  <a:lnTo>
                    <a:pt x="0" y="307"/>
                  </a:lnTo>
                  <a:lnTo>
                    <a:pt x="14" y="259"/>
                  </a:lnTo>
                  <a:lnTo>
                    <a:pt x="42" y="219"/>
                  </a:lnTo>
                  <a:lnTo>
                    <a:pt x="138" y="274"/>
                  </a:lnTo>
                  <a:lnTo>
                    <a:pt x="159" y="236"/>
                  </a:lnTo>
                  <a:lnTo>
                    <a:pt x="139" y="192"/>
                  </a:lnTo>
                  <a:lnTo>
                    <a:pt x="111" y="164"/>
                  </a:lnTo>
                  <a:lnTo>
                    <a:pt x="103" y="121"/>
                  </a:lnTo>
                  <a:lnTo>
                    <a:pt x="91" y="82"/>
                  </a:lnTo>
                  <a:lnTo>
                    <a:pt x="133" y="49"/>
                  </a:lnTo>
                  <a:lnTo>
                    <a:pt x="192" y="44"/>
                  </a:lnTo>
                  <a:lnTo>
                    <a:pt x="230" y="0"/>
                  </a:lnTo>
                  <a:lnTo>
                    <a:pt x="296" y="16"/>
                  </a:lnTo>
                  <a:lnTo>
                    <a:pt x="356" y="33"/>
                  </a:lnTo>
                  <a:lnTo>
                    <a:pt x="411" y="93"/>
                  </a:lnTo>
                  <a:lnTo>
                    <a:pt x="402" y="136"/>
                  </a:lnTo>
                  <a:lnTo>
                    <a:pt x="417" y="198"/>
                  </a:lnTo>
                  <a:lnTo>
                    <a:pt x="419" y="265"/>
                  </a:lnTo>
                  <a:lnTo>
                    <a:pt x="444" y="317"/>
                  </a:lnTo>
                  <a:lnTo>
                    <a:pt x="429" y="381"/>
                  </a:lnTo>
                  <a:lnTo>
                    <a:pt x="450" y="468"/>
                  </a:lnTo>
                  <a:lnTo>
                    <a:pt x="371" y="504"/>
                  </a:lnTo>
                  <a:lnTo>
                    <a:pt x="327" y="532"/>
                  </a:lnTo>
                  <a:lnTo>
                    <a:pt x="297" y="566"/>
                  </a:lnTo>
                  <a:lnTo>
                    <a:pt x="254" y="563"/>
                  </a:lnTo>
                  <a:lnTo>
                    <a:pt x="233" y="53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7" name="Freeform 183">
              <a:extLst>
                <a:ext uri="{FF2B5EF4-FFF2-40B4-BE49-F238E27FC236}">
                  <a16:creationId xmlns:a16="http://schemas.microsoft.com/office/drawing/2014/main" id="{2A5C3276-53D3-57CB-15BB-2A823C2FEFD8}"/>
                </a:ext>
              </a:extLst>
            </p:cNvPr>
            <p:cNvSpPr>
              <a:spLocks/>
            </p:cNvSpPr>
            <p:nvPr/>
          </p:nvSpPr>
          <p:spPr bwMode="auto">
            <a:xfrm>
              <a:off x="2010290" y="1006467"/>
              <a:ext cx="94122" cy="106020"/>
            </a:xfrm>
            <a:custGeom>
              <a:avLst/>
              <a:gdLst>
                <a:gd name="T0" fmla="*/ 2147483647 w 246"/>
                <a:gd name="T1" fmla="*/ 2147483647 h 270"/>
                <a:gd name="T2" fmla="*/ 2147483647 w 246"/>
                <a:gd name="T3" fmla="*/ 2147483647 h 270"/>
                <a:gd name="T4" fmla="*/ 2147483647 w 246"/>
                <a:gd name="T5" fmla="*/ 2147483647 h 270"/>
                <a:gd name="T6" fmla="*/ 0 w 246"/>
                <a:gd name="T7" fmla="*/ 2147483647 h 270"/>
                <a:gd name="T8" fmla="*/ 2147483647 w 246"/>
                <a:gd name="T9" fmla="*/ 2147483647 h 270"/>
                <a:gd name="T10" fmla="*/ 2147483647 w 246"/>
                <a:gd name="T11" fmla="*/ 2147483647 h 270"/>
                <a:gd name="T12" fmla="*/ 2147483647 w 246"/>
                <a:gd name="T13" fmla="*/ 0 h 270"/>
                <a:gd name="T14" fmla="*/ 2147483647 w 246"/>
                <a:gd name="T15" fmla="*/ 2147483647 h 270"/>
                <a:gd name="T16" fmla="*/ 2147483647 w 246"/>
                <a:gd name="T17" fmla="*/ 2147483647 h 270"/>
                <a:gd name="T18" fmla="*/ 2147483647 w 246"/>
                <a:gd name="T19" fmla="*/ 2147483647 h 270"/>
                <a:gd name="T20" fmla="*/ 2147483647 w 246"/>
                <a:gd name="T21" fmla="*/ 2147483647 h 2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6"/>
                <a:gd name="T34" fmla="*/ 0 h 270"/>
                <a:gd name="T35" fmla="*/ 246 w 246"/>
                <a:gd name="T36" fmla="*/ 270 h 2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6" h="270">
                  <a:moveTo>
                    <a:pt x="174" y="270"/>
                  </a:moveTo>
                  <a:lnTo>
                    <a:pt x="66" y="246"/>
                  </a:lnTo>
                  <a:lnTo>
                    <a:pt x="36" y="192"/>
                  </a:lnTo>
                  <a:lnTo>
                    <a:pt x="0" y="126"/>
                  </a:lnTo>
                  <a:lnTo>
                    <a:pt x="36" y="60"/>
                  </a:lnTo>
                  <a:lnTo>
                    <a:pt x="78" y="12"/>
                  </a:lnTo>
                  <a:lnTo>
                    <a:pt x="156" y="0"/>
                  </a:lnTo>
                  <a:lnTo>
                    <a:pt x="210" y="78"/>
                  </a:lnTo>
                  <a:lnTo>
                    <a:pt x="234" y="180"/>
                  </a:lnTo>
                  <a:lnTo>
                    <a:pt x="246" y="252"/>
                  </a:lnTo>
                  <a:lnTo>
                    <a:pt x="174" y="27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8" name="Freeform 184">
              <a:extLst>
                <a:ext uri="{FF2B5EF4-FFF2-40B4-BE49-F238E27FC236}">
                  <a16:creationId xmlns:a16="http://schemas.microsoft.com/office/drawing/2014/main" id="{FE2D4446-3319-DCC6-3AE6-ECCAC76BC38B}"/>
                </a:ext>
              </a:extLst>
            </p:cNvPr>
            <p:cNvSpPr>
              <a:spLocks/>
            </p:cNvSpPr>
            <p:nvPr/>
          </p:nvSpPr>
          <p:spPr bwMode="auto">
            <a:xfrm>
              <a:off x="1494858" y="3212127"/>
              <a:ext cx="777631" cy="527792"/>
            </a:xfrm>
            <a:custGeom>
              <a:avLst/>
              <a:gdLst>
                <a:gd name="T0" fmla="*/ 12 w 3219450"/>
                <a:gd name="T1" fmla="*/ 32 h 2128568"/>
                <a:gd name="T2" fmla="*/ 25 w 3219450"/>
                <a:gd name="T3" fmla="*/ 65 h 2128568"/>
                <a:gd name="T4" fmla="*/ 42 w 3219450"/>
                <a:gd name="T5" fmla="*/ 87 h 2128568"/>
                <a:gd name="T6" fmla="*/ 47 w 3219450"/>
                <a:gd name="T7" fmla="*/ 105 h 2128568"/>
                <a:gd name="T8" fmla="*/ 66 w 3219450"/>
                <a:gd name="T9" fmla="*/ 125 h 2128568"/>
                <a:gd name="T10" fmla="*/ 72 w 3219450"/>
                <a:gd name="T11" fmla="*/ 146 h 2128568"/>
                <a:gd name="T12" fmla="*/ 118 w 3219450"/>
                <a:gd name="T13" fmla="*/ 173 h 2128568"/>
                <a:gd name="T14" fmla="*/ 100 w 3219450"/>
                <a:gd name="T15" fmla="*/ 143 h 2128568"/>
                <a:gd name="T16" fmla="*/ 87 w 3219450"/>
                <a:gd name="T17" fmla="*/ 120 h 2128568"/>
                <a:gd name="T18" fmla="*/ 72 w 3219450"/>
                <a:gd name="T19" fmla="*/ 92 h 2128568"/>
                <a:gd name="T20" fmla="*/ 45 w 3219450"/>
                <a:gd name="T21" fmla="*/ 56 h 2128568"/>
                <a:gd name="T22" fmla="*/ 32 w 3219450"/>
                <a:gd name="T23" fmla="*/ 31 h 2128568"/>
                <a:gd name="T24" fmla="*/ 45 w 3219450"/>
                <a:gd name="T25" fmla="*/ 21 h 2128568"/>
                <a:gd name="T26" fmla="*/ 57 w 3219450"/>
                <a:gd name="T27" fmla="*/ 53 h 2128568"/>
                <a:gd name="T28" fmla="*/ 81 w 3219450"/>
                <a:gd name="T29" fmla="*/ 79 h 2128568"/>
                <a:gd name="T30" fmla="*/ 108 w 3219450"/>
                <a:gd name="T31" fmla="*/ 109 h 2128568"/>
                <a:gd name="T32" fmla="*/ 123 w 3219450"/>
                <a:gd name="T33" fmla="*/ 132 h 2128568"/>
                <a:gd name="T34" fmla="*/ 155 w 3219450"/>
                <a:gd name="T35" fmla="*/ 166 h 2128568"/>
                <a:gd name="T36" fmla="*/ 168 w 3219450"/>
                <a:gd name="T37" fmla="*/ 202 h 2128568"/>
                <a:gd name="T38" fmla="*/ 194 w 3219450"/>
                <a:gd name="T39" fmla="*/ 237 h 2128568"/>
                <a:gd name="T40" fmla="*/ 230 w 3219450"/>
                <a:gd name="T41" fmla="*/ 260 h 2128568"/>
                <a:gd name="T42" fmla="*/ 272 w 3219450"/>
                <a:gd name="T43" fmla="*/ 280 h 2128568"/>
                <a:gd name="T44" fmla="*/ 308 w 3219450"/>
                <a:gd name="T45" fmla="*/ 288 h 2128568"/>
                <a:gd name="T46" fmla="*/ 346 w 3219450"/>
                <a:gd name="T47" fmla="*/ 282 h 2128568"/>
                <a:gd name="T48" fmla="*/ 364 w 3219450"/>
                <a:gd name="T49" fmla="*/ 291 h 2128568"/>
                <a:gd name="T50" fmla="*/ 387 w 3219450"/>
                <a:gd name="T51" fmla="*/ 300 h 2128568"/>
                <a:gd name="T52" fmla="*/ 407 w 3219450"/>
                <a:gd name="T53" fmla="*/ 274 h 2128568"/>
                <a:gd name="T54" fmla="*/ 414 w 3219450"/>
                <a:gd name="T55" fmla="*/ 255 h 2128568"/>
                <a:gd name="T56" fmla="*/ 447 w 3219450"/>
                <a:gd name="T57" fmla="*/ 245 h 2128568"/>
                <a:gd name="T58" fmla="*/ 465 w 3219450"/>
                <a:gd name="T59" fmla="*/ 219 h 2128568"/>
                <a:gd name="T60" fmla="*/ 458 w 3219450"/>
                <a:gd name="T61" fmla="*/ 192 h 2128568"/>
                <a:gd name="T62" fmla="*/ 424 w 3219450"/>
                <a:gd name="T63" fmla="*/ 201 h 2128568"/>
                <a:gd name="T64" fmla="*/ 401 w 3219450"/>
                <a:gd name="T65" fmla="*/ 235 h 2128568"/>
                <a:gd name="T66" fmla="*/ 366 w 3219450"/>
                <a:gd name="T67" fmla="*/ 247 h 2128568"/>
                <a:gd name="T68" fmla="*/ 340 w 3219450"/>
                <a:gd name="T69" fmla="*/ 242 h 2128568"/>
                <a:gd name="T70" fmla="*/ 315 w 3219450"/>
                <a:gd name="T71" fmla="*/ 228 h 2128568"/>
                <a:gd name="T72" fmla="*/ 304 w 3219450"/>
                <a:gd name="T73" fmla="*/ 198 h 2128568"/>
                <a:gd name="T74" fmla="*/ 300 w 3219450"/>
                <a:gd name="T75" fmla="*/ 171 h 2128568"/>
                <a:gd name="T76" fmla="*/ 306 w 3219450"/>
                <a:gd name="T77" fmla="*/ 137 h 2128568"/>
                <a:gd name="T78" fmla="*/ 294 w 3219450"/>
                <a:gd name="T79" fmla="*/ 114 h 2128568"/>
                <a:gd name="T80" fmla="*/ 253 w 3219450"/>
                <a:gd name="T81" fmla="*/ 71 h 2128568"/>
                <a:gd name="T82" fmla="*/ 195 w 3219450"/>
                <a:gd name="T83" fmla="*/ 50 h 2128568"/>
                <a:gd name="T84" fmla="*/ 160 w 3219450"/>
                <a:gd name="T85" fmla="*/ 18 h 2128568"/>
                <a:gd name="T86" fmla="*/ 109 w 3219450"/>
                <a:gd name="T87" fmla="*/ 20 h 2128568"/>
                <a:gd name="T88" fmla="*/ 71 w 3219450"/>
                <a:gd name="T89" fmla="*/ 21 h 2128568"/>
                <a:gd name="T90" fmla="*/ 31 w 3219450"/>
                <a:gd name="T91" fmla="*/ 2 h 2128568"/>
                <a:gd name="T92" fmla="*/ 0 w 3219450"/>
                <a:gd name="T93" fmla="*/ 0 h 212856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219450"/>
                <a:gd name="T142" fmla="*/ 0 h 2128568"/>
                <a:gd name="T143" fmla="*/ 3219450 w 3219450"/>
                <a:gd name="T144" fmla="*/ 2128568 h 212856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219450" h="2128568">
                  <a:moveTo>
                    <a:pt x="35335" y="75214"/>
                  </a:moveTo>
                  <a:lnTo>
                    <a:pt x="37716" y="134745"/>
                  </a:lnTo>
                  <a:lnTo>
                    <a:pt x="85725" y="218806"/>
                  </a:lnTo>
                  <a:lnTo>
                    <a:pt x="128588" y="302149"/>
                  </a:lnTo>
                  <a:lnTo>
                    <a:pt x="136599" y="386325"/>
                  </a:lnTo>
                  <a:lnTo>
                    <a:pt x="168349" y="446303"/>
                  </a:lnTo>
                  <a:lnTo>
                    <a:pt x="264319" y="475981"/>
                  </a:lnTo>
                  <a:lnTo>
                    <a:pt x="314325" y="552181"/>
                  </a:lnTo>
                  <a:lnTo>
                    <a:pt x="288132" y="597424"/>
                  </a:lnTo>
                  <a:lnTo>
                    <a:pt x="219149" y="652696"/>
                  </a:lnTo>
                  <a:lnTo>
                    <a:pt x="268361" y="725021"/>
                  </a:lnTo>
                  <a:lnTo>
                    <a:pt x="319161" y="725021"/>
                  </a:lnTo>
                  <a:lnTo>
                    <a:pt x="369961" y="755010"/>
                  </a:lnTo>
                  <a:lnTo>
                    <a:pt x="409649" y="786763"/>
                  </a:lnTo>
                  <a:lnTo>
                    <a:pt x="450924" y="857325"/>
                  </a:lnTo>
                  <a:lnTo>
                    <a:pt x="521494" y="866506"/>
                  </a:lnTo>
                  <a:lnTo>
                    <a:pt x="495300" y="954612"/>
                  </a:lnTo>
                  <a:lnTo>
                    <a:pt x="488157" y="1004618"/>
                  </a:lnTo>
                  <a:lnTo>
                    <a:pt x="571574" y="1016088"/>
                  </a:lnTo>
                  <a:lnTo>
                    <a:pt x="736674" y="1183672"/>
                  </a:lnTo>
                  <a:lnTo>
                    <a:pt x="802482" y="1187974"/>
                  </a:lnTo>
                  <a:lnTo>
                    <a:pt x="819150" y="1140349"/>
                  </a:lnTo>
                  <a:lnTo>
                    <a:pt x="781124" y="1095470"/>
                  </a:lnTo>
                  <a:lnTo>
                    <a:pt x="684286" y="984336"/>
                  </a:lnTo>
                  <a:lnTo>
                    <a:pt x="650949" y="941999"/>
                  </a:lnTo>
                  <a:lnTo>
                    <a:pt x="650949" y="882021"/>
                  </a:lnTo>
                  <a:lnTo>
                    <a:pt x="595386" y="829100"/>
                  </a:lnTo>
                  <a:lnTo>
                    <a:pt x="569986" y="751482"/>
                  </a:lnTo>
                  <a:lnTo>
                    <a:pt x="531886" y="698561"/>
                  </a:lnTo>
                  <a:lnTo>
                    <a:pt x="489024" y="633291"/>
                  </a:lnTo>
                  <a:lnTo>
                    <a:pt x="433461" y="534505"/>
                  </a:lnTo>
                  <a:lnTo>
                    <a:pt x="374724" y="458651"/>
                  </a:lnTo>
                  <a:lnTo>
                    <a:pt x="304874" y="386325"/>
                  </a:lnTo>
                  <a:lnTo>
                    <a:pt x="269082" y="325962"/>
                  </a:lnTo>
                  <a:lnTo>
                    <a:pt x="257175" y="259287"/>
                  </a:lnTo>
                  <a:lnTo>
                    <a:pt x="216694" y="214043"/>
                  </a:lnTo>
                  <a:lnTo>
                    <a:pt x="209550" y="173562"/>
                  </a:lnTo>
                  <a:lnTo>
                    <a:pt x="235744" y="144987"/>
                  </a:lnTo>
                  <a:lnTo>
                    <a:pt x="309563" y="147368"/>
                  </a:lnTo>
                  <a:lnTo>
                    <a:pt x="319161" y="194045"/>
                  </a:lnTo>
                  <a:lnTo>
                    <a:pt x="376311" y="262843"/>
                  </a:lnTo>
                  <a:lnTo>
                    <a:pt x="389011" y="363393"/>
                  </a:lnTo>
                  <a:lnTo>
                    <a:pt x="446161" y="395146"/>
                  </a:lnTo>
                  <a:lnTo>
                    <a:pt x="508074" y="481584"/>
                  </a:lnTo>
                  <a:lnTo>
                    <a:pt x="550936" y="545089"/>
                  </a:lnTo>
                  <a:lnTo>
                    <a:pt x="617611" y="619179"/>
                  </a:lnTo>
                  <a:lnTo>
                    <a:pt x="655711" y="703853"/>
                  </a:lnTo>
                  <a:lnTo>
                    <a:pt x="738261" y="749718"/>
                  </a:lnTo>
                  <a:lnTo>
                    <a:pt x="804863" y="783162"/>
                  </a:lnTo>
                  <a:lnTo>
                    <a:pt x="776361" y="855561"/>
                  </a:lnTo>
                  <a:lnTo>
                    <a:pt x="838274" y="908482"/>
                  </a:lnTo>
                  <a:lnTo>
                    <a:pt x="904949" y="971987"/>
                  </a:lnTo>
                  <a:lnTo>
                    <a:pt x="1007269" y="1028431"/>
                  </a:lnTo>
                  <a:lnTo>
                    <a:pt x="1059657" y="1142731"/>
                  </a:lnTo>
                  <a:lnTo>
                    <a:pt x="1131961" y="1227773"/>
                  </a:lnTo>
                  <a:lnTo>
                    <a:pt x="1162124" y="1310683"/>
                  </a:lnTo>
                  <a:lnTo>
                    <a:pt x="1146249" y="1391829"/>
                  </a:lnTo>
                  <a:lnTo>
                    <a:pt x="1136724" y="1501200"/>
                  </a:lnTo>
                  <a:lnTo>
                    <a:pt x="1227211" y="1559413"/>
                  </a:lnTo>
                  <a:lnTo>
                    <a:pt x="1322461" y="1629975"/>
                  </a:lnTo>
                  <a:lnTo>
                    <a:pt x="1379611" y="1725233"/>
                  </a:lnTo>
                  <a:lnTo>
                    <a:pt x="1485974" y="1712885"/>
                  </a:lnTo>
                  <a:lnTo>
                    <a:pt x="1566936" y="1788739"/>
                  </a:lnTo>
                  <a:lnTo>
                    <a:pt x="1638374" y="1813435"/>
                  </a:lnTo>
                  <a:lnTo>
                    <a:pt x="1727274" y="1852244"/>
                  </a:lnTo>
                  <a:lnTo>
                    <a:pt x="1851099" y="1924570"/>
                  </a:lnTo>
                  <a:lnTo>
                    <a:pt x="1947936" y="1942210"/>
                  </a:lnTo>
                  <a:lnTo>
                    <a:pt x="2041599" y="1945738"/>
                  </a:lnTo>
                  <a:lnTo>
                    <a:pt x="2097882" y="1983312"/>
                  </a:lnTo>
                  <a:lnTo>
                    <a:pt x="2183607" y="2035699"/>
                  </a:lnTo>
                  <a:lnTo>
                    <a:pt x="2274094" y="1978549"/>
                  </a:lnTo>
                  <a:lnTo>
                    <a:pt x="2362274" y="1942210"/>
                  </a:lnTo>
                  <a:lnTo>
                    <a:pt x="2407444" y="1959499"/>
                  </a:lnTo>
                  <a:lnTo>
                    <a:pt x="2426494" y="1978549"/>
                  </a:lnTo>
                  <a:lnTo>
                    <a:pt x="2483644" y="2004743"/>
                  </a:lnTo>
                  <a:lnTo>
                    <a:pt x="2540794" y="2042843"/>
                  </a:lnTo>
                  <a:lnTo>
                    <a:pt x="2619375" y="2128568"/>
                  </a:lnTo>
                  <a:lnTo>
                    <a:pt x="2640807" y="2066656"/>
                  </a:lnTo>
                  <a:lnTo>
                    <a:pt x="2681288" y="1971406"/>
                  </a:lnTo>
                  <a:lnTo>
                    <a:pt x="2778919" y="1923781"/>
                  </a:lnTo>
                  <a:lnTo>
                    <a:pt x="2774157" y="1888062"/>
                  </a:lnTo>
                  <a:lnTo>
                    <a:pt x="2757488" y="1835674"/>
                  </a:lnTo>
                  <a:lnTo>
                    <a:pt x="2752725" y="1795193"/>
                  </a:lnTo>
                  <a:lnTo>
                    <a:pt x="2819400" y="1757093"/>
                  </a:lnTo>
                  <a:lnTo>
                    <a:pt x="2919413" y="1752331"/>
                  </a:lnTo>
                  <a:lnTo>
                    <a:pt x="2962275" y="1702324"/>
                  </a:lnTo>
                  <a:lnTo>
                    <a:pt x="3045619" y="1685656"/>
                  </a:lnTo>
                  <a:lnTo>
                    <a:pt x="3112294" y="1709468"/>
                  </a:lnTo>
                  <a:lnTo>
                    <a:pt x="3131344" y="1590406"/>
                  </a:lnTo>
                  <a:lnTo>
                    <a:pt x="3167063" y="1504681"/>
                  </a:lnTo>
                  <a:lnTo>
                    <a:pt x="3219450" y="1411812"/>
                  </a:lnTo>
                  <a:lnTo>
                    <a:pt x="3195638" y="1328468"/>
                  </a:lnTo>
                  <a:lnTo>
                    <a:pt x="3119438" y="1321324"/>
                  </a:lnTo>
                  <a:lnTo>
                    <a:pt x="3026569" y="1326087"/>
                  </a:lnTo>
                  <a:lnTo>
                    <a:pt x="2981325" y="1368949"/>
                  </a:lnTo>
                  <a:lnTo>
                    <a:pt x="2893219" y="1383237"/>
                  </a:lnTo>
                  <a:lnTo>
                    <a:pt x="2828925" y="1423718"/>
                  </a:lnTo>
                  <a:lnTo>
                    <a:pt x="2800350" y="1518968"/>
                  </a:lnTo>
                  <a:lnTo>
                    <a:pt x="2736057" y="1616599"/>
                  </a:lnTo>
                  <a:lnTo>
                    <a:pt x="2631282" y="1668987"/>
                  </a:lnTo>
                  <a:lnTo>
                    <a:pt x="2555082" y="1678512"/>
                  </a:lnTo>
                  <a:lnTo>
                    <a:pt x="2495550" y="1697562"/>
                  </a:lnTo>
                  <a:lnTo>
                    <a:pt x="2452688" y="1714231"/>
                  </a:lnTo>
                  <a:lnTo>
                    <a:pt x="2383632" y="1704706"/>
                  </a:lnTo>
                  <a:lnTo>
                    <a:pt x="2317824" y="1667020"/>
                  </a:lnTo>
                  <a:lnTo>
                    <a:pt x="2252736" y="1693480"/>
                  </a:lnTo>
                  <a:lnTo>
                    <a:pt x="2176536" y="1654671"/>
                  </a:lnTo>
                  <a:lnTo>
                    <a:pt x="2146374" y="1566469"/>
                  </a:lnTo>
                  <a:lnTo>
                    <a:pt x="2114624" y="1501200"/>
                  </a:lnTo>
                  <a:lnTo>
                    <a:pt x="2084461" y="1439458"/>
                  </a:lnTo>
                  <a:lnTo>
                    <a:pt x="2069307" y="1359424"/>
                  </a:lnTo>
                  <a:lnTo>
                    <a:pt x="2051124" y="1296571"/>
                  </a:lnTo>
                  <a:lnTo>
                    <a:pt x="2040732" y="1245124"/>
                  </a:lnTo>
                  <a:lnTo>
                    <a:pt x="2047875" y="1176068"/>
                  </a:lnTo>
                  <a:lnTo>
                    <a:pt x="2071688" y="1080818"/>
                  </a:lnTo>
                  <a:lnTo>
                    <a:pt x="2057400" y="1014143"/>
                  </a:lnTo>
                  <a:lnTo>
                    <a:pt x="2083594" y="945087"/>
                  </a:lnTo>
                  <a:lnTo>
                    <a:pt x="2102644" y="885556"/>
                  </a:lnTo>
                  <a:lnTo>
                    <a:pt x="2078832" y="833168"/>
                  </a:lnTo>
                  <a:lnTo>
                    <a:pt x="2005086" y="781471"/>
                  </a:lnTo>
                  <a:lnTo>
                    <a:pt x="1895475" y="773637"/>
                  </a:lnTo>
                  <a:lnTo>
                    <a:pt x="1814513" y="618856"/>
                  </a:lnTo>
                  <a:lnTo>
                    <a:pt x="1724025" y="490268"/>
                  </a:lnTo>
                  <a:lnTo>
                    <a:pt x="1621632" y="366443"/>
                  </a:lnTo>
                  <a:lnTo>
                    <a:pt x="1445419" y="456931"/>
                  </a:lnTo>
                  <a:lnTo>
                    <a:pt x="1331119" y="342631"/>
                  </a:lnTo>
                  <a:lnTo>
                    <a:pt x="1252538" y="264049"/>
                  </a:lnTo>
                  <a:lnTo>
                    <a:pt x="1159669" y="180706"/>
                  </a:lnTo>
                  <a:lnTo>
                    <a:pt x="1090613" y="123556"/>
                  </a:lnTo>
                  <a:lnTo>
                    <a:pt x="879549" y="135832"/>
                  </a:lnTo>
                  <a:lnTo>
                    <a:pt x="795411" y="130539"/>
                  </a:lnTo>
                  <a:lnTo>
                    <a:pt x="741436" y="135832"/>
                  </a:lnTo>
                  <a:lnTo>
                    <a:pt x="657299" y="132303"/>
                  </a:lnTo>
                  <a:lnTo>
                    <a:pt x="569986" y="141124"/>
                  </a:lnTo>
                  <a:lnTo>
                    <a:pt x="484261" y="142888"/>
                  </a:lnTo>
                  <a:lnTo>
                    <a:pt x="346149" y="74090"/>
                  </a:lnTo>
                  <a:lnTo>
                    <a:pt x="246136" y="24697"/>
                  </a:lnTo>
                  <a:lnTo>
                    <a:pt x="211211" y="15877"/>
                  </a:lnTo>
                  <a:lnTo>
                    <a:pt x="138186" y="5292"/>
                  </a:lnTo>
                  <a:lnTo>
                    <a:pt x="98499" y="0"/>
                  </a:lnTo>
                  <a:lnTo>
                    <a:pt x="0" y="2112"/>
                  </a:lnTo>
                  <a:lnTo>
                    <a:pt x="35335" y="75214"/>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89" name="Freeform 185">
              <a:extLst>
                <a:ext uri="{FF2B5EF4-FFF2-40B4-BE49-F238E27FC236}">
                  <a16:creationId xmlns:a16="http://schemas.microsoft.com/office/drawing/2014/main" id="{297C7225-CC74-7B8F-1C5E-4C291942E8F9}"/>
                </a:ext>
              </a:extLst>
            </p:cNvPr>
            <p:cNvSpPr>
              <a:spLocks/>
            </p:cNvSpPr>
            <p:nvPr/>
          </p:nvSpPr>
          <p:spPr bwMode="auto">
            <a:xfrm>
              <a:off x="2126823" y="3647730"/>
              <a:ext cx="98605" cy="112933"/>
            </a:xfrm>
            <a:custGeom>
              <a:avLst/>
              <a:gdLst>
                <a:gd name="T0" fmla="*/ 0 w 409575"/>
                <a:gd name="T1" fmla="*/ 54 h 454277"/>
                <a:gd name="T2" fmla="*/ 2 w 409575"/>
                <a:gd name="T3" fmla="*/ 49 h 454277"/>
                <a:gd name="T4" fmla="*/ 5 w 409575"/>
                <a:gd name="T5" fmla="*/ 41 h 454277"/>
                <a:gd name="T6" fmla="*/ 9 w 409575"/>
                <a:gd name="T7" fmla="*/ 32 h 454277"/>
                <a:gd name="T8" fmla="*/ 16 w 409575"/>
                <a:gd name="T9" fmla="*/ 29 h 454277"/>
                <a:gd name="T10" fmla="*/ 23 w 409575"/>
                <a:gd name="T11" fmla="*/ 24 h 454277"/>
                <a:gd name="T12" fmla="*/ 22 w 409575"/>
                <a:gd name="T13" fmla="*/ 17 h 454277"/>
                <a:gd name="T14" fmla="*/ 19 w 409575"/>
                <a:gd name="T15" fmla="*/ 12 h 454277"/>
                <a:gd name="T16" fmla="*/ 20 w 409575"/>
                <a:gd name="T17" fmla="*/ 5 h 454277"/>
                <a:gd name="T18" fmla="*/ 25 w 409575"/>
                <a:gd name="T19" fmla="*/ 3 h 454277"/>
                <a:gd name="T20" fmla="*/ 28 w 409575"/>
                <a:gd name="T21" fmla="*/ 1 h 454277"/>
                <a:gd name="T22" fmla="*/ 33 w 409575"/>
                <a:gd name="T23" fmla="*/ 0 h 454277"/>
                <a:gd name="T24" fmla="*/ 42 w 409575"/>
                <a:gd name="T25" fmla="*/ 0 h 454277"/>
                <a:gd name="T26" fmla="*/ 47 w 409575"/>
                <a:gd name="T27" fmla="*/ 4 h 454277"/>
                <a:gd name="T28" fmla="*/ 46 w 409575"/>
                <a:gd name="T29" fmla="*/ 12 h 454277"/>
                <a:gd name="T30" fmla="*/ 46 w 409575"/>
                <a:gd name="T31" fmla="*/ 20 h 454277"/>
                <a:gd name="T32" fmla="*/ 48 w 409575"/>
                <a:gd name="T33" fmla="*/ 29 h 454277"/>
                <a:gd name="T34" fmla="*/ 51 w 409575"/>
                <a:gd name="T35" fmla="*/ 33 h 454277"/>
                <a:gd name="T36" fmla="*/ 52 w 409575"/>
                <a:gd name="T37" fmla="*/ 36 h 454277"/>
                <a:gd name="T38" fmla="*/ 59 w 409575"/>
                <a:gd name="T39" fmla="*/ 37 h 454277"/>
                <a:gd name="T40" fmla="*/ 54 w 409575"/>
                <a:gd name="T41" fmla="*/ 42 h 454277"/>
                <a:gd name="T42" fmla="*/ 49 w 409575"/>
                <a:gd name="T43" fmla="*/ 48 h 454277"/>
                <a:gd name="T44" fmla="*/ 46 w 409575"/>
                <a:gd name="T45" fmla="*/ 53 h 454277"/>
                <a:gd name="T46" fmla="*/ 44 w 409575"/>
                <a:gd name="T47" fmla="*/ 58 h 454277"/>
                <a:gd name="T48" fmla="*/ 40 w 409575"/>
                <a:gd name="T49" fmla="*/ 61 h 454277"/>
                <a:gd name="T50" fmla="*/ 32 w 409575"/>
                <a:gd name="T51" fmla="*/ 65 h 454277"/>
                <a:gd name="T52" fmla="*/ 23 w 409575"/>
                <a:gd name="T53" fmla="*/ 67 h 454277"/>
                <a:gd name="T54" fmla="*/ 13 w 409575"/>
                <a:gd name="T55" fmla="*/ 65 h 454277"/>
                <a:gd name="T56" fmla="*/ 6 w 409575"/>
                <a:gd name="T57" fmla="*/ 60 h 454277"/>
                <a:gd name="T58" fmla="*/ 0 w 409575"/>
                <a:gd name="T59" fmla="*/ 54 h 45427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9575"/>
                <a:gd name="T91" fmla="*/ 0 h 454277"/>
                <a:gd name="T92" fmla="*/ 409575 w 409575"/>
                <a:gd name="T93" fmla="*/ 454277 h 45427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9575" h="454277">
                  <a:moveTo>
                    <a:pt x="0" y="370564"/>
                  </a:moveTo>
                  <a:lnTo>
                    <a:pt x="12586" y="330452"/>
                  </a:lnTo>
                  <a:lnTo>
                    <a:pt x="36513" y="275276"/>
                  </a:lnTo>
                  <a:lnTo>
                    <a:pt x="64973" y="216152"/>
                  </a:lnTo>
                  <a:lnTo>
                    <a:pt x="107836" y="194720"/>
                  </a:lnTo>
                  <a:lnTo>
                    <a:pt x="158750" y="165872"/>
                  </a:lnTo>
                  <a:lnTo>
                    <a:pt x="150813" y="118228"/>
                  </a:lnTo>
                  <a:lnTo>
                    <a:pt x="134938" y="81171"/>
                  </a:lnTo>
                  <a:lnTo>
                    <a:pt x="138113" y="35292"/>
                  </a:lnTo>
                  <a:lnTo>
                    <a:pt x="173772" y="17045"/>
                  </a:lnTo>
                  <a:lnTo>
                    <a:pt x="196394" y="3810"/>
                  </a:lnTo>
                  <a:lnTo>
                    <a:pt x="230188" y="1765"/>
                  </a:lnTo>
                  <a:lnTo>
                    <a:pt x="293688" y="0"/>
                  </a:lnTo>
                  <a:lnTo>
                    <a:pt x="322263" y="26469"/>
                  </a:lnTo>
                  <a:lnTo>
                    <a:pt x="315913" y="81171"/>
                  </a:lnTo>
                  <a:lnTo>
                    <a:pt x="317500" y="132345"/>
                  </a:lnTo>
                  <a:lnTo>
                    <a:pt x="333316" y="194386"/>
                  </a:lnTo>
                  <a:lnTo>
                    <a:pt x="351175" y="223501"/>
                  </a:lnTo>
                  <a:lnTo>
                    <a:pt x="361891" y="247324"/>
                  </a:lnTo>
                  <a:lnTo>
                    <a:pt x="409575" y="254101"/>
                  </a:lnTo>
                  <a:lnTo>
                    <a:pt x="374650" y="287629"/>
                  </a:lnTo>
                  <a:lnTo>
                    <a:pt x="341313" y="326450"/>
                  </a:lnTo>
                  <a:lnTo>
                    <a:pt x="315913" y="363506"/>
                  </a:lnTo>
                  <a:lnTo>
                    <a:pt x="306388" y="397034"/>
                  </a:lnTo>
                  <a:lnTo>
                    <a:pt x="274638" y="414680"/>
                  </a:lnTo>
                  <a:lnTo>
                    <a:pt x="220663" y="442913"/>
                  </a:lnTo>
                  <a:lnTo>
                    <a:pt x="160223" y="454277"/>
                  </a:lnTo>
                  <a:lnTo>
                    <a:pt x="93548" y="444752"/>
                  </a:lnTo>
                  <a:lnTo>
                    <a:pt x="43542" y="409033"/>
                  </a:lnTo>
                  <a:lnTo>
                    <a:pt x="0" y="370564"/>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0" name="Freeform 186">
              <a:extLst>
                <a:ext uri="{FF2B5EF4-FFF2-40B4-BE49-F238E27FC236}">
                  <a16:creationId xmlns:a16="http://schemas.microsoft.com/office/drawing/2014/main" id="{8D1C9F2B-C71C-65A7-7C58-0354ECA5C7F8}"/>
                </a:ext>
              </a:extLst>
            </p:cNvPr>
            <p:cNvSpPr>
              <a:spLocks/>
            </p:cNvSpPr>
            <p:nvPr/>
          </p:nvSpPr>
          <p:spPr bwMode="auto">
            <a:xfrm>
              <a:off x="2200776" y="3689215"/>
              <a:ext cx="138943" cy="87581"/>
            </a:xfrm>
            <a:custGeom>
              <a:avLst/>
              <a:gdLst>
                <a:gd name="T0" fmla="*/ 55 w 581878"/>
                <a:gd name="T1" fmla="*/ 54 h 323850"/>
                <a:gd name="T2" fmla="*/ 59 w 581878"/>
                <a:gd name="T3" fmla="*/ 41 h 323850"/>
                <a:gd name="T4" fmla="*/ 64 w 581878"/>
                <a:gd name="T5" fmla="*/ 37 h 323850"/>
                <a:gd name="T6" fmla="*/ 71 w 581878"/>
                <a:gd name="T7" fmla="*/ 32 h 323850"/>
                <a:gd name="T8" fmla="*/ 80 w 581878"/>
                <a:gd name="T9" fmla="*/ 20 h 323850"/>
                <a:gd name="T10" fmla="*/ 81 w 581878"/>
                <a:gd name="T11" fmla="*/ 6 h 323850"/>
                <a:gd name="T12" fmla="*/ 75 w 581878"/>
                <a:gd name="T13" fmla="*/ 4 h 323850"/>
                <a:gd name="T14" fmla="*/ 67 w 581878"/>
                <a:gd name="T15" fmla="*/ 0 h 323850"/>
                <a:gd name="T16" fmla="*/ 60 w 581878"/>
                <a:gd name="T17" fmla="*/ 1 h 323850"/>
                <a:gd name="T18" fmla="*/ 52 w 581878"/>
                <a:gd name="T19" fmla="*/ 1 h 323850"/>
                <a:gd name="T20" fmla="*/ 42 w 581878"/>
                <a:gd name="T21" fmla="*/ 3 h 323850"/>
                <a:gd name="T22" fmla="*/ 35 w 581878"/>
                <a:gd name="T23" fmla="*/ 4 h 323850"/>
                <a:gd name="T24" fmla="*/ 25 w 581878"/>
                <a:gd name="T25" fmla="*/ 5 h 323850"/>
                <a:gd name="T26" fmla="*/ 17 w 581878"/>
                <a:gd name="T27" fmla="*/ 2 h 323850"/>
                <a:gd name="T28" fmla="*/ 6 w 581878"/>
                <a:gd name="T29" fmla="*/ 12 h 323850"/>
                <a:gd name="T30" fmla="*/ 8 w 581878"/>
                <a:gd name="T31" fmla="*/ 17 h 323850"/>
                <a:gd name="T32" fmla="*/ 14 w 581878"/>
                <a:gd name="T33" fmla="*/ 18 h 323850"/>
                <a:gd name="T34" fmla="*/ 6 w 581878"/>
                <a:gd name="T35" fmla="*/ 29 h 323850"/>
                <a:gd name="T36" fmla="*/ 1 w 581878"/>
                <a:gd name="T37" fmla="*/ 41 h 323850"/>
                <a:gd name="T38" fmla="*/ 0 w 581878"/>
                <a:gd name="T39" fmla="*/ 47 h 323850"/>
                <a:gd name="T40" fmla="*/ 11 w 581878"/>
                <a:gd name="T41" fmla="*/ 50 h 323850"/>
                <a:gd name="T42" fmla="*/ 16 w 581878"/>
                <a:gd name="T43" fmla="*/ 50 h 323850"/>
                <a:gd name="T44" fmla="*/ 22 w 581878"/>
                <a:gd name="T45" fmla="*/ 56 h 323850"/>
                <a:gd name="T46" fmla="*/ 26 w 581878"/>
                <a:gd name="T47" fmla="*/ 62 h 323850"/>
                <a:gd name="T48" fmla="*/ 28 w 581878"/>
                <a:gd name="T49" fmla="*/ 70 h 323850"/>
                <a:gd name="T50" fmla="*/ 37 w 581878"/>
                <a:gd name="T51" fmla="*/ 73 h 323850"/>
                <a:gd name="T52" fmla="*/ 37 w 581878"/>
                <a:gd name="T53" fmla="*/ 65 h 323850"/>
                <a:gd name="T54" fmla="*/ 40 w 581878"/>
                <a:gd name="T55" fmla="*/ 54 h 323850"/>
                <a:gd name="T56" fmla="*/ 46 w 581878"/>
                <a:gd name="T57" fmla="*/ 49 h 323850"/>
                <a:gd name="T58" fmla="*/ 55 w 581878"/>
                <a:gd name="T59" fmla="*/ 54 h 3238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878"/>
                <a:gd name="T91" fmla="*/ 0 h 323850"/>
                <a:gd name="T92" fmla="*/ 581878 w 581878"/>
                <a:gd name="T93" fmla="*/ 323850 h 3238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878" h="323850">
                  <a:moveTo>
                    <a:pt x="397728" y="241300"/>
                  </a:moveTo>
                  <a:lnTo>
                    <a:pt x="423128" y="180975"/>
                  </a:lnTo>
                  <a:lnTo>
                    <a:pt x="464403" y="165100"/>
                  </a:lnTo>
                  <a:lnTo>
                    <a:pt x="510441" y="142875"/>
                  </a:lnTo>
                  <a:lnTo>
                    <a:pt x="577116" y="88900"/>
                  </a:lnTo>
                  <a:lnTo>
                    <a:pt x="581878" y="28575"/>
                  </a:lnTo>
                  <a:lnTo>
                    <a:pt x="542191" y="15875"/>
                  </a:lnTo>
                  <a:lnTo>
                    <a:pt x="485041" y="0"/>
                  </a:lnTo>
                  <a:lnTo>
                    <a:pt x="429478" y="6350"/>
                  </a:lnTo>
                  <a:lnTo>
                    <a:pt x="372328" y="4762"/>
                  </a:lnTo>
                  <a:lnTo>
                    <a:pt x="305653" y="14287"/>
                  </a:lnTo>
                  <a:lnTo>
                    <a:pt x="253266" y="15875"/>
                  </a:lnTo>
                  <a:lnTo>
                    <a:pt x="177066" y="23812"/>
                  </a:lnTo>
                  <a:lnTo>
                    <a:pt x="119916" y="9525"/>
                  </a:lnTo>
                  <a:lnTo>
                    <a:pt x="43716" y="53975"/>
                  </a:lnTo>
                  <a:lnTo>
                    <a:pt x="58003" y="76200"/>
                  </a:lnTo>
                  <a:lnTo>
                    <a:pt x="100012" y="80818"/>
                  </a:lnTo>
                  <a:lnTo>
                    <a:pt x="46891" y="130175"/>
                  </a:lnTo>
                  <a:lnTo>
                    <a:pt x="8791" y="180975"/>
                  </a:lnTo>
                  <a:lnTo>
                    <a:pt x="0" y="210596"/>
                  </a:lnTo>
                  <a:lnTo>
                    <a:pt x="77053" y="223837"/>
                  </a:lnTo>
                  <a:lnTo>
                    <a:pt x="114300" y="222502"/>
                  </a:lnTo>
                  <a:lnTo>
                    <a:pt x="158016" y="249237"/>
                  </a:lnTo>
                  <a:lnTo>
                    <a:pt x="189766" y="277812"/>
                  </a:lnTo>
                  <a:lnTo>
                    <a:pt x="202406" y="314180"/>
                  </a:lnTo>
                  <a:lnTo>
                    <a:pt x="264378" y="323850"/>
                  </a:lnTo>
                  <a:lnTo>
                    <a:pt x="267553" y="290512"/>
                  </a:lnTo>
                  <a:lnTo>
                    <a:pt x="288191" y="241300"/>
                  </a:lnTo>
                  <a:lnTo>
                    <a:pt x="334228" y="217487"/>
                  </a:lnTo>
                  <a:lnTo>
                    <a:pt x="397728" y="24130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1" name="Freeform 187">
              <a:extLst>
                <a:ext uri="{FF2B5EF4-FFF2-40B4-BE49-F238E27FC236}">
                  <a16:creationId xmlns:a16="http://schemas.microsoft.com/office/drawing/2014/main" id="{6D540F39-3C51-4A4A-044F-4F279B6CE79A}"/>
                </a:ext>
              </a:extLst>
            </p:cNvPr>
            <p:cNvSpPr>
              <a:spLocks/>
            </p:cNvSpPr>
            <p:nvPr/>
          </p:nvSpPr>
          <p:spPr bwMode="auto">
            <a:xfrm>
              <a:off x="2247836" y="3709958"/>
              <a:ext cx="118774" cy="115238"/>
            </a:xfrm>
            <a:custGeom>
              <a:avLst/>
              <a:gdLst>
                <a:gd name="T0" fmla="*/ 67 w 494844"/>
                <a:gd name="T1" fmla="*/ 97 h 417512"/>
                <a:gd name="T2" fmla="*/ 62 w 494844"/>
                <a:gd name="T3" fmla="*/ 103 h 417512"/>
                <a:gd name="T4" fmla="*/ 54 w 494844"/>
                <a:gd name="T5" fmla="*/ 104 h 417512"/>
                <a:gd name="T6" fmla="*/ 47 w 494844"/>
                <a:gd name="T7" fmla="*/ 102 h 417512"/>
                <a:gd name="T8" fmla="*/ 38 w 494844"/>
                <a:gd name="T9" fmla="*/ 104 h 417512"/>
                <a:gd name="T10" fmla="*/ 30 w 494844"/>
                <a:gd name="T11" fmla="*/ 104 h 417512"/>
                <a:gd name="T12" fmla="*/ 28 w 494844"/>
                <a:gd name="T13" fmla="*/ 99 h 417512"/>
                <a:gd name="T14" fmla="*/ 20 w 494844"/>
                <a:gd name="T15" fmla="*/ 92 h 417512"/>
                <a:gd name="T16" fmla="*/ 15 w 494844"/>
                <a:gd name="T17" fmla="*/ 81 h 417512"/>
                <a:gd name="T18" fmla="*/ 8 w 494844"/>
                <a:gd name="T19" fmla="*/ 73 h 417512"/>
                <a:gd name="T20" fmla="*/ 0 w 494844"/>
                <a:gd name="T21" fmla="*/ 66 h 417512"/>
                <a:gd name="T22" fmla="*/ 1 w 494844"/>
                <a:gd name="T23" fmla="*/ 58 h 417512"/>
                <a:gd name="T24" fmla="*/ 10 w 494844"/>
                <a:gd name="T25" fmla="*/ 61 h 417512"/>
                <a:gd name="T26" fmla="*/ 11 w 494844"/>
                <a:gd name="T27" fmla="*/ 52 h 417512"/>
                <a:gd name="T28" fmla="*/ 13 w 494844"/>
                <a:gd name="T29" fmla="*/ 40 h 417512"/>
                <a:gd name="T30" fmla="*/ 20 w 494844"/>
                <a:gd name="T31" fmla="*/ 35 h 417512"/>
                <a:gd name="T32" fmla="*/ 29 w 494844"/>
                <a:gd name="T33" fmla="*/ 40 h 417512"/>
                <a:gd name="T34" fmla="*/ 32 w 494844"/>
                <a:gd name="T35" fmla="*/ 25 h 417512"/>
                <a:gd name="T36" fmla="*/ 39 w 494844"/>
                <a:gd name="T37" fmla="*/ 21 h 417512"/>
                <a:gd name="T38" fmla="*/ 46 w 494844"/>
                <a:gd name="T39" fmla="*/ 15 h 417512"/>
                <a:gd name="T40" fmla="*/ 55 w 494844"/>
                <a:gd name="T41" fmla="*/ 2 h 417512"/>
                <a:gd name="T42" fmla="*/ 64 w 494844"/>
                <a:gd name="T43" fmla="*/ 0 h 417512"/>
                <a:gd name="T44" fmla="*/ 69 w 494844"/>
                <a:gd name="T45" fmla="*/ 16 h 417512"/>
                <a:gd name="T46" fmla="*/ 70 w 494844"/>
                <a:gd name="T47" fmla="*/ 28 h 417512"/>
                <a:gd name="T48" fmla="*/ 68 w 494844"/>
                <a:gd name="T49" fmla="*/ 36 h 417512"/>
                <a:gd name="T50" fmla="*/ 64 w 494844"/>
                <a:gd name="T51" fmla="*/ 42 h 417512"/>
                <a:gd name="T52" fmla="*/ 66 w 494844"/>
                <a:gd name="T53" fmla="*/ 53 h 417512"/>
                <a:gd name="T54" fmla="*/ 65 w 494844"/>
                <a:gd name="T55" fmla="*/ 66 h 417512"/>
                <a:gd name="T56" fmla="*/ 63 w 494844"/>
                <a:gd name="T57" fmla="*/ 78 h 417512"/>
                <a:gd name="T58" fmla="*/ 63 w 494844"/>
                <a:gd name="T59" fmla="*/ 91 h 417512"/>
                <a:gd name="T60" fmla="*/ 67 w 494844"/>
                <a:gd name="T61" fmla="*/ 97 h 4175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94844"/>
                <a:gd name="T94" fmla="*/ 0 h 417512"/>
                <a:gd name="T95" fmla="*/ 494844 w 494844"/>
                <a:gd name="T96" fmla="*/ 417512 h 4175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94844" h="417512">
                  <a:moveTo>
                    <a:pt x="469900" y="390525"/>
                  </a:moveTo>
                  <a:lnTo>
                    <a:pt x="436563" y="414337"/>
                  </a:lnTo>
                  <a:lnTo>
                    <a:pt x="379413" y="417512"/>
                  </a:lnTo>
                  <a:lnTo>
                    <a:pt x="328613" y="412750"/>
                  </a:lnTo>
                  <a:lnTo>
                    <a:pt x="268288" y="417512"/>
                  </a:lnTo>
                  <a:lnTo>
                    <a:pt x="214313" y="417512"/>
                  </a:lnTo>
                  <a:lnTo>
                    <a:pt x="193675" y="400050"/>
                  </a:lnTo>
                  <a:lnTo>
                    <a:pt x="139700" y="369887"/>
                  </a:lnTo>
                  <a:lnTo>
                    <a:pt x="106363" y="327025"/>
                  </a:lnTo>
                  <a:lnTo>
                    <a:pt x="58738" y="295275"/>
                  </a:lnTo>
                  <a:lnTo>
                    <a:pt x="0" y="265112"/>
                  </a:lnTo>
                  <a:lnTo>
                    <a:pt x="6688" y="234805"/>
                  </a:lnTo>
                  <a:lnTo>
                    <a:pt x="68600" y="244330"/>
                  </a:lnTo>
                  <a:lnTo>
                    <a:pt x="74553" y="208611"/>
                  </a:lnTo>
                  <a:lnTo>
                    <a:pt x="92413" y="163368"/>
                  </a:lnTo>
                  <a:lnTo>
                    <a:pt x="140038" y="139555"/>
                  </a:lnTo>
                  <a:lnTo>
                    <a:pt x="204331" y="162177"/>
                  </a:lnTo>
                  <a:lnTo>
                    <a:pt x="226953" y="100265"/>
                  </a:lnTo>
                  <a:lnTo>
                    <a:pt x="273388" y="82405"/>
                  </a:lnTo>
                  <a:lnTo>
                    <a:pt x="323850" y="58737"/>
                  </a:lnTo>
                  <a:lnTo>
                    <a:pt x="385306" y="7396"/>
                  </a:lnTo>
                  <a:lnTo>
                    <a:pt x="449263" y="0"/>
                  </a:lnTo>
                  <a:lnTo>
                    <a:pt x="485319" y="65736"/>
                  </a:lnTo>
                  <a:lnTo>
                    <a:pt x="494844" y="113361"/>
                  </a:lnTo>
                  <a:lnTo>
                    <a:pt x="479366" y="145508"/>
                  </a:lnTo>
                  <a:lnTo>
                    <a:pt x="449263" y="168275"/>
                  </a:lnTo>
                  <a:lnTo>
                    <a:pt x="463550" y="212725"/>
                  </a:lnTo>
                  <a:lnTo>
                    <a:pt x="458788" y="265112"/>
                  </a:lnTo>
                  <a:lnTo>
                    <a:pt x="446088" y="312737"/>
                  </a:lnTo>
                  <a:lnTo>
                    <a:pt x="442913" y="366712"/>
                  </a:lnTo>
                  <a:lnTo>
                    <a:pt x="469900" y="390525"/>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2" name="Freeform 188">
              <a:extLst>
                <a:ext uri="{FF2B5EF4-FFF2-40B4-BE49-F238E27FC236}">
                  <a16:creationId xmlns:a16="http://schemas.microsoft.com/office/drawing/2014/main" id="{C498DB38-E46A-4AF1-7DB4-EEEC18BA2E26}"/>
                </a:ext>
              </a:extLst>
            </p:cNvPr>
            <p:cNvSpPr>
              <a:spLocks/>
            </p:cNvSpPr>
            <p:nvPr/>
          </p:nvSpPr>
          <p:spPr bwMode="auto">
            <a:xfrm>
              <a:off x="2290416" y="3818281"/>
              <a:ext cx="94122" cy="69143"/>
            </a:xfrm>
            <a:custGeom>
              <a:avLst/>
              <a:gdLst>
                <a:gd name="T0" fmla="*/ 60 w 385425"/>
                <a:gd name="T1" fmla="*/ 33 h 247650"/>
                <a:gd name="T2" fmla="*/ 57 w 385425"/>
                <a:gd name="T3" fmla="*/ 30 h 247650"/>
                <a:gd name="T4" fmla="*/ 52 w 385425"/>
                <a:gd name="T5" fmla="*/ 27 h 247650"/>
                <a:gd name="T6" fmla="*/ 48 w 385425"/>
                <a:gd name="T7" fmla="*/ 18 h 247650"/>
                <a:gd name="T8" fmla="*/ 42 w 385425"/>
                <a:gd name="T9" fmla="*/ 9 h 247650"/>
                <a:gd name="T10" fmla="*/ 41 w 385425"/>
                <a:gd name="T11" fmla="*/ 5 h 247650"/>
                <a:gd name="T12" fmla="*/ 36 w 385425"/>
                <a:gd name="T13" fmla="*/ 6 h 247650"/>
                <a:gd name="T14" fmla="*/ 29 w 385425"/>
                <a:gd name="T15" fmla="*/ 6 h 247650"/>
                <a:gd name="T16" fmla="*/ 23 w 385425"/>
                <a:gd name="T17" fmla="*/ 5 h 247650"/>
                <a:gd name="T18" fmla="*/ 17 w 385425"/>
                <a:gd name="T19" fmla="*/ 6 h 247650"/>
                <a:gd name="T20" fmla="*/ 10 w 385425"/>
                <a:gd name="T21" fmla="*/ 6 h 247650"/>
                <a:gd name="T22" fmla="*/ 6 w 385425"/>
                <a:gd name="T23" fmla="*/ 6 h 247650"/>
                <a:gd name="T24" fmla="*/ 0 w 385425"/>
                <a:gd name="T25" fmla="*/ 0 h 247650"/>
                <a:gd name="T26" fmla="*/ 0 w 385425"/>
                <a:gd name="T27" fmla="*/ 13 h 247650"/>
                <a:gd name="T28" fmla="*/ 1 w 385425"/>
                <a:gd name="T29" fmla="*/ 22 h 247650"/>
                <a:gd name="T30" fmla="*/ 8 w 385425"/>
                <a:gd name="T31" fmla="*/ 35 h 247650"/>
                <a:gd name="T32" fmla="*/ 12 w 385425"/>
                <a:gd name="T33" fmla="*/ 40 h 247650"/>
                <a:gd name="T34" fmla="*/ 17 w 385425"/>
                <a:gd name="T35" fmla="*/ 44 h 247650"/>
                <a:gd name="T36" fmla="*/ 22 w 385425"/>
                <a:gd name="T37" fmla="*/ 39 h 247650"/>
                <a:gd name="T38" fmla="*/ 26 w 385425"/>
                <a:gd name="T39" fmla="*/ 39 h 247650"/>
                <a:gd name="T40" fmla="*/ 30 w 385425"/>
                <a:gd name="T41" fmla="*/ 49 h 247650"/>
                <a:gd name="T42" fmla="*/ 33 w 385425"/>
                <a:gd name="T43" fmla="*/ 54 h 247650"/>
                <a:gd name="T44" fmla="*/ 38 w 385425"/>
                <a:gd name="T45" fmla="*/ 52 h 247650"/>
                <a:gd name="T46" fmla="*/ 40 w 385425"/>
                <a:gd name="T47" fmla="*/ 55 h 247650"/>
                <a:gd name="T48" fmla="*/ 41 w 385425"/>
                <a:gd name="T49" fmla="*/ 62 h 247650"/>
                <a:gd name="T50" fmla="*/ 46 w 385425"/>
                <a:gd name="T51" fmla="*/ 59 h 247650"/>
                <a:gd name="T52" fmla="*/ 55 w 385425"/>
                <a:gd name="T53" fmla="*/ 65 h 247650"/>
                <a:gd name="T54" fmla="*/ 53 w 385425"/>
                <a:gd name="T55" fmla="*/ 56 h 247650"/>
                <a:gd name="T56" fmla="*/ 57 w 385425"/>
                <a:gd name="T57" fmla="*/ 50 h 247650"/>
                <a:gd name="T58" fmla="*/ 54 w 385425"/>
                <a:gd name="T59" fmla="*/ 42 h 247650"/>
                <a:gd name="T60" fmla="*/ 60 w 385425"/>
                <a:gd name="T61" fmla="*/ 33 h 2476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5425"/>
                <a:gd name="T94" fmla="*/ 0 h 247650"/>
                <a:gd name="T95" fmla="*/ 385425 w 385425"/>
                <a:gd name="T96" fmla="*/ 247650 h 2476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5425" h="247650">
                  <a:moveTo>
                    <a:pt x="385425" y="127542"/>
                  </a:moveTo>
                  <a:lnTo>
                    <a:pt x="367963" y="113254"/>
                  </a:lnTo>
                  <a:lnTo>
                    <a:pt x="336213" y="102142"/>
                  </a:lnTo>
                  <a:lnTo>
                    <a:pt x="307638" y="70392"/>
                  </a:lnTo>
                  <a:lnTo>
                    <a:pt x="271125" y="33879"/>
                  </a:lnTo>
                  <a:lnTo>
                    <a:pt x="263128" y="20241"/>
                  </a:lnTo>
                  <a:lnTo>
                    <a:pt x="233025" y="21179"/>
                  </a:lnTo>
                  <a:lnTo>
                    <a:pt x="189309" y="22622"/>
                  </a:lnTo>
                  <a:lnTo>
                    <a:pt x="150018" y="17860"/>
                  </a:lnTo>
                  <a:lnTo>
                    <a:pt x="111918" y="22622"/>
                  </a:lnTo>
                  <a:lnTo>
                    <a:pt x="66338" y="24354"/>
                  </a:lnTo>
                  <a:lnTo>
                    <a:pt x="36909" y="22622"/>
                  </a:lnTo>
                  <a:lnTo>
                    <a:pt x="2381" y="0"/>
                  </a:lnTo>
                  <a:lnTo>
                    <a:pt x="0" y="50007"/>
                  </a:lnTo>
                  <a:lnTo>
                    <a:pt x="4425" y="84679"/>
                  </a:lnTo>
                  <a:lnTo>
                    <a:pt x="50463" y="132304"/>
                  </a:lnTo>
                  <a:lnTo>
                    <a:pt x="74275" y="151354"/>
                  </a:lnTo>
                  <a:lnTo>
                    <a:pt x="112375" y="167229"/>
                  </a:lnTo>
                  <a:lnTo>
                    <a:pt x="140950" y="148179"/>
                  </a:lnTo>
                  <a:lnTo>
                    <a:pt x="171113" y="148179"/>
                  </a:lnTo>
                  <a:lnTo>
                    <a:pt x="194925" y="187867"/>
                  </a:lnTo>
                  <a:lnTo>
                    <a:pt x="213975" y="203742"/>
                  </a:lnTo>
                  <a:lnTo>
                    <a:pt x="242550" y="195804"/>
                  </a:lnTo>
                  <a:lnTo>
                    <a:pt x="258425" y="210092"/>
                  </a:lnTo>
                  <a:lnTo>
                    <a:pt x="266363" y="235492"/>
                  </a:lnTo>
                  <a:lnTo>
                    <a:pt x="298113" y="224379"/>
                  </a:lnTo>
                  <a:lnTo>
                    <a:pt x="354806" y="247650"/>
                  </a:lnTo>
                  <a:lnTo>
                    <a:pt x="342900" y="213122"/>
                  </a:lnTo>
                  <a:lnTo>
                    <a:pt x="371138" y="189454"/>
                  </a:lnTo>
                  <a:lnTo>
                    <a:pt x="348913" y="160879"/>
                  </a:lnTo>
                  <a:lnTo>
                    <a:pt x="385425" y="12754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3" name="Freeform 189">
              <a:extLst>
                <a:ext uri="{FF2B5EF4-FFF2-40B4-BE49-F238E27FC236}">
                  <a16:creationId xmlns:a16="http://schemas.microsoft.com/office/drawing/2014/main" id="{31788B73-BB95-D0DF-6D46-1E4BE47C5231}"/>
                </a:ext>
              </a:extLst>
            </p:cNvPr>
            <p:cNvSpPr>
              <a:spLocks/>
            </p:cNvSpPr>
            <p:nvPr/>
          </p:nvSpPr>
          <p:spPr bwMode="auto">
            <a:xfrm>
              <a:off x="2341958" y="3855158"/>
              <a:ext cx="179280" cy="80666"/>
            </a:xfrm>
            <a:custGeom>
              <a:avLst/>
              <a:gdLst>
                <a:gd name="T0" fmla="*/ 7 w 736145"/>
                <a:gd name="T1" fmla="*/ 31 h 328863"/>
                <a:gd name="T2" fmla="*/ 15 w 736145"/>
                <a:gd name="T3" fmla="*/ 32 h 328863"/>
                <a:gd name="T4" fmla="*/ 26 w 736145"/>
                <a:gd name="T5" fmla="*/ 32 h 328863"/>
                <a:gd name="T6" fmla="*/ 33 w 736145"/>
                <a:gd name="T7" fmla="*/ 35 h 328863"/>
                <a:gd name="T8" fmla="*/ 38 w 736145"/>
                <a:gd name="T9" fmla="*/ 42 h 328863"/>
                <a:gd name="T10" fmla="*/ 48 w 736145"/>
                <a:gd name="T11" fmla="*/ 42 h 328863"/>
                <a:gd name="T12" fmla="*/ 54 w 736145"/>
                <a:gd name="T13" fmla="*/ 41 h 328863"/>
                <a:gd name="T14" fmla="*/ 58 w 736145"/>
                <a:gd name="T15" fmla="*/ 35 h 328863"/>
                <a:gd name="T16" fmla="*/ 55 w 736145"/>
                <a:gd name="T17" fmla="*/ 32 h 328863"/>
                <a:gd name="T18" fmla="*/ 51 w 736145"/>
                <a:gd name="T19" fmla="*/ 29 h 328863"/>
                <a:gd name="T20" fmla="*/ 58 w 736145"/>
                <a:gd name="T21" fmla="*/ 25 h 328863"/>
                <a:gd name="T22" fmla="*/ 62 w 736145"/>
                <a:gd name="T23" fmla="*/ 19 h 328863"/>
                <a:gd name="T24" fmla="*/ 66 w 736145"/>
                <a:gd name="T25" fmla="*/ 15 h 328863"/>
                <a:gd name="T26" fmla="*/ 70 w 736145"/>
                <a:gd name="T27" fmla="*/ 11 h 328863"/>
                <a:gd name="T28" fmla="*/ 81 w 736145"/>
                <a:gd name="T29" fmla="*/ 16 h 328863"/>
                <a:gd name="T30" fmla="*/ 89 w 736145"/>
                <a:gd name="T31" fmla="*/ 16 h 328863"/>
                <a:gd name="T32" fmla="*/ 90 w 736145"/>
                <a:gd name="T33" fmla="*/ 22 h 328863"/>
                <a:gd name="T34" fmla="*/ 86 w 736145"/>
                <a:gd name="T35" fmla="*/ 25 h 328863"/>
                <a:gd name="T36" fmla="*/ 87 w 736145"/>
                <a:gd name="T37" fmla="*/ 30 h 328863"/>
                <a:gd name="T38" fmla="*/ 91 w 736145"/>
                <a:gd name="T39" fmla="*/ 33 h 328863"/>
                <a:gd name="T40" fmla="*/ 92 w 736145"/>
                <a:gd name="T41" fmla="*/ 40 h 328863"/>
                <a:gd name="T42" fmla="*/ 103 w 736145"/>
                <a:gd name="T43" fmla="*/ 45 h 328863"/>
                <a:gd name="T44" fmla="*/ 109 w 736145"/>
                <a:gd name="T45" fmla="*/ 45 h 328863"/>
                <a:gd name="T46" fmla="*/ 111 w 736145"/>
                <a:gd name="T47" fmla="*/ 41 h 328863"/>
                <a:gd name="T48" fmla="*/ 112 w 736145"/>
                <a:gd name="T49" fmla="*/ 34 h 328863"/>
                <a:gd name="T50" fmla="*/ 108 w 736145"/>
                <a:gd name="T51" fmla="*/ 26 h 328863"/>
                <a:gd name="T52" fmla="*/ 104 w 736145"/>
                <a:gd name="T53" fmla="*/ 19 h 328863"/>
                <a:gd name="T54" fmla="*/ 102 w 736145"/>
                <a:gd name="T55" fmla="*/ 13 h 328863"/>
                <a:gd name="T56" fmla="*/ 98 w 736145"/>
                <a:gd name="T57" fmla="*/ 11 h 328863"/>
                <a:gd name="T58" fmla="*/ 93 w 736145"/>
                <a:gd name="T59" fmla="*/ 6 h 328863"/>
                <a:gd name="T60" fmla="*/ 86 w 736145"/>
                <a:gd name="T61" fmla="*/ 6 h 328863"/>
                <a:gd name="T62" fmla="*/ 78 w 736145"/>
                <a:gd name="T63" fmla="*/ 2 h 328863"/>
                <a:gd name="T64" fmla="*/ 70 w 736145"/>
                <a:gd name="T65" fmla="*/ 2 h 328863"/>
                <a:gd name="T66" fmla="*/ 63 w 736145"/>
                <a:gd name="T67" fmla="*/ 6 h 328863"/>
                <a:gd name="T68" fmla="*/ 53 w 736145"/>
                <a:gd name="T69" fmla="*/ 10 h 328863"/>
                <a:gd name="T70" fmla="*/ 40 w 736145"/>
                <a:gd name="T71" fmla="*/ 12 h 328863"/>
                <a:gd name="T72" fmla="*/ 26 w 736145"/>
                <a:gd name="T73" fmla="*/ 0 h 328863"/>
                <a:gd name="T74" fmla="*/ 21 w 736145"/>
                <a:gd name="T75" fmla="*/ 5 h 328863"/>
                <a:gd name="T76" fmla="*/ 24 w 736145"/>
                <a:gd name="T77" fmla="*/ 10 h 328863"/>
                <a:gd name="T78" fmla="*/ 19 w 736145"/>
                <a:gd name="T79" fmla="*/ 13 h 328863"/>
                <a:gd name="T80" fmla="*/ 21 w 736145"/>
                <a:gd name="T81" fmla="*/ 19 h 328863"/>
                <a:gd name="T82" fmla="*/ 13 w 736145"/>
                <a:gd name="T83" fmla="*/ 15 h 328863"/>
                <a:gd name="T84" fmla="*/ 8 w 736145"/>
                <a:gd name="T85" fmla="*/ 17 h 328863"/>
                <a:gd name="T86" fmla="*/ 7 w 736145"/>
                <a:gd name="T87" fmla="*/ 12 h 328863"/>
                <a:gd name="T88" fmla="*/ 4 w 736145"/>
                <a:gd name="T89" fmla="*/ 10 h 328863"/>
                <a:gd name="T90" fmla="*/ 0 w 736145"/>
                <a:gd name="T91" fmla="*/ 12 h 328863"/>
                <a:gd name="T92" fmla="*/ 3 w 736145"/>
                <a:gd name="T93" fmla="*/ 20 h 328863"/>
                <a:gd name="T94" fmla="*/ 4 w 736145"/>
                <a:gd name="T95" fmla="*/ 25 h 328863"/>
                <a:gd name="T96" fmla="*/ 7 w 736145"/>
                <a:gd name="T97" fmla="*/ 31 h 3288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145"/>
                <a:gd name="T148" fmla="*/ 0 h 328863"/>
                <a:gd name="T149" fmla="*/ 736145 w 736145"/>
                <a:gd name="T150" fmla="*/ 328863 h 3288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145" h="328863">
                  <a:moveTo>
                    <a:pt x="46093" y="223546"/>
                  </a:moveTo>
                  <a:lnTo>
                    <a:pt x="96889" y="230582"/>
                  </a:lnTo>
                  <a:lnTo>
                    <a:pt x="168320" y="230582"/>
                  </a:lnTo>
                  <a:lnTo>
                    <a:pt x="215941" y="255207"/>
                  </a:lnTo>
                  <a:lnTo>
                    <a:pt x="250864" y="307975"/>
                  </a:lnTo>
                  <a:lnTo>
                    <a:pt x="311184" y="302699"/>
                  </a:lnTo>
                  <a:lnTo>
                    <a:pt x="350869" y="299181"/>
                  </a:lnTo>
                  <a:lnTo>
                    <a:pt x="381028" y="255207"/>
                  </a:lnTo>
                  <a:lnTo>
                    <a:pt x="358805" y="230582"/>
                  </a:lnTo>
                  <a:lnTo>
                    <a:pt x="333407" y="207716"/>
                  </a:lnTo>
                  <a:lnTo>
                    <a:pt x="381028" y="183091"/>
                  </a:lnTo>
                  <a:lnTo>
                    <a:pt x="404839" y="135599"/>
                  </a:lnTo>
                  <a:lnTo>
                    <a:pt x="428649" y="110973"/>
                  </a:lnTo>
                  <a:lnTo>
                    <a:pt x="458810" y="82830"/>
                  </a:lnTo>
                  <a:lnTo>
                    <a:pt x="530241" y="112733"/>
                  </a:lnTo>
                  <a:lnTo>
                    <a:pt x="579450" y="112733"/>
                  </a:lnTo>
                  <a:lnTo>
                    <a:pt x="588974" y="160224"/>
                  </a:lnTo>
                  <a:lnTo>
                    <a:pt x="560402" y="179573"/>
                  </a:lnTo>
                  <a:lnTo>
                    <a:pt x="571513" y="218269"/>
                  </a:lnTo>
                  <a:lnTo>
                    <a:pt x="593270" y="240757"/>
                  </a:lnTo>
                  <a:lnTo>
                    <a:pt x="605176" y="288382"/>
                  </a:lnTo>
                  <a:lnTo>
                    <a:pt x="674232" y="328863"/>
                  </a:lnTo>
                  <a:lnTo>
                    <a:pt x="709951" y="324100"/>
                  </a:lnTo>
                  <a:lnTo>
                    <a:pt x="729001" y="295525"/>
                  </a:lnTo>
                  <a:lnTo>
                    <a:pt x="736145" y="250282"/>
                  </a:lnTo>
                  <a:lnTo>
                    <a:pt x="705188" y="185988"/>
                  </a:lnTo>
                  <a:lnTo>
                    <a:pt x="679454" y="135599"/>
                  </a:lnTo>
                  <a:lnTo>
                    <a:pt x="669930" y="96902"/>
                  </a:lnTo>
                  <a:lnTo>
                    <a:pt x="641357" y="81072"/>
                  </a:lnTo>
                  <a:lnTo>
                    <a:pt x="609610" y="45893"/>
                  </a:lnTo>
                  <a:lnTo>
                    <a:pt x="560402" y="40616"/>
                  </a:lnTo>
                  <a:lnTo>
                    <a:pt x="509606" y="15991"/>
                  </a:lnTo>
                  <a:lnTo>
                    <a:pt x="460397" y="15991"/>
                  </a:lnTo>
                  <a:lnTo>
                    <a:pt x="409601" y="40616"/>
                  </a:lnTo>
                  <a:lnTo>
                    <a:pt x="346106" y="74036"/>
                  </a:lnTo>
                  <a:lnTo>
                    <a:pt x="263563" y="84590"/>
                  </a:lnTo>
                  <a:lnTo>
                    <a:pt x="169054" y="0"/>
                  </a:lnTo>
                  <a:lnTo>
                    <a:pt x="135720" y="35619"/>
                  </a:lnTo>
                  <a:lnTo>
                    <a:pt x="155959" y="69918"/>
                  </a:lnTo>
                  <a:lnTo>
                    <a:pt x="125005" y="94983"/>
                  </a:lnTo>
                  <a:lnTo>
                    <a:pt x="139292" y="134559"/>
                  </a:lnTo>
                  <a:lnTo>
                    <a:pt x="82146" y="106856"/>
                  </a:lnTo>
                  <a:lnTo>
                    <a:pt x="52383" y="120048"/>
                  </a:lnTo>
                  <a:lnTo>
                    <a:pt x="42859" y="89707"/>
                  </a:lnTo>
                  <a:lnTo>
                    <a:pt x="25001" y="76514"/>
                  </a:lnTo>
                  <a:lnTo>
                    <a:pt x="0" y="87067"/>
                  </a:lnTo>
                  <a:lnTo>
                    <a:pt x="20695" y="147912"/>
                  </a:lnTo>
                  <a:lnTo>
                    <a:pt x="27045" y="181331"/>
                  </a:lnTo>
                  <a:lnTo>
                    <a:pt x="46093" y="223546"/>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4" name="Freeform 190">
              <a:extLst>
                <a:ext uri="{FF2B5EF4-FFF2-40B4-BE49-F238E27FC236}">
                  <a16:creationId xmlns:a16="http://schemas.microsoft.com/office/drawing/2014/main" id="{C36D330E-87D5-6A02-6FF4-69F0EE884BEE}"/>
                </a:ext>
              </a:extLst>
            </p:cNvPr>
            <p:cNvSpPr>
              <a:spLocks/>
            </p:cNvSpPr>
            <p:nvPr/>
          </p:nvSpPr>
          <p:spPr bwMode="auto">
            <a:xfrm>
              <a:off x="2326273" y="3495615"/>
              <a:ext cx="259957" cy="110628"/>
            </a:xfrm>
            <a:custGeom>
              <a:avLst/>
              <a:gdLst>
                <a:gd name="T0" fmla="*/ 0 w 1073944"/>
                <a:gd name="T1" fmla="*/ 25 h 446719"/>
                <a:gd name="T2" fmla="*/ 0 w 1073944"/>
                <a:gd name="T3" fmla="*/ 20 h 446719"/>
                <a:gd name="T4" fmla="*/ 5 w 1073944"/>
                <a:gd name="T5" fmla="*/ 11 h 446719"/>
                <a:gd name="T6" fmla="*/ 12 w 1073944"/>
                <a:gd name="T7" fmla="*/ 8 h 446719"/>
                <a:gd name="T8" fmla="*/ 21 w 1073944"/>
                <a:gd name="T9" fmla="*/ 4 h 446719"/>
                <a:gd name="T10" fmla="*/ 30 w 1073944"/>
                <a:gd name="T11" fmla="*/ 0 h 446719"/>
                <a:gd name="T12" fmla="*/ 40 w 1073944"/>
                <a:gd name="T13" fmla="*/ 3 h 446719"/>
                <a:gd name="T14" fmla="*/ 47 w 1073944"/>
                <a:gd name="T15" fmla="*/ 3 h 446719"/>
                <a:gd name="T16" fmla="*/ 55 w 1073944"/>
                <a:gd name="T17" fmla="*/ 1 h 446719"/>
                <a:gd name="T18" fmla="*/ 60 w 1073944"/>
                <a:gd name="T19" fmla="*/ 4 h 446719"/>
                <a:gd name="T20" fmla="*/ 66 w 1073944"/>
                <a:gd name="T21" fmla="*/ 0 h 446719"/>
                <a:gd name="T22" fmla="*/ 69 w 1073944"/>
                <a:gd name="T23" fmla="*/ 6 h 446719"/>
                <a:gd name="T24" fmla="*/ 74 w 1073944"/>
                <a:gd name="T25" fmla="*/ 11 h 446719"/>
                <a:gd name="T26" fmla="*/ 82 w 1073944"/>
                <a:gd name="T27" fmla="*/ 10 h 446719"/>
                <a:gd name="T28" fmla="*/ 89 w 1073944"/>
                <a:gd name="T29" fmla="*/ 10 h 446719"/>
                <a:gd name="T30" fmla="*/ 92 w 1073944"/>
                <a:gd name="T31" fmla="*/ 12 h 446719"/>
                <a:gd name="T32" fmla="*/ 98 w 1073944"/>
                <a:gd name="T33" fmla="*/ 14 h 446719"/>
                <a:gd name="T34" fmla="*/ 103 w 1073944"/>
                <a:gd name="T35" fmla="*/ 18 h 446719"/>
                <a:gd name="T36" fmla="*/ 106 w 1073944"/>
                <a:gd name="T37" fmla="*/ 18 h 446719"/>
                <a:gd name="T38" fmla="*/ 112 w 1073944"/>
                <a:gd name="T39" fmla="*/ 20 h 446719"/>
                <a:gd name="T40" fmla="*/ 118 w 1073944"/>
                <a:gd name="T41" fmla="*/ 27 h 446719"/>
                <a:gd name="T42" fmla="*/ 124 w 1073944"/>
                <a:gd name="T43" fmla="*/ 31 h 446719"/>
                <a:gd name="T44" fmla="*/ 133 w 1073944"/>
                <a:gd name="T45" fmla="*/ 33 h 446719"/>
                <a:gd name="T46" fmla="*/ 138 w 1073944"/>
                <a:gd name="T47" fmla="*/ 40 h 446719"/>
                <a:gd name="T48" fmla="*/ 145 w 1073944"/>
                <a:gd name="T49" fmla="*/ 42 h 446719"/>
                <a:gd name="T50" fmla="*/ 151 w 1073944"/>
                <a:gd name="T51" fmla="*/ 45 h 446719"/>
                <a:gd name="T52" fmla="*/ 159 w 1073944"/>
                <a:gd name="T53" fmla="*/ 47 h 446719"/>
                <a:gd name="T54" fmla="*/ 158 w 1073944"/>
                <a:gd name="T55" fmla="*/ 54 h 446719"/>
                <a:gd name="T56" fmla="*/ 147 w 1073944"/>
                <a:gd name="T57" fmla="*/ 56 h 446719"/>
                <a:gd name="T58" fmla="*/ 138 w 1073944"/>
                <a:gd name="T59" fmla="*/ 57 h 446719"/>
                <a:gd name="T60" fmla="*/ 128 w 1073944"/>
                <a:gd name="T61" fmla="*/ 61 h 446719"/>
                <a:gd name="T62" fmla="*/ 118 w 1073944"/>
                <a:gd name="T63" fmla="*/ 64 h 446719"/>
                <a:gd name="T64" fmla="*/ 120 w 1073944"/>
                <a:gd name="T65" fmla="*/ 60 h 446719"/>
                <a:gd name="T66" fmla="*/ 103 w 1073944"/>
                <a:gd name="T67" fmla="*/ 62 h 446719"/>
                <a:gd name="T68" fmla="*/ 102 w 1073944"/>
                <a:gd name="T69" fmla="*/ 59 h 446719"/>
                <a:gd name="T70" fmla="*/ 106 w 1073944"/>
                <a:gd name="T71" fmla="*/ 53 h 446719"/>
                <a:gd name="T72" fmla="*/ 110 w 1073944"/>
                <a:gd name="T73" fmla="*/ 47 h 446719"/>
                <a:gd name="T74" fmla="*/ 110 w 1073944"/>
                <a:gd name="T75" fmla="*/ 42 h 446719"/>
                <a:gd name="T76" fmla="*/ 106 w 1073944"/>
                <a:gd name="T77" fmla="*/ 42 h 446719"/>
                <a:gd name="T78" fmla="*/ 99 w 1073944"/>
                <a:gd name="T79" fmla="*/ 44 h 446719"/>
                <a:gd name="T80" fmla="*/ 93 w 1073944"/>
                <a:gd name="T81" fmla="*/ 41 h 446719"/>
                <a:gd name="T82" fmla="*/ 90 w 1073944"/>
                <a:gd name="T83" fmla="*/ 34 h 446719"/>
                <a:gd name="T84" fmla="*/ 87 w 1073944"/>
                <a:gd name="T85" fmla="*/ 31 h 446719"/>
                <a:gd name="T86" fmla="*/ 83 w 1073944"/>
                <a:gd name="T87" fmla="*/ 29 h 446719"/>
                <a:gd name="T88" fmla="*/ 75 w 1073944"/>
                <a:gd name="T89" fmla="*/ 29 h 446719"/>
                <a:gd name="T90" fmla="*/ 66 w 1073944"/>
                <a:gd name="T91" fmla="*/ 29 h 446719"/>
                <a:gd name="T92" fmla="*/ 60 w 1073944"/>
                <a:gd name="T93" fmla="*/ 24 h 446719"/>
                <a:gd name="T94" fmla="*/ 55 w 1073944"/>
                <a:gd name="T95" fmla="*/ 23 h 446719"/>
                <a:gd name="T96" fmla="*/ 52 w 1073944"/>
                <a:gd name="T97" fmla="*/ 26 h 446719"/>
                <a:gd name="T98" fmla="*/ 49 w 1073944"/>
                <a:gd name="T99" fmla="*/ 22 h 446719"/>
                <a:gd name="T100" fmla="*/ 46 w 1073944"/>
                <a:gd name="T101" fmla="*/ 27 h 446719"/>
                <a:gd name="T102" fmla="*/ 45 w 1073944"/>
                <a:gd name="T103" fmla="*/ 19 h 446719"/>
                <a:gd name="T104" fmla="*/ 39 w 1073944"/>
                <a:gd name="T105" fmla="*/ 18 h 446719"/>
                <a:gd name="T106" fmla="*/ 31 w 1073944"/>
                <a:gd name="T107" fmla="*/ 14 h 446719"/>
                <a:gd name="T108" fmla="*/ 24 w 1073944"/>
                <a:gd name="T109" fmla="*/ 19 h 446719"/>
                <a:gd name="T110" fmla="*/ 13 w 1073944"/>
                <a:gd name="T111" fmla="*/ 25 h 446719"/>
                <a:gd name="T112" fmla="*/ 7 w 1073944"/>
                <a:gd name="T113" fmla="*/ 27 h 446719"/>
                <a:gd name="T114" fmla="*/ 0 w 1073944"/>
                <a:gd name="T115" fmla="*/ 25 h 4467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73944"/>
                <a:gd name="T175" fmla="*/ 0 h 446719"/>
                <a:gd name="T176" fmla="*/ 1073944 w 1073944"/>
                <a:gd name="T177" fmla="*/ 446719 h 4467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73944" h="446719">
                  <a:moveTo>
                    <a:pt x="0" y="172331"/>
                  </a:moveTo>
                  <a:lnTo>
                    <a:pt x="458" y="139489"/>
                  </a:lnTo>
                  <a:lnTo>
                    <a:pt x="33796" y="75924"/>
                  </a:lnTo>
                  <a:lnTo>
                    <a:pt x="80963" y="58031"/>
                  </a:lnTo>
                  <a:lnTo>
                    <a:pt x="140494" y="24693"/>
                  </a:lnTo>
                  <a:lnTo>
                    <a:pt x="200025" y="881"/>
                  </a:lnTo>
                  <a:lnTo>
                    <a:pt x="266700" y="19931"/>
                  </a:lnTo>
                  <a:lnTo>
                    <a:pt x="314325" y="17549"/>
                  </a:lnTo>
                  <a:lnTo>
                    <a:pt x="370346" y="3531"/>
                  </a:lnTo>
                  <a:lnTo>
                    <a:pt x="403683" y="30016"/>
                  </a:lnTo>
                  <a:lnTo>
                    <a:pt x="443371" y="0"/>
                  </a:lnTo>
                  <a:lnTo>
                    <a:pt x="467183" y="38845"/>
                  </a:lnTo>
                  <a:lnTo>
                    <a:pt x="495758" y="74159"/>
                  </a:lnTo>
                  <a:lnTo>
                    <a:pt x="552908" y="68861"/>
                  </a:lnTo>
                  <a:lnTo>
                    <a:pt x="600533" y="68861"/>
                  </a:lnTo>
                  <a:lnTo>
                    <a:pt x="622758" y="82987"/>
                  </a:lnTo>
                  <a:lnTo>
                    <a:pt x="662446" y="98879"/>
                  </a:lnTo>
                  <a:lnTo>
                    <a:pt x="697371" y="127130"/>
                  </a:lnTo>
                  <a:lnTo>
                    <a:pt x="718008" y="121832"/>
                  </a:lnTo>
                  <a:lnTo>
                    <a:pt x="757696" y="139489"/>
                  </a:lnTo>
                  <a:lnTo>
                    <a:pt x="795338" y="184237"/>
                  </a:lnTo>
                  <a:lnTo>
                    <a:pt x="833438" y="212812"/>
                  </a:lnTo>
                  <a:lnTo>
                    <a:pt x="897396" y="231305"/>
                  </a:lnTo>
                  <a:lnTo>
                    <a:pt x="928688" y="279487"/>
                  </a:lnTo>
                  <a:lnTo>
                    <a:pt x="976313" y="293774"/>
                  </a:lnTo>
                  <a:lnTo>
                    <a:pt x="1021557" y="310443"/>
                  </a:lnTo>
                  <a:lnTo>
                    <a:pt x="1073944" y="327112"/>
                  </a:lnTo>
                  <a:lnTo>
                    <a:pt x="1069182" y="372356"/>
                  </a:lnTo>
                  <a:lnTo>
                    <a:pt x="995363" y="386643"/>
                  </a:lnTo>
                  <a:lnTo>
                    <a:pt x="931069" y="393787"/>
                  </a:lnTo>
                  <a:lnTo>
                    <a:pt x="862471" y="425531"/>
                  </a:lnTo>
                  <a:lnTo>
                    <a:pt x="795796" y="446719"/>
                  </a:lnTo>
                  <a:lnTo>
                    <a:pt x="809625" y="415218"/>
                  </a:lnTo>
                  <a:lnTo>
                    <a:pt x="695783" y="429062"/>
                  </a:lnTo>
                  <a:lnTo>
                    <a:pt x="684671" y="407874"/>
                  </a:lnTo>
                  <a:lnTo>
                    <a:pt x="718008" y="363732"/>
                  </a:lnTo>
                  <a:lnTo>
                    <a:pt x="741821" y="324887"/>
                  </a:lnTo>
                  <a:lnTo>
                    <a:pt x="744996" y="293104"/>
                  </a:lnTo>
                  <a:lnTo>
                    <a:pt x="718008" y="287807"/>
                  </a:lnTo>
                  <a:lnTo>
                    <a:pt x="670383" y="301932"/>
                  </a:lnTo>
                  <a:lnTo>
                    <a:pt x="625933" y="282510"/>
                  </a:lnTo>
                  <a:lnTo>
                    <a:pt x="608471" y="234836"/>
                  </a:lnTo>
                  <a:lnTo>
                    <a:pt x="589421" y="213648"/>
                  </a:lnTo>
                  <a:lnTo>
                    <a:pt x="557671" y="201289"/>
                  </a:lnTo>
                  <a:lnTo>
                    <a:pt x="508458" y="201289"/>
                  </a:lnTo>
                  <a:lnTo>
                    <a:pt x="444958" y="199522"/>
                  </a:lnTo>
                  <a:lnTo>
                    <a:pt x="402096" y="169506"/>
                  </a:lnTo>
                  <a:lnTo>
                    <a:pt x="373521" y="160677"/>
                  </a:lnTo>
                  <a:lnTo>
                    <a:pt x="349708" y="178334"/>
                  </a:lnTo>
                  <a:lnTo>
                    <a:pt x="329071" y="151849"/>
                  </a:lnTo>
                  <a:lnTo>
                    <a:pt x="313196" y="187163"/>
                  </a:lnTo>
                  <a:lnTo>
                    <a:pt x="304800" y="129468"/>
                  </a:lnTo>
                  <a:lnTo>
                    <a:pt x="263983" y="125363"/>
                  </a:lnTo>
                  <a:lnTo>
                    <a:pt x="209550" y="98512"/>
                  </a:lnTo>
                  <a:lnTo>
                    <a:pt x="159544" y="134231"/>
                  </a:lnTo>
                  <a:lnTo>
                    <a:pt x="88107" y="172331"/>
                  </a:lnTo>
                  <a:lnTo>
                    <a:pt x="45244" y="186618"/>
                  </a:lnTo>
                  <a:lnTo>
                    <a:pt x="0" y="17233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5" name="Freeform 191">
              <a:extLst>
                <a:ext uri="{FF2B5EF4-FFF2-40B4-BE49-F238E27FC236}">
                  <a16:creationId xmlns:a16="http://schemas.microsoft.com/office/drawing/2014/main" id="{F3E601DD-D8B5-96F0-7CFC-C28CF5895E3B}"/>
                </a:ext>
              </a:extLst>
            </p:cNvPr>
            <p:cNvSpPr>
              <a:spLocks/>
            </p:cNvSpPr>
            <p:nvPr/>
          </p:nvSpPr>
          <p:spPr bwMode="auto">
            <a:xfrm>
              <a:off x="2483144" y="3636205"/>
              <a:ext cx="51542" cy="18438"/>
            </a:xfrm>
            <a:custGeom>
              <a:avLst/>
              <a:gdLst>
                <a:gd name="T0" fmla="*/ 2147483647 w 413"/>
                <a:gd name="T1" fmla="*/ 2147483647 h 168"/>
                <a:gd name="T2" fmla="*/ 2147483647 w 413"/>
                <a:gd name="T3" fmla="*/ 2147483647 h 168"/>
                <a:gd name="T4" fmla="*/ 2147483647 w 413"/>
                <a:gd name="T5" fmla="*/ 2147483647 h 168"/>
                <a:gd name="T6" fmla="*/ 2147483647 w 413"/>
                <a:gd name="T7" fmla="*/ 2147483647 h 168"/>
                <a:gd name="T8" fmla="*/ 2147483647 w 413"/>
                <a:gd name="T9" fmla="*/ 0 h 168"/>
                <a:gd name="T10" fmla="*/ 2147483647 w 413"/>
                <a:gd name="T11" fmla="*/ 2147483647 h 168"/>
                <a:gd name="T12" fmla="*/ 0 w 413"/>
                <a:gd name="T13" fmla="*/ 2147483647 h 168"/>
                <a:gd name="T14" fmla="*/ 2147483647 w 413"/>
                <a:gd name="T15" fmla="*/ 2147483647 h 168"/>
                <a:gd name="T16" fmla="*/ 2147483647 w 413"/>
                <a:gd name="T17" fmla="*/ 2147483647 h 168"/>
                <a:gd name="T18" fmla="*/ 2147483647 w 413"/>
                <a:gd name="T19" fmla="*/ 2147483647 h 168"/>
                <a:gd name="T20" fmla="*/ 2147483647 w 413"/>
                <a:gd name="T21" fmla="*/ 2147483647 h 168"/>
                <a:gd name="T22" fmla="*/ 2147483647 w 413"/>
                <a:gd name="T23" fmla="*/ 2147483647 h 1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3"/>
                <a:gd name="T37" fmla="*/ 0 h 168"/>
                <a:gd name="T38" fmla="*/ 413 w 413"/>
                <a:gd name="T39" fmla="*/ 168 h 1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3" h="168">
                  <a:moveTo>
                    <a:pt x="408" y="26"/>
                  </a:moveTo>
                  <a:lnTo>
                    <a:pt x="349" y="24"/>
                  </a:lnTo>
                  <a:lnTo>
                    <a:pt x="293" y="8"/>
                  </a:lnTo>
                  <a:lnTo>
                    <a:pt x="182" y="26"/>
                  </a:lnTo>
                  <a:lnTo>
                    <a:pt x="125" y="0"/>
                  </a:lnTo>
                  <a:lnTo>
                    <a:pt x="61" y="32"/>
                  </a:lnTo>
                  <a:lnTo>
                    <a:pt x="0" y="72"/>
                  </a:lnTo>
                  <a:lnTo>
                    <a:pt x="93" y="128"/>
                  </a:lnTo>
                  <a:lnTo>
                    <a:pt x="205" y="168"/>
                  </a:lnTo>
                  <a:lnTo>
                    <a:pt x="301" y="120"/>
                  </a:lnTo>
                  <a:lnTo>
                    <a:pt x="413" y="112"/>
                  </a:lnTo>
                  <a:lnTo>
                    <a:pt x="408" y="2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6" name="Freeform 192">
              <a:extLst>
                <a:ext uri="{FF2B5EF4-FFF2-40B4-BE49-F238E27FC236}">
                  <a16:creationId xmlns:a16="http://schemas.microsoft.com/office/drawing/2014/main" id="{016275F9-C1BE-DCE6-43D9-5FA3445B9037}"/>
                </a:ext>
              </a:extLst>
            </p:cNvPr>
            <p:cNvSpPr>
              <a:spLocks/>
            </p:cNvSpPr>
            <p:nvPr/>
          </p:nvSpPr>
          <p:spPr bwMode="auto">
            <a:xfrm rot="441143">
              <a:off x="2570543" y="3587805"/>
              <a:ext cx="80677" cy="71448"/>
            </a:xfrm>
            <a:custGeom>
              <a:avLst/>
              <a:gdLst>
                <a:gd name="T0" fmla="*/ 2147483647 w 635"/>
                <a:gd name="T1" fmla="*/ 2147483647 h 457"/>
                <a:gd name="T2" fmla="*/ 2147483647 w 635"/>
                <a:gd name="T3" fmla="*/ 2147483647 h 457"/>
                <a:gd name="T4" fmla="*/ 2147483647 w 635"/>
                <a:gd name="T5" fmla="*/ 2147483647 h 457"/>
                <a:gd name="T6" fmla="*/ 2147483647 w 635"/>
                <a:gd name="T7" fmla="*/ 2147483647 h 457"/>
                <a:gd name="T8" fmla="*/ 2147483647 w 635"/>
                <a:gd name="T9" fmla="*/ 2147483647 h 457"/>
                <a:gd name="T10" fmla="*/ 2147483647 w 635"/>
                <a:gd name="T11" fmla="*/ 2147483647 h 457"/>
                <a:gd name="T12" fmla="*/ 2147483647 w 635"/>
                <a:gd name="T13" fmla="*/ 2147483647 h 457"/>
                <a:gd name="T14" fmla="*/ 2147483647 w 635"/>
                <a:gd name="T15" fmla="*/ 2147483647 h 457"/>
                <a:gd name="T16" fmla="*/ 0 w 635"/>
                <a:gd name="T17" fmla="*/ 2147483647 h 457"/>
                <a:gd name="T18" fmla="*/ 2147483647 w 635"/>
                <a:gd name="T19" fmla="*/ 2147483647 h 457"/>
                <a:gd name="T20" fmla="*/ 2147483647 w 635"/>
                <a:gd name="T21" fmla="*/ 2147483647 h 457"/>
                <a:gd name="T22" fmla="*/ 2147483647 w 635"/>
                <a:gd name="T23" fmla="*/ 2147483647 h 457"/>
                <a:gd name="T24" fmla="*/ 2147483647 w 635"/>
                <a:gd name="T25" fmla="*/ 2147483647 h 457"/>
                <a:gd name="T26" fmla="*/ 2147483647 w 635"/>
                <a:gd name="T27" fmla="*/ 2147483647 h 457"/>
                <a:gd name="T28" fmla="*/ 2147483647 w 635"/>
                <a:gd name="T29" fmla="*/ 2147483647 h 457"/>
                <a:gd name="T30" fmla="*/ 2147483647 w 635"/>
                <a:gd name="T31" fmla="*/ 2147483647 h 457"/>
                <a:gd name="T32" fmla="*/ 2147483647 w 635"/>
                <a:gd name="T33" fmla="*/ 2147483647 h 457"/>
                <a:gd name="T34" fmla="*/ 2147483647 w 635"/>
                <a:gd name="T35" fmla="*/ 2147483647 h 457"/>
                <a:gd name="T36" fmla="*/ 2147483647 w 635"/>
                <a:gd name="T37" fmla="*/ 2147483647 h 457"/>
                <a:gd name="T38" fmla="*/ 2147483647 w 635"/>
                <a:gd name="T39" fmla="*/ 0 h 457"/>
                <a:gd name="T40" fmla="*/ 2147483647 w 635"/>
                <a:gd name="T41" fmla="*/ 2147483647 h 457"/>
                <a:gd name="T42" fmla="*/ 2147483647 w 635"/>
                <a:gd name="T43" fmla="*/ 2147483647 h 457"/>
                <a:gd name="T44" fmla="*/ 2147483647 w 635"/>
                <a:gd name="T45" fmla="*/ 2147483647 h 457"/>
                <a:gd name="T46" fmla="*/ 2147483647 w 635"/>
                <a:gd name="T47" fmla="*/ 2147483647 h 4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35"/>
                <a:gd name="T73" fmla="*/ 0 h 457"/>
                <a:gd name="T74" fmla="*/ 635 w 635"/>
                <a:gd name="T75" fmla="*/ 457 h 4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35" h="457">
                  <a:moveTo>
                    <a:pt x="219" y="72"/>
                  </a:moveTo>
                  <a:lnTo>
                    <a:pt x="351" y="114"/>
                  </a:lnTo>
                  <a:lnTo>
                    <a:pt x="363" y="185"/>
                  </a:lnTo>
                  <a:lnTo>
                    <a:pt x="441" y="228"/>
                  </a:lnTo>
                  <a:lnTo>
                    <a:pt x="453" y="270"/>
                  </a:lnTo>
                  <a:lnTo>
                    <a:pt x="369" y="306"/>
                  </a:lnTo>
                  <a:lnTo>
                    <a:pt x="243" y="342"/>
                  </a:lnTo>
                  <a:lnTo>
                    <a:pt x="129" y="342"/>
                  </a:lnTo>
                  <a:lnTo>
                    <a:pt x="0" y="367"/>
                  </a:lnTo>
                  <a:lnTo>
                    <a:pt x="75" y="414"/>
                  </a:lnTo>
                  <a:lnTo>
                    <a:pt x="136" y="412"/>
                  </a:lnTo>
                  <a:lnTo>
                    <a:pt x="227" y="457"/>
                  </a:lnTo>
                  <a:lnTo>
                    <a:pt x="285" y="426"/>
                  </a:lnTo>
                  <a:lnTo>
                    <a:pt x="405" y="408"/>
                  </a:lnTo>
                  <a:lnTo>
                    <a:pt x="549" y="360"/>
                  </a:lnTo>
                  <a:lnTo>
                    <a:pt x="635" y="367"/>
                  </a:lnTo>
                  <a:lnTo>
                    <a:pt x="603" y="288"/>
                  </a:lnTo>
                  <a:lnTo>
                    <a:pt x="561" y="174"/>
                  </a:lnTo>
                  <a:lnTo>
                    <a:pt x="597" y="108"/>
                  </a:lnTo>
                  <a:lnTo>
                    <a:pt x="567" y="0"/>
                  </a:lnTo>
                  <a:lnTo>
                    <a:pt x="495" y="6"/>
                  </a:lnTo>
                  <a:lnTo>
                    <a:pt x="429" y="6"/>
                  </a:lnTo>
                  <a:lnTo>
                    <a:pt x="333" y="24"/>
                  </a:lnTo>
                  <a:lnTo>
                    <a:pt x="219" y="7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7" name="Freeform 193">
              <a:extLst>
                <a:ext uri="{FF2B5EF4-FFF2-40B4-BE49-F238E27FC236}">
                  <a16:creationId xmlns:a16="http://schemas.microsoft.com/office/drawing/2014/main" id="{D3A8C582-20A3-2126-02A0-037B256A2888}"/>
                </a:ext>
              </a:extLst>
            </p:cNvPr>
            <p:cNvSpPr>
              <a:spLocks/>
            </p:cNvSpPr>
            <p:nvPr/>
          </p:nvSpPr>
          <p:spPr bwMode="auto">
            <a:xfrm rot="441143">
              <a:off x="2640014" y="3587805"/>
              <a:ext cx="91881" cy="76056"/>
            </a:xfrm>
            <a:custGeom>
              <a:avLst/>
              <a:gdLst>
                <a:gd name="T0" fmla="*/ 2147483647 w 710"/>
                <a:gd name="T1" fmla="*/ 2147483647 h 490"/>
                <a:gd name="T2" fmla="*/ 2147483647 w 710"/>
                <a:gd name="T3" fmla="*/ 2147483647 h 490"/>
                <a:gd name="T4" fmla="*/ 2147483647 w 710"/>
                <a:gd name="T5" fmla="*/ 2147483647 h 490"/>
                <a:gd name="T6" fmla="*/ 2147483647 w 710"/>
                <a:gd name="T7" fmla="*/ 2147483647 h 490"/>
                <a:gd name="T8" fmla="*/ 2147483647 w 710"/>
                <a:gd name="T9" fmla="*/ 2147483647 h 490"/>
                <a:gd name="T10" fmla="*/ 2147483647 w 710"/>
                <a:gd name="T11" fmla="*/ 2147483647 h 490"/>
                <a:gd name="T12" fmla="*/ 2147483647 w 710"/>
                <a:gd name="T13" fmla="*/ 2147483647 h 490"/>
                <a:gd name="T14" fmla="*/ 2147483647 w 710"/>
                <a:gd name="T15" fmla="*/ 0 h 490"/>
                <a:gd name="T16" fmla="*/ 2147483647 w 710"/>
                <a:gd name="T17" fmla="*/ 2147483647 h 490"/>
                <a:gd name="T18" fmla="*/ 2147483647 w 710"/>
                <a:gd name="T19" fmla="*/ 2147483647 h 490"/>
                <a:gd name="T20" fmla="*/ 2147483647 w 710"/>
                <a:gd name="T21" fmla="*/ 2147483647 h 490"/>
                <a:gd name="T22" fmla="*/ 2147483647 w 710"/>
                <a:gd name="T23" fmla="*/ 2147483647 h 490"/>
                <a:gd name="T24" fmla="*/ 2147483647 w 710"/>
                <a:gd name="T25" fmla="*/ 2147483647 h 490"/>
                <a:gd name="T26" fmla="*/ 2147483647 w 710"/>
                <a:gd name="T27" fmla="*/ 2147483647 h 490"/>
                <a:gd name="T28" fmla="*/ 2147483647 w 710"/>
                <a:gd name="T29" fmla="*/ 2147483647 h 490"/>
                <a:gd name="T30" fmla="*/ 0 w 710"/>
                <a:gd name="T31" fmla="*/ 2147483647 h 490"/>
                <a:gd name="T32" fmla="*/ 2147483647 w 710"/>
                <a:gd name="T33" fmla="*/ 2147483647 h 490"/>
                <a:gd name="T34" fmla="*/ 2147483647 w 710"/>
                <a:gd name="T35" fmla="*/ 2147483647 h 490"/>
                <a:gd name="T36" fmla="*/ 2147483647 w 710"/>
                <a:gd name="T37" fmla="*/ 2147483647 h 490"/>
                <a:gd name="T38" fmla="*/ 2147483647 w 710"/>
                <a:gd name="T39" fmla="*/ 2147483647 h 490"/>
                <a:gd name="T40" fmla="*/ 2147483647 w 710"/>
                <a:gd name="T41" fmla="*/ 2147483647 h 490"/>
                <a:gd name="T42" fmla="*/ 2147483647 w 710"/>
                <a:gd name="T43" fmla="*/ 2147483647 h 490"/>
                <a:gd name="T44" fmla="*/ 2147483647 w 710"/>
                <a:gd name="T45" fmla="*/ 2147483647 h 490"/>
                <a:gd name="T46" fmla="*/ 2147483647 w 710"/>
                <a:gd name="T47" fmla="*/ 2147483647 h 490"/>
                <a:gd name="T48" fmla="*/ 2147483647 w 710"/>
                <a:gd name="T49" fmla="*/ 2147483647 h 490"/>
                <a:gd name="T50" fmla="*/ 2147483647 w 710"/>
                <a:gd name="T51" fmla="*/ 2147483647 h 490"/>
                <a:gd name="T52" fmla="*/ 2147483647 w 710"/>
                <a:gd name="T53" fmla="*/ 2147483647 h 490"/>
                <a:gd name="T54" fmla="*/ 2147483647 w 710"/>
                <a:gd name="T55" fmla="*/ 2147483647 h 490"/>
                <a:gd name="T56" fmla="*/ 2147483647 w 710"/>
                <a:gd name="T57" fmla="*/ 2147483647 h 490"/>
                <a:gd name="T58" fmla="*/ 2147483647 w 710"/>
                <a:gd name="T59" fmla="*/ 2147483647 h 490"/>
                <a:gd name="T60" fmla="*/ 2147483647 w 710"/>
                <a:gd name="T61" fmla="*/ 2147483647 h 4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10"/>
                <a:gd name="T94" fmla="*/ 0 h 490"/>
                <a:gd name="T95" fmla="*/ 710 w 710"/>
                <a:gd name="T96" fmla="*/ 490 h 4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10" h="490">
                  <a:moveTo>
                    <a:pt x="710" y="127"/>
                  </a:moveTo>
                  <a:lnTo>
                    <a:pt x="631" y="82"/>
                  </a:lnTo>
                  <a:lnTo>
                    <a:pt x="574" y="82"/>
                  </a:lnTo>
                  <a:lnTo>
                    <a:pt x="530" y="101"/>
                  </a:lnTo>
                  <a:lnTo>
                    <a:pt x="477" y="110"/>
                  </a:lnTo>
                  <a:lnTo>
                    <a:pt x="458" y="67"/>
                  </a:lnTo>
                  <a:lnTo>
                    <a:pt x="415" y="53"/>
                  </a:lnTo>
                  <a:lnTo>
                    <a:pt x="367" y="0"/>
                  </a:lnTo>
                  <a:lnTo>
                    <a:pt x="319" y="38"/>
                  </a:lnTo>
                  <a:lnTo>
                    <a:pt x="256" y="36"/>
                  </a:lnTo>
                  <a:lnTo>
                    <a:pt x="137" y="10"/>
                  </a:lnTo>
                  <a:lnTo>
                    <a:pt x="98" y="38"/>
                  </a:lnTo>
                  <a:lnTo>
                    <a:pt x="30" y="36"/>
                  </a:lnTo>
                  <a:lnTo>
                    <a:pt x="7" y="80"/>
                  </a:lnTo>
                  <a:lnTo>
                    <a:pt x="36" y="186"/>
                  </a:lnTo>
                  <a:lnTo>
                    <a:pt x="0" y="254"/>
                  </a:lnTo>
                  <a:lnTo>
                    <a:pt x="42" y="362"/>
                  </a:lnTo>
                  <a:lnTo>
                    <a:pt x="75" y="445"/>
                  </a:lnTo>
                  <a:lnTo>
                    <a:pt x="120" y="490"/>
                  </a:lnTo>
                  <a:lnTo>
                    <a:pt x="161" y="451"/>
                  </a:lnTo>
                  <a:lnTo>
                    <a:pt x="166" y="354"/>
                  </a:lnTo>
                  <a:lnTo>
                    <a:pt x="209" y="341"/>
                  </a:lnTo>
                  <a:lnTo>
                    <a:pt x="256" y="309"/>
                  </a:lnTo>
                  <a:lnTo>
                    <a:pt x="319" y="336"/>
                  </a:lnTo>
                  <a:lnTo>
                    <a:pt x="391" y="298"/>
                  </a:lnTo>
                  <a:lnTo>
                    <a:pt x="425" y="250"/>
                  </a:lnTo>
                  <a:lnTo>
                    <a:pt x="483" y="218"/>
                  </a:lnTo>
                  <a:lnTo>
                    <a:pt x="549" y="211"/>
                  </a:lnTo>
                  <a:lnTo>
                    <a:pt x="665" y="218"/>
                  </a:lnTo>
                  <a:lnTo>
                    <a:pt x="703" y="182"/>
                  </a:lnTo>
                  <a:lnTo>
                    <a:pt x="710" y="127"/>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198" name="Freeform 194">
              <a:extLst>
                <a:ext uri="{FF2B5EF4-FFF2-40B4-BE49-F238E27FC236}">
                  <a16:creationId xmlns:a16="http://schemas.microsoft.com/office/drawing/2014/main" id="{E12FCCF4-8952-569D-3D40-BD08BA89FEAB}"/>
                </a:ext>
              </a:extLst>
            </p:cNvPr>
            <p:cNvSpPr>
              <a:spLocks/>
            </p:cNvSpPr>
            <p:nvPr/>
          </p:nvSpPr>
          <p:spPr bwMode="auto">
            <a:xfrm rot="441143">
              <a:off x="2761029" y="3615463"/>
              <a:ext cx="40338" cy="27657"/>
            </a:xfrm>
            <a:custGeom>
              <a:avLst/>
              <a:gdLst>
                <a:gd name="T0" fmla="*/ 2147483647 w 318"/>
                <a:gd name="T1" fmla="*/ 2147483647 h 193"/>
                <a:gd name="T2" fmla="*/ 2147483647 w 318"/>
                <a:gd name="T3" fmla="*/ 0 h 193"/>
                <a:gd name="T4" fmla="*/ 2147483647 w 318"/>
                <a:gd name="T5" fmla="*/ 2147483647 h 193"/>
                <a:gd name="T6" fmla="*/ 2147483647 w 318"/>
                <a:gd name="T7" fmla="*/ 2147483647 h 193"/>
                <a:gd name="T8" fmla="*/ 2147483647 w 318"/>
                <a:gd name="T9" fmla="*/ 2147483647 h 193"/>
                <a:gd name="T10" fmla="*/ 0 w 318"/>
                <a:gd name="T11" fmla="*/ 2147483647 h 193"/>
                <a:gd name="T12" fmla="*/ 2147483647 w 318"/>
                <a:gd name="T13" fmla="*/ 2147483647 h 193"/>
                <a:gd name="T14" fmla="*/ 2147483647 w 318"/>
                <a:gd name="T15" fmla="*/ 2147483647 h 193"/>
                <a:gd name="T16" fmla="*/ 2147483647 w 318"/>
                <a:gd name="T17" fmla="*/ 2147483647 h 193"/>
                <a:gd name="T18" fmla="*/ 2147483647 w 318"/>
                <a:gd name="T19" fmla="*/ 2147483647 h 193"/>
                <a:gd name="T20" fmla="*/ 2147483647 w 318"/>
                <a:gd name="T21" fmla="*/ 2147483647 h 1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8"/>
                <a:gd name="T34" fmla="*/ 0 h 193"/>
                <a:gd name="T35" fmla="*/ 318 w 318"/>
                <a:gd name="T36" fmla="*/ 193 h 1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8" h="193">
                  <a:moveTo>
                    <a:pt x="318" y="65"/>
                  </a:moveTo>
                  <a:lnTo>
                    <a:pt x="293" y="0"/>
                  </a:lnTo>
                  <a:lnTo>
                    <a:pt x="182" y="18"/>
                  </a:lnTo>
                  <a:lnTo>
                    <a:pt x="142" y="9"/>
                  </a:lnTo>
                  <a:lnTo>
                    <a:pt x="62" y="49"/>
                  </a:lnTo>
                  <a:lnTo>
                    <a:pt x="0" y="64"/>
                  </a:lnTo>
                  <a:lnTo>
                    <a:pt x="22" y="145"/>
                  </a:lnTo>
                  <a:lnTo>
                    <a:pt x="62" y="193"/>
                  </a:lnTo>
                  <a:lnTo>
                    <a:pt x="158" y="169"/>
                  </a:lnTo>
                  <a:lnTo>
                    <a:pt x="262" y="113"/>
                  </a:lnTo>
                  <a:lnTo>
                    <a:pt x="318" y="6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nvGrpSpPr>
            <p:cNvPr id="199" name="Group 195">
              <a:extLst>
                <a:ext uri="{FF2B5EF4-FFF2-40B4-BE49-F238E27FC236}">
                  <a16:creationId xmlns:a16="http://schemas.microsoft.com/office/drawing/2014/main" id="{CEEEC66E-1684-FE46-E00A-D5563F95F439}"/>
                </a:ext>
              </a:extLst>
            </p:cNvPr>
            <p:cNvGrpSpPr>
              <a:grpSpLocks/>
            </p:cNvGrpSpPr>
            <p:nvPr/>
          </p:nvGrpSpPr>
          <p:grpSpPr bwMode="auto">
            <a:xfrm>
              <a:off x="2467370" y="3396536"/>
              <a:ext cx="147895" cy="96804"/>
              <a:chOff x="23104" y="15658"/>
              <a:chExt cx="3152" cy="1962"/>
            </a:xfrm>
            <a:solidFill>
              <a:srgbClr val="E0E0E0"/>
            </a:solidFill>
          </p:grpSpPr>
          <p:sp>
            <p:nvSpPr>
              <p:cNvPr id="300" name="Freeform 196">
                <a:extLst>
                  <a:ext uri="{FF2B5EF4-FFF2-40B4-BE49-F238E27FC236}">
                    <a16:creationId xmlns:a16="http://schemas.microsoft.com/office/drawing/2014/main" id="{15609E33-76E2-C693-FA20-8917B7F98322}"/>
                  </a:ext>
                </a:extLst>
              </p:cNvPr>
              <p:cNvSpPr>
                <a:spLocks/>
              </p:cNvSpPr>
              <p:nvPr/>
            </p:nvSpPr>
            <p:spPr bwMode="auto">
              <a:xfrm>
                <a:off x="23522" y="16648"/>
                <a:ext cx="280" cy="368"/>
              </a:xfrm>
              <a:custGeom>
                <a:avLst/>
                <a:gdLst>
                  <a:gd name="T0" fmla="*/ 14 w 280"/>
                  <a:gd name="T1" fmla="*/ 248 h 368"/>
                  <a:gd name="T2" fmla="*/ 14 w 280"/>
                  <a:gd name="T3" fmla="*/ 144 h 368"/>
                  <a:gd name="T4" fmla="*/ 86 w 280"/>
                  <a:gd name="T5" fmla="*/ 0 h 368"/>
                  <a:gd name="T6" fmla="*/ 198 w 280"/>
                  <a:gd name="T7" fmla="*/ 72 h 368"/>
                  <a:gd name="T8" fmla="*/ 280 w 280"/>
                  <a:gd name="T9" fmla="*/ 173 h 368"/>
                  <a:gd name="T10" fmla="*/ 248 w 280"/>
                  <a:gd name="T11" fmla="*/ 277 h 368"/>
                  <a:gd name="T12" fmla="*/ 222 w 280"/>
                  <a:gd name="T13" fmla="*/ 344 h 368"/>
                  <a:gd name="T14" fmla="*/ 142 w 280"/>
                  <a:gd name="T15" fmla="*/ 368 h 368"/>
                  <a:gd name="T16" fmla="*/ 0 w 280"/>
                  <a:gd name="T17" fmla="*/ 333 h 368"/>
                  <a:gd name="T18" fmla="*/ 14 w 280"/>
                  <a:gd name="T19" fmla="*/ 248 h 3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0"/>
                  <a:gd name="T31" fmla="*/ 0 h 368"/>
                  <a:gd name="T32" fmla="*/ 280 w 280"/>
                  <a:gd name="T33" fmla="*/ 368 h 3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0" h="368">
                    <a:moveTo>
                      <a:pt x="14" y="248"/>
                    </a:moveTo>
                    <a:lnTo>
                      <a:pt x="14" y="144"/>
                    </a:lnTo>
                    <a:lnTo>
                      <a:pt x="86" y="0"/>
                    </a:lnTo>
                    <a:lnTo>
                      <a:pt x="198" y="72"/>
                    </a:lnTo>
                    <a:lnTo>
                      <a:pt x="280" y="173"/>
                    </a:lnTo>
                    <a:lnTo>
                      <a:pt x="248" y="277"/>
                    </a:lnTo>
                    <a:lnTo>
                      <a:pt x="222" y="344"/>
                    </a:lnTo>
                    <a:lnTo>
                      <a:pt x="142" y="368"/>
                    </a:lnTo>
                    <a:lnTo>
                      <a:pt x="0" y="333"/>
                    </a:lnTo>
                    <a:lnTo>
                      <a:pt x="14" y="248"/>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1" name="Freeform 197">
                <a:extLst>
                  <a:ext uri="{FF2B5EF4-FFF2-40B4-BE49-F238E27FC236}">
                    <a16:creationId xmlns:a16="http://schemas.microsoft.com/office/drawing/2014/main" id="{56248DBD-982C-BDC6-44A7-551739CCCB64}"/>
                  </a:ext>
                </a:extLst>
              </p:cNvPr>
              <p:cNvSpPr>
                <a:spLocks/>
              </p:cNvSpPr>
              <p:nvPr/>
            </p:nvSpPr>
            <p:spPr bwMode="auto">
              <a:xfrm>
                <a:off x="23787" y="16968"/>
                <a:ext cx="183" cy="312"/>
              </a:xfrm>
              <a:custGeom>
                <a:avLst/>
                <a:gdLst>
                  <a:gd name="T0" fmla="*/ 0 w 183"/>
                  <a:gd name="T1" fmla="*/ 192 h 312"/>
                  <a:gd name="T2" fmla="*/ 33 w 183"/>
                  <a:gd name="T3" fmla="*/ 96 h 312"/>
                  <a:gd name="T4" fmla="*/ 63 w 183"/>
                  <a:gd name="T5" fmla="*/ 0 h 312"/>
                  <a:gd name="T6" fmla="*/ 147 w 183"/>
                  <a:gd name="T7" fmla="*/ 54 h 312"/>
                  <a:gd name="T8" fmla="*/ 183 w 183"/>
                  <a:gd name="T9" fmla="*/ 150 h 312"/>
                  <a:gd name="T10" fmla="*/ 177 w 183"/>
                  <a:gd name="T11" fmla="*/ 234 h 312"/>
                  <a:gd name="T12" fmla="*/ 128 w 183"/>
                  <a:gd name="T13" fmla="*/ 312 h 312"/>
                  <a:gd name="T14" fmla="*/ 33 w 183"/>
                  <a:gd name="T15" fmla="*/ 270 h 312"/>
                  <a:gd name="T16" fmla="*/ 0 w 183"/>
                  <a:gd name="T17" fmla="*/ 192 h 3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312"/>
                  <a:gd name="T29" fmla="*/ 183 w 183"/>
                  <a:gd name="T30" fmla="*/ 312 h 3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312">
                    <a:moveTo>
                      <a:pt x="0" y="192"/>
                    </a:moveTo>
                    <a:lnTo>
                      <a:pt x="33" y="96"/>
                    </a:lnTo>
                    <a:lnTo>
                      <a:pt x="63" y="0"/>
                    </a:lnTo>
                    <a:lnTo>
                      <a:pt x="147" y="54"/>
                    </a:lnTo>
                    <a:lnTo>
                      <a:pt x="183" y="150"/>
                    </a:lnTo>
                    <a:lnTo>
                      <a:pt x="177" y="234"/>
                    </a:lnTo>
                    <a:lnTo>
                      <a:pt x="128" y="312"/>
                    </a:lnTo>
                    <a:lnTo>
                      <a:pt x="33" y="270"/>
                    </a:lnTo>
                    <a:lnTo>
                      <a:pt x="0" y="192"/>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2" name="Freeform 198">
                <a:extLst>
                  <a:ext uri="{FF2B5EF4-FFF2-40B4-BE49-F238E27FC236}">
                    <a16:creationId xmlns:a16="http://schemas.microsoft.com/office/drawing/2014/main" id="{1F6591E3-AECE-22FC-DDAB-46E3D2E77291}"/>
                  </a:ext>
                </a:extLst>
              </p:cNvPr>
              <p:cNvSpPr>
                <a:spLocks/>
              </p:cNvSpPr>
              <p:nvPr/>
            </p:nvSpPr>
            <p:spPr bwMode="auto">
              <a:xfrm>
                <a:off x="24136" y="16240"/>
                <a:ext cx="376" cy="416"/>
              </a:xfrm>
              <a:custGeom>
                <a:avLst/>
                <a:gdLst>
                  <a:gd name="T0" fmla="*/ 16 w 376"/>
                  <a:gd name="T1" fmla="*/ 88 h 416"/>
                  <a:gd name="T2" fmla="*/ 0 w 376"/>
                  <a:gd name="T3" fmla="*/ 16 h 416"/>
                  <a:gd name="T4" fmla="*/ 104 w 376"/>
                  <a:gd name="T5" fmla="*/ 8 h 416"/>
                  <a:gd name="T6" fmla="*/ 200 w 376"/>
                  <a:gd name="T7" fmla="*/ 0 h 416"/>
                  <a:gd name="T8" fmla="*/ 304 w 376"/>
                  <a:gd name="T9" fmla="*/ 112 h 416"/>
                  <a:gd name="T10" fmla="*/ 376 w 376"/>
                  <a:gd name="T11" fmla="*/ 224 h 416"/>
                  <a:gd name="T12" fmla="*/ 368 w 376"/>
                  <a:gd name="T13" fmla="*/ 312 h 416"/>
                  <a:gd name="T14" fmla="*/ 368 w 376"/>
                  <a:gd name="T15" fmla="*/ 416 h 416"/>
                  <a:gd name="T16" fmla="*/ 320 w 376"/>
                  <a:gd name="T17" fmla="*/ 368 h 416"/>
                  <a:gd name="T18" fmla="*/ 256 w 376"/>
                  <a:gd name="T19" fmla="*/ 360 h 416"/>
                  <a:gd name="T20" fmla="*/ 288 w 376"/>
                  <a:gd name="T21" fmla="*/ 256 h 416"/>
                  <a:gd name="T22" fmla="*/ 248 w 376"/>
                  <a:gd name="T23" fmla="*/ 168 h 416"/>
                  <a:gd name="T24" fmla="*/ 168 w 376"/>
                  <a:gd name="T25" fmla="*/ 112 h 416"/>
                  <a:gd name="T26" fmla="*/ 96 w 376"/>
                  <a:gd name="T27" fmla="*/ 104 h 416"/>
                  <a:gd name="T28" fmla="*/ 16 w 376"/>
                  <a:gd name="T29" fmla="*/ 88 h 4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6"/>
                  <a:gd name="T46" fmla="*/ 0 h 416"/>
                  <a:gd name="T47" fmla="*/ 376 w 376"/>
                  <a:gd name="T48" fmla="*/ 416 h 4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6" h="416">
                    <a:moveTo>
                      <a:pt x="16" y="88"/>
                    </a:moveTo>
                    <a:lnTo>
                      <a:pt x="0" y="16"/>
                    </a:lnTo>
                    <a:lnTo>
                      <a:pt x="104" y="8"/>
                    </a:lnTo>
                    <a:lnTo>
                      <a:pt x="200" y="0"/>
                    </a:lnTo>
                    <a:lnTo>
                      <a:pt x="304" y="112"/>
                    </a:lnTo>
                    <a:lnTo>
                      <a:pt x="376" y="224"/>
                    </a:lnTo>
                    <a:lnTo>
                      <a:pt x="368" y="312"/>
                    </a:lnTo>
                    <a:lnTo>
                      <a:pt x="368" y="416"/>
                    </a:lnTo>
                    <a:lnTo>
                      <a:pt x="320" y="368"/>
                    </a:lnTo>
                    <a:lnTo>
                      <a:pt x="256" y="360"/>
                    </a:lnTo>
                    <a:lnTo>
                      <a:pt x="288" y="256"/>
                    </a:lnTo>
                    <a:lnTo>
                      <a:pt x="248" y="168"/>
                    </a:lnTo>
                    <a:lnTo>
                      <a:pt x="168" y="112"/>
                    </a:lnTo>
                    <a:lnTo>
                      <a:pt x="96" y="104"/>
                    </a:lnTo>
                    <a:lnTo>
                      <a:pt x="16" y="88"/>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3" name="Freeform 199">
                <a:extLst>
                  <a:ext uri="{FF2B5EF4-FFF2-40B4-BE49-F238E27FC236}">
                    <a16:creationId xmlns:a16="http://schemas.microsoft.com/office/drawing/2014/main" id="{2029EACE-5B65-5CBF-F480-4CFD74831D57}"/>
                  </a:ext>
                </a:extLst>
              </p:cNvPr>
              <p:cNvSpPr>
                <a:spLocks/>
              </p:cNvSpPr>
              <p:nvPr/>
            </p:nvSpPr>
            <p:spPr bwMode="auto">
              <a:xfrm>
                <a:off x="23576" y="15658"/>
                <a:ext cx="384" cy="486"/>
              </a:xfrm>
              <a:custGeom>
                <a:avLst/>
                <a:gdLst>
                  <a:gd name="T0" fmla="*/ 16 w 384"/>
                  <a:gd name="T1" fmla="*/ 80 h 486"/>
                  <a:gd name="T2" fmla="*/ 0 w 384"/>
                  <a:gd name="T3" fmla="*/ 8 h 486"/>
                  <a:gd name="T4" fmla="*/ 104 w 384"/>
                  <a:gd name="T5" fmla="*/ 0 h 486"/>
                  <a:gd name="T6" fmla="*/ 240 w 384"/>
                  <a:gd name="T7" fmla="*/ 54 h 486"/>
                  <a:gd name="T8" fmla="*/ 304 w 384"/>
                  <a:gd name="T9" fmla="*/ 104 h 486"/>
                  <a:gd name="T10" fmla="*/ 384 w 384"/>
                  <a:gd name="T11" fmla="*/ 166 h 486"/>
                  <a:gd name="T12" fmla="*/ 368 w 384"/>
                  <a:gd name="T13" fmla="*/ 304 h 486"/>
                  <a:gd name="T14" fmla="*/ 368 w 384"/>
                  <a:gd name="T15" fmla="*/ 408 h 486"/>
                  <a:gd name="T16" fmla="*/ 336 w 384"/>
                  <a:gd name="T17" fmla="*/ 486 h 486"/>
                  <a:gd name="T18" fmla="*/ 280 w 384"/>
                  <a:gd name="T19" fmla="*/ 438 h 486"/>
                  <a:gd name="T20" fmla="*/ 256 w 384"/>
                  <a:gd name="T21" fmla="*/ 352 h 486"/>
                  <a:gd name="T22" fmla="*/ 288 w 384"/>
                  <a:gd name="T23" fmla="*/ 248 h 486"/>
                  <a:gd name="T24" fmla="*/ 248 w 384"/>
                  <a:gd name="T25" fmla="*/ 160 h 486"/>
                  <a:gd name="T26" fmla="*/ 168 w 384"/>
                  <a:gd name="T27" fmla="*/ 104 h 486"/>
                  <a:gd name="T28" fmla="*/ 96 w 384"/>
                  <a:gd name="T29" fmla="*/ 96 h 486"/>
                  <a:gd name="T30" fmla="*/ 16 w 384"/>
                  <a:gd name="T31" fmla="*/ 80 h 4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4"/>
                  <a:gd name="T49" fmla="*/ 0 h 486"/>
                  <a:gd name="T50" fmla="*/ 384 w 384"/>
                  <a:gd name="T51" fmla="*/ 486 h 4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4" h="486">
                    <a:moveTo>
                      <a:pt x="16" y="80"/>
                    </a:moveTo>
                    <a:lnTo>
                      <a:pt x="0" y="8"/>
                    </a:lnTo>
                    <a:lnTo>
                      <a:pt x="104" y="0"/>
                    </a:lnTo>
                    <a:lnTo>
                      <a:pt x="240" y="54"/>
                    </a:lnTo>
                    <a:lnTo>
                      <a:pt x="304" y="104"/>
                    </a:lnTo>
                    <a:lnTo>
                      <a:pt x="384" y="166"/>
                    </a:lnTo>
                    <a:lnTo>
                      <a:pt x="368" y="304"/>
                    </a:lnTo>
                    <a:lnTo>
                      <a:pt x="368" y="408"/>
                    </a:lnTo>
                    <a:lnTo>
                      <a:pt x="336" y="486"/>
                    </a:lnTo>
                    <a:lnTo>
                      <a:pt x="280" y="438"/>
                    </a:lnTo>
                    <a:lnTo>
                      <a:pt x="256" y="352"/>
                    </a:lnTo>
                    <a:lnTo>
                      <a:pt x="288" y="248"/>
                    </a:lnTo>
                    <a:lnTo>
                      <a:pt x="248" y="160"/>
                    </a:lnTo>
                    <a:lnTo>
                      <a:pt x="168" y="104"/>
                    </a:lnTo>
                    <a:lnTo>
                      <a:pt x="96" y="96"/>
                    </a:lnTo>
                    <a:lnTo>
                      <a:pt x="16" y="8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4" name="Freeform 200">
                <a:extLst>
                  <a:ext uri="{FF2B5EF4-FFF2-40B4-BE49-F238E27FC236}">
                    <a16:creationId xmlns:a16="http://schemas.microsoft.com/office/drawing/2014/main" id="{79BDF790-0F18-F66F-09E1-DF5349722BEC}"/>
                  </a:ext>
                </a:extLst>
              </p:cNvPr>
              <p:cNvSpPr>
                <a:spLocks/>
              </p:cNvSpPr>
              <p:nvPr/>
            </p:nvSpPr>
            <p:spPr bwMode="auto">
              <a:xfrm>
                <a:off x="24939" y="16925"/>
                <a:ext cx="325" cy="403"/>
              </a:xfrm>
              <a:custGeom>
                <a:avLst/>
                <a:gdLst>
                  <a:gd name="T0" fmla="*/ 0 w 325"/>
                  <a:gd name="T1" fmla="*/ 8 h 403"/>
                  <a:gd name="T2" fmla="*/ 96 w 325"/>
                  <a:gd name="T3" fmla="*/ 0 h 403"/>
                  <a:gd name="T4" fmla="*/ 165 w 325"/>
                  <a:gd name="T5" fmla="*/ 123 h 403"/>
                  <a:gd name="T6" fmla="*/ 245 w 325"/>
                  <a:gd name="T7" fmla="*/ 275 h 403"/>
                  <a:gd name="T8" fmla="*/ 325 w 325"/>
                  <a:gd name="T9" fmla="*/ 315 h 403"/>
                  <a:gd name="T10" fmla="*/ 301 w 325"/>
                  <a:gd name="T11" fmla="*/ 403 h 403"/>
                  <a:gd name="T12" fmla="*/ 216 w 325"/>
                  <a:gd name="T13" fmla="*/ 368 h 403"/>
                  <a:gd name="T14" fmla="*/ 184 w 325"/>
                  <a:gd name="T15" fmla="*/ 256 h 403"/>
                  <a:gd name="T16" fmla="*/ 93 w 325"/>
                  <a:gd name="T17" fmla="*/ 219 h 403"/>
                  <a:gd name="T18" fmla="*/ 64 w 325"/>
                  <a:gd name="T19" fmla="*/ 112 h 403"/>
                  <a:gd name="T20" fmla="*/ 5 w 325"/>
                  <a:gd name="T21" fmla="*/ 91 h 403"/>
                  <a:gd name="T22" fmla="*/ 0 w 325"/>
                  <a:gd name="T23" fmla="*/ 8 h 40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5"/>
                  <a:gd name="T37" fmla="*/ 0 h 403"/>
                  <a:gd name="T38" fmla="*/ 325 w 325"/>
                  <a:gd name="T39" fmla="*/ 403 h 40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5" h="403">
                    <a:moveTo>
                      <a:pt x="0" y="8"/>
                    </a:moveTo>
                    <a:lnTo>
                      <a:pt x="96" y="0"/>
                    </a:lnTo>
                    <a:lnTo>
                      <a:pt x="165" y="123"/>
                    </a:lnTo>
                    <a:lnTo>
                      <a:pt x="245" y="275"/>
                    </a:lnTo>
                    <a:lnTo>
                      <a:pt x="325" y="315"/>
                    </a:lnTo>
                    <a:lnTo>
                      <a:pt x="301" y="403"/>
                    </a:lnTo>
                    <a:lnTo>
                      <a:pt x="216" y="368"/>
                    </a:lnTo>
                    <a:lnTo>
                      <a:pt x="184" y="256"/>
                    </a:lnTo>
                    <a:lnTo>
                      <a:pt x="93" y="219"/>
                    </a:lnTo>
                    <a:lnTo>
                      <a:pt x="64" y="112"/>
                    </a:lnTo>
                    <a:lnTo>
                      <a:pt x="5" y="91"/>
                    </a:lnTo>
                    <a:lnTo>
                      <a:pt x="0" y="8"/>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5" name="Freeform 201">
                <a:extLst>
                  <a:ext uri="{FF2B5EF4-FFF2-40B4-BE49-F238E27FC236}">
                    <a16:creationId xmlns:a16="http://schemas.microsoft.com/office/drawing/2014/main" id="{89D5B7B9-4613-1922-6CDD-421B09411223}"/>
                  </a:ext>
                </a:extLst>
              </p:cNvPr>
              <p:cNvSpPr>
                <a:spLocks/>
              </p:cNvSpPr>
              <p:nvPr/>
            </p:nvSpPr>
            <p:spPr bwMode="auto">
              <a:xfrm>
                <a:off x="23104" y="15792"/>
                <a:ext cx="464" cy="272"/>
              </a:xfrm>
              <a:custGeom>
                <a:avLst/>
                <a:gdLst>
                  <a:gd name="T0" fmla="*/ 464 w 464"/>
                  <a:gd name="T1" fmla="*/ 0 h 272"/>
                  <a:gd name="T2" fmla="*/ 432 w 464"/>
                  <a:gd name="T3" fmla="*/ 72 h 272"/>
                  <a:gd name="T4" fmla="*/ 376 w 464"/>
                  <a:gd name="T5" fmla="*/ 120 h 272"/>
                  <a:gd name="T6" fmla="*/ 296 w 464"/>
                  <a:gd name="T7" fmla="*/ 176 h 272"/>
                  <a:gd name="T8" fmla="*/ 208 w 464"/>
                  <a:gd name="T9" fmla="*/ 232 h 272"/>
                  <a:gd name="T10" fmla="*/ 120 w 464"/>
                  <a:gd name="T11" fmla="*/ 272 h 272"/>
                  <a:gd name="T12" fmla="*/ 0 w 464"/>
                  <a:gd name="T13" fmla="*/ 256 h 272"/>
                  <a:gd name="T14" fmla="*/ 0 w 464"/>
                  <a:gd name="T15" fmla="*/ 208 h 272"/>
                  <a:gd name="T16" fmla="*/ 72 w 464"/>
                  <a:gd name="T17" fmla="*/ 208 h 272"/>
                  <a:gd name="T18" fmla="*/ 168 w 464"/>
                  <a:gd name="T19" fmla="*/ 153 h 272"/>
                  <a:gd name="T20" fmla="*/ 263 w 464"/>
                  <a:gd name="T21" fmla="*/ 134 h 272"/>
                  <a:gd name="T22" fmla="*/ 272 w 464"/>
                  <a:gd name="T23" fmla="*/ 88 h 272"/>
                  <a:gd name="T24" fmla="*/ 336 w 464"/>
                  <a:gd name="T25" fmla="*/ 69 h 272"/>
                  <a:gd name="T26" fmla="*/ 361 w 464"/>
                  <a:gd name="T27" fmla="*/ 1 h 272"/>
                  <a:gd name="T28" fmla="*/ 464 w 464"/>
                  <a:gd name="T29" fmla="*/ 0 h 2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4"/>
                  <a:gd name="T46" fmla="*/ 0 h 272"/>
                  <a:gd name="T47" fmla="*/ 464 w 464"/>
                  <a:gd name="T48" fmla="*/ 272 h 2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4" h="272">
                    <a:moveTo>
                      <a:pt x="464" y="0"/>
                    </a:moveTo>
                    <a:lnTo>
                      <a:pt x="432" y="72"/>
                    </a:lnTo>
                    <a:lnTo>
                      <a:pt x="376" y="120"/>
                    </a:lnTo>
                    <a:lnTo>
                      <a:pt x="296" y="176"/>
                    </a:lnTo>
                    <a:lnTo>
                      <a:pt x="208" y="232"/>
                    </a:lnTo>
                    <a:lnTo>
                      <a:pt x="120" y="272"/>
                    </a:lnTo>
                    <a:lnTo>
                      <a:pt x="0" y="256"/>
                    </a:lnTo>
                    <a:lnTo>
                      <a:pt x="0" y="208"/>
                    </a:lnTo>
                    <a:lnTo>
                      <a:pt x="72" y="208"/>
                    </a:lnTo>
                    <a:lnTo>
                      <a:pt x="168" y="153"/>
                    </a:lnTo>
                    <a:lnTo>
                      <a:pt x="263" y="134"/>
                    </a:lnTo>
                    <a:lnTo>
                      <a:pt x="272" y="88"/>
                    </a:lnTo>
                    <a:lnTo>
                      <a:pt x="336" y="69"/>
                    </a:lnTo>
                    <a:lnTo>
                      <a:pt x="361" y="1"/>
                    </a:lnTo>
                    <a:lnTo>
                      <a:pt x="464"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6" name="Freeform 202">
                <a:extLst>
                  <a:ext uri="{FF2B5EF4-FFF2-40B4-BE49-F238E27FC236}">
                    <a16:creationId xmlns:a16="http://schemas.microsoft.com/office/drawing/2014/main" id="{E112B238-EBF7-567D-F2E4-662C53F1D94B}"/>
                  </a:ext>
                </a:extLst>
              </p:cNvPr>
              <p:cNvSpPr>
                <a:spLocks/>
              </p:cNvSpPr>
              <p:nvPr/>
            </p:nvSpPr>
            <p:spPr bwMode="auto">
              <a:xfrm>
                <a:off x="25598" y="17248"/>
                <a:ext cx="166" cy="372"/>
              </a:xfrm>
              <a:custGeom>
                <a:avLst/>
                <a:gdLst>
                  <a:gd name="T0" fmla="*/ 110 w 166"/>
                  <a:gd name="T1" fmla="*/ 0 h 372"/>
                  <a:gd name="T2" fmla="*/ 166 w 166"/>
                  <a:gd name="T3" fmla="*/ 59 h 372"/>
                  <a:gd name="T4" fmla="*/ 146 w 166"/>
                  <a:gd name="T5" fmla="*/ 112 h 372"/>
                  <a:gd name="T6" fmla="*/ 135 w 166"/>
                  <a:gd name="T7" fmla="*/ 157 h 372"/>
                  <a:gd name="T8" fmla="*/ 90 w 166"/>
                  <a:gd name="T9" fmla="*/ 264 h 372"/>
                  <a:gd name="T10" fmla="*/ 66 w 166"/>
                  <a:gd name="T11" fmla="*/ 352 h 372"/>
                  <a:gd name="T12" fmla="*/ 5 w 166"/>
                  <a:gd name="T13" fmla="*/ 372 h 372"/>
                  <a:gd name="T14" fmla="*/ 0 w 166"/>
                  <a:gd name="T15" fmla="*/ 267 h 372"/>
                  <a:gd name="T16" fmla="*/ 42 w 166"/>
                  <a:gd name="T17" fmla="*/ 204 h 372"/>
                  <a:gd name="T18" fmla="*/ 66 w 166"/>
                  <a:gd name="T19" fmla="*/ 116 h 372"/>
                  <a:gd name="T20" fmla="*/ 62 w 166"/>
                  <a:gd name="T21" fmla="*/ 29 h 372"/>
                  <a:gd name="T22" fmla="*/ 110 w 166"/>
                  <a:gd name="T23" fmla="*/ 0 h 3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372"/>
                  <a:gd name="T38" fmla="*/ 166 w 166"/>
                  <a:gd name="T39" fmla="*/ 372 h 3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372">
                    <a:moveTo>
                      <a:pt x="110" y="0"/>
                    </a:moveTo>
                    <a:lnTo>
                      <a:pt x="166" y="59"/>
                    </a:lnTo>
                    <a:lnTo>
                      <a:pt x="146" y="112"/>
                    </a:lnTo>
                    <a:lnTo>
                      <a:pt x="135" y="157"/>
                    </a:lnTo>
                    <a:lnTo>
                      <a:pt x="90" y="264"/>
                    </a:lnTo>
                    <a:lnTo>
                      <a:pt x="66" y="352"/>
                    </a:lnTo>
                    <a:lnTo>
                      <a:pt x="5" y="372"/>
                    </a:lnTo>
                    <a:lnTo>
                      <a:pt x="0" y="267"/>
                    </a:lnTo>
                    <a:lnTo>
                      <a:pt x="42" y="204"/>
                    </a:lnTo>
                    <a:lnTo>
                      <a:pt x="66" y="116"/>
                    </a:lnTo>
                    <a:lnTo>
                      <a:pt x="62" y="29"/>
                    </a:lnTo>
                    <a:lnTo>
                      <a:pt x="110"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7" name="Freeform 203">
                <a:extLst>
                  <a:ext uri="{FF2B5EF4-FFF2-40B4-BE49-F238E27FC236}">
                    <a16:creationId xmlns:a16="http://schemas.microsoft.com/office/drawing/2014/main" id="{6FEA3716-1DF3-FF87-4468-548AFA1B6CA9}"/>
                  </a:ext>
                </a:extLst>
              </p:cNvPr>
              <p:cNvSpPr>
                <a:spLocks/>
              </p:cNvSpPr>
              <p:nvPr/>
            </p:nvSpPr>
            <p:spPr bwMode="auto">
              <a:xfrm>
                <a:off x="24563" y="16970"/>
                <a:ext cx="233" cy="223"/>
              </a:xfrm>
              <a:custGeom>
                <a:avLst/>
                <a:gdLst>
                  <a:gd name="T0" fmla="*/ 123 w 233"/>
                  <a:gd name="T1" fmla="*/ 168 h 223"/>
                  <a:gd name="T2" fmla="*/ 31 w 233"/>
                  <a:gd name="T3" fmla="*/ 100 h 223"/>
                  <a:gd name="T4" fmla="*/ 0 w 233"/>
                  <a:gd name="T5" fmla="*/ 4 h 223"/>
                  <a:gd name="T6" fmla="*/ 100 w 233"/>
                  <a:gd name="T7" fmla="*/ 0 h 223"/>
                  <a:gd name="T8" fmla="*/ 185 w 233"/>
                  <a:gd name="T9" fmla="*/ 58 h 223"/>
                  <a:gd name="T10" fmla="*/ 228 w 233"/>
                  <a:gd name="T11" fmla="*/ 131 h 223"/>
                  <a:gd name="T12" fmla="*/ 233 w 233"/>
                  <a:gd name="T13" fmla="*/ 223 h 223"/>
                  <a:gd name="T14" fmla="*/ 123 w 233"/>
                  <a:gd name="T15" fmla="*/ 168 h 223"/>
                  <a:gd name="T16" fmla="*/ 0 60000 65536"/>
                  <a:gd name="T17" fmla="*/ 0 60000 65536"/>
                  <a:gd name="T18" fmla="*/ 0 60000 65536"/>
                  <a:gd name="T19" fmla="*/ 0 60000 65536"/>
                  <a:gd name="T20" fmla="*/ 0 60000 65536"/>
                  <a:gd name="T21" fmla="*/ 0 60000 65536"/>
                  <a:gd name="T22" fmla="*/ 0 60000 65536"/>
                  <a:gd name="T23" fmla="*/ 0 60000 65536"/>
                  <a:gd name="T24" fmla="*/ 0 w 233"/>
                  <a:gd name="T25" fmla="*/ 0 h 223"/>
                  <a:gd name="T26" fmla="*/ 233 w 233"/>
                  <a:gd name="T27" fmla="*/ 223 h 2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3" h="223">
                    <a:moveTo>
                      <a:pt x="123" y="168"/>
                    </a:moveTo>
                    <a:lnTo>
                      <a:pt x="31" y="100"/>
                    </a:lnTo>
                    <a:lnTo>
                      <a:pt x="0" y="4"/>
                    </a:lnTo>
                    <a:lnTo>
                      <a:pt x="100" y="0"/>
                    </a:lnTo>
                    <a:lnTo>
                      <a:pt x="185" y="58"/>
                    </a:lnTo>
                    <a:lnTo>
                      <a:pt x="228" y="131"/>
                    </a:lnTo>
                    <a:lnTo>
                      <a:pt x="233" y="223"/>
                    </a:lnTo>
                    <a:lnTo>
                      <a:pt x="123" y="168"/>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308" name="Freeform 204">
                <a:extLst>
                  <a:ext uri="{FF2B5EF4-FFF2-40B4-BE49-F238E27FC236}">
                    <a16:creationId xmlns:a16="http://schemas.microsoft.com/office/drawing/2014/main" id="{E6D2F67C-982B-CD7C-F785-FA0A86F25FB2}"/>
                  </a:ext>
                </a:extLst>
              </p:cNvPr>
              <p:cNvSpPr>
                <a:spLocks/>
              </p:cNvSpPr>
              <p:nvPr/>
            </p:nvSpPr>
            <p:spPr bwMode="auto">
              <a:xfrm>
                <a:off x="25984" y="17213"/>
                <a:ext cx="272" cy="163"/>
              </a:xfrm>
              <a:custGeom>
                <a:avLst/>
                <a:gdLst>
                  <a:gd name="T0" fmla="*/ 161 w 272"/>
                  <a:gd name="T1" fmla="*/ 140 h 163"/>
                  <a:gd name="T2" fmla="*/ 48 w 272"/>
                  <a:gd name="T3" fmla="*/ 121 h 163"/>
                  <a:gd name="T4" fmla="*/ 0 w 272"/>
                  <a:gd name="T5" fmla="*/ 51 h 163"/>
                  <a:gd name="T6" fmla="*/ 65 w 272"/>
                  <a:gd name="T7" fmla="*/ 0 h 163"/>
                  <a:gd name="T8" fmla="*/ 167 w 272"/>
                  <a:gd name="T9" fmla="*/ 14 h 163"/>
                  <a:gd name="T10" fmla="*/ 238 w 272"/>
                  <a:gd name="T11" fmla="*/ 59 h 163"/>
                  <a:gd name="T12" fmla="*/ 272 w 272"/>
                  <a:gd name="T13" fmla="*/ 163 h 163"/>
                  <a:gd name="T14" fmla="*/ 161 w 272"/>
                  <a:gd name="T15" fmla="*/ 140 h 163"/>
                  <a:gd name="T16" fmla="*/ 0 60000 65536"/>
                  <a:gd name="T17" fmla="*/ 0 60000 65536"/>
                  <a:gd name="T18" fmla="*/ 0 60000 65536"/>
                  <a:gd name="T19" fmla="*/ 0 60000 65536"/>
                  <a:gd name="T20" fmla="*/ 0 60000 65536"/>
                  <a:gd name="T21" fmla="*/ 0 60000 65536"/>
                  <a:gd name="T22" fmla="*/ 0 60000 65536"/>
                  <a:gd name="T23" fmla="*/ 0 60000 65536"/>
                  <a:gd name="T24" fmla="*/ 0 w 272"/>
                  <a:gd name="T25" fmla="*/ 0 h 163"/>
                  <a:gd name="T26" fmla="*/ 272 w 272"/>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2" h="163">
                    <a:moveTo>
                      <a:pt x="161" y="140"/>
                    </a:moveTo>
                    <a:lnTo>
                      <a:pt x="48" y="121"/>
                    </a:lnTo>
                    <a:lnTo>
                      <a:pt x="0" y="51"/>
                    </a:lnTo>
                    <a:lnTo>
                      <a:pt x="65" y="0"/>
                    </a:lnTo>
                    <a:lnTo>
                      <a:pt x="167" y="14"/>
                    </a:lnTo>
                    <a:lnTo>
                      <a:pt x="238" y="59"/>
                    </a:lnTo>
                    <a:lnTo>
                      <a:pt x="272" y="163"/>
                    </a:lnTo>
                    <a:lnTo>
                      <a:pt x="161" y="14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200" name="Freeform 205">
              <a:extLst>
                <a:ext uri="{FF2B5EF4-FFF2-40B4-BE49-F238E27FC236}">
                  <a16:creationId xmlns:a16="http://schemas.microsoft.com/office/drawing/2014/main" id="{F47FCA53-8E5A-D08D-6FCE-9FFAB6408DAB}"/>
                </a:ext>
              </a:extLst>
            </p:cNvPr>
            <p:cNvSpPr>
              <a:spLocks/>
            </p:cNvSpPr>
            <p:nvPr/>
          </p:nvSpPr>
          <p:spPr bwMode="auto">
            <a:xfrm>
              <a:off x="2198535" y="3629290"/>
              <a:ext cx="47061" cy="73753"/>
            </a:xfrm>
            <a:custGeom>
              <a:avLst/>
              <a:gdLst>
                <a:gd name="T0" fmla="*/ 7 w 195942"/>
                <a:gd name="T1" fmla="*/ 2 h 291848"/>
                <a:gd name="T2" fmla="*/ 19 w 195942"/>
                <a:gd name="T3" fmla="*/ 0 h 291848"/>
                <a:gd name="T4" fmla="*/ 28 w 195942"/>
                <a:gd name="T5" fmla="*/ 4 h 291848"/>
                <a:gd name="T6" fmla="*/ 23 w 195942"/>
                <a:gd name="T7" fmla="*/ 14 h 291848"/>
                <a:gd name="T8" fmla="*/ 21 w 195942"/>
                <a:gd name="T9" fmla="*/ 23 h 291848"/>
                <a:gd name="T10" fmla="*/ 19 w 195942"/>
                <a:gd name="T11" fmla="*/ 39 h 291848"/>
                <a:gd name="T12" fmla="*/ 8 w 195942"/>
                <a:gd name="T13" fmla="*/ 47 h 291848"/>
                <a:gd name="T14" fmla="*/ 6 w 195942"/>
                <a:gd name="T15" fmla="*/ 43 h 291848"/>
                <a:gd name="T16" fmla="*/ 3 w 195942"/>
                <a:gd name="T17" fmla="*/ 32 h 291848"/>
                <a:gd name="T18" fmla="*/ 3 w 195942"/>
                <a:gd name="T19" fmla="*/ 25 h 291848"/>
                <a:gd name="T20" fmla="*/ 4 w 195942"/>
                <a:gd name="T21" fmla="*/ 16 h 291848"/>
                <a:gd name="T22" fmla="*/ 0 w 195942"/>
                <a:gd name="T23" fmla="*/ 11 h 291848"/>
                <a:gd name="T24" fmla="*/ 7 w 195942"/>
                <a:gd name="T25" fmla="*/ 2 h 2918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5942"/>
                <a:gd name="T40" fmla="*/ 0 h 291848"/>
                <a:gd name="T41" fmla="*/ 195942 w 195942"/>
                <a:gd name="T42" fmla="*/ 291848 h 2918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5942" h="291848">
                  <a:moveTo>
                    <a:pt x="52371" y="13330"/>
                  </a:moveTo>
                  <a:lnTo>
                    <a:pt x="131648" y="0"/>
                  </a:lnTo>
                  <a:lnTo>
                    <a:pt x="195942" y="23812"/>
                  </a:lnTo>
                  <a:lnTo>
                    <a:pt x="162604" y="85725"/>
                  </a:lnTo>
                  <a:lnTo>
                    <a:pt x="150698" y="142875"/>
                  </a:lnTo>
                  <a:lnTo>
                    <a:pt x="133368" y="242728"/>
                  </a:lnTo>
                  <a:lnTo>
                    <a:pt x="55942" y="291848"/>
                  </a:lnTo>
                  <a:lnTo>
                    <a:pt x="41322" y="269128"/>
                  </a:lnTo>
                  <a:lnTo>
                    <a:pt x="23805" y="202088"/>
                  </a:lnTo>
                  <a:lnTo>
                    <a:pt x="21424" y="154569"/>
                  </a:lnTo>
                  <a:lnTo>
                    <a:pt x="27039" y="98409"/>
                  </a:lnTo>
                  <a:lnTo>
                    <a:pt x="0" y="71409"/>
                  </a:lnTo>
                  <a:lnTo>
                    <a:pt x="52371" y="1333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1" name="Freeform 206">
              <a:extLst>
                <a:ext uri="{FF2B5EF4-FFF2-40B4-BE49-F238E27FC236}">
                  <a16:creationId xmlns:a16="http://schemas.microsoft.com/office/drawing/2014/main" id="{C60D9744-ADCE-8A53-61BA-A421BC685E94}"/>
                </a:ext>
              </a:extLst>
            </p:cNvPr>
            <p:cNvSpPr>
              <a:spLocks/>
            </p:cNvSpPr>
            <p:nvPr/>
          </p:nvSpPr>
          <p:spPr bwMode="auto">
            <a:xfrm>
              <a:off x="2180606" y="3746833"/>
              <a:ext cx="67230" cy="34572"/>
            </a:xfrm>
            <a:custGeom>
              <a:avLst/>
              <a:gdLst>
                <a:gd name="T0" fmla="*/ 35 w 287337"/>
                <a:gd name="T1" fmla="*/ 28 h 128588"/>
                <a:gd name="T2" fmla="*/ 27 w 287337"/>
                <a:gd name="T3" fmla="*/ 25 h 128588"/>
                <a:gd name="T4" fmla="*/ 16 w 287337"/>
                <a:gd name="T5" fmla="*/ 22 h 128588"/>
                <a:gd name="T6" fmla="*/ 3 w 287337"/>
                <a:gd name="T7" fmla="*/ 17 h 128588"/>
                <a:gd name="T8" fmla="*/ 0 w 287337"/>
                <a:gd name="T9" fmla="*/ 8 h 128588"/>
                <a:gd name="T10" fmla="*/ 5 w 287337"/>
                <a:gd name="T11" fmla="*/ 4 h 128588"/>
                <a:gd name="T12" fmla="*/ 11 w 287337"/>
                <a:gd name="T13" fmla="*/ 0 h 128588"/>
                <a:gd name="T14" fmla="*/ 19 w 287337"/>
                <a:gd name="T15" fmla="*/ 2 h 128588"/>
                <a:gd name="T16" fmla="*/ 26 w 287337"/>
                <a:gd name="T17" fmla="*/ 3 h 128588"/>
                <a:gd name="T18" fmla="*/ 32 w 287337"/>
                <a:gd name="T19" fmla="*/ 10 h 128588"/>
                <a:gd name="T20" fmla="*/ 35 w 287337"/>
                <a:gd name="T21" fmla="*/ 16 h 128588"/>
                <a:gd name="T22" fmla="*/ 36 w 287337"/>
                <a:gd name="T23" fmla="*/ 22 h 128588"/>
                <a:gd name="T24" fmla="*/ 35 w 287337"/>
                <a:gd name="T25" fmla="*/ 28 h 12858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7337"/>
                <a:gd name="T40" fmla="*/ 0 h 128588"/>
                <a:gd name="T41" fmla="*/ 287337 w 287337"/>
                <a:gd name="T42" fmla="*/ 128588 h 12858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7337" h="128588">
                  <a:moveTo>
                    <a:pt x="280987" y="128588"/>
                  </a:moveTo>
                  <a:lnTo>
                    <a:pt x="219075" y="112713"/>
                  </a:lnTo>
                  <a:lnTo>
                    <a:pt x="128587" y="103188"/>
                  </a:lnTo>
                  <a:lnTo>
                    <a:pt x="26987" y="76200"/>
                  </a:lnTo>
                  <a:lnTo>
                    <a:pt x="0" y="38100"/>
                  </a:lnTo>
                  <a:lnTo>
                    <a:pt x="42862" y="19050"/>
                  </a:lnTo>
                  <a:lnTo>
                    <a:pt x="85725" y="0"/>
                  </a:lnTo>
                  <a:lnTo>
                    <a:pt x="154325" y="11365"/>
                  </a:lnTo>
                  <a:lnTo>
                    <a:pt x="204787" y="12700"/>
                  </a:lnTo>
                  <a:lnTo>
                    <a:pt x="257175" y="46038"/>
                  </a:lnTo>
                  <a:lnTo>
                    <a:pt x="277812" y="71438"/>
                  </a:lnTo>
                  <a:lnTo>
                    <a:pt x="287337" y="103188"/>
                  </a:lnTo>
                  <a:lnTo>
                    <a:pt x="280987" y="12858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2" name="Freeform 207">
              <a:extLst>
                <a:ext uri="{FF2B5EF4-FFF2-40B4-BE49-F238E27FC236}">
                  <a16:creationId xmlns:a16="http://schemas.microsoft.com/office/drawing/2014/main" id="{7C60A74D-511B-6B89-C6C1-58F4FD0CE4AC}"/>
                </a:ext>
              </a:extLst>
            </p:cNvPr>
            <p:cNvSpPr>
              <a:spLocks/>
            </p:cNvSpPr>
            <p:nvPr/>
          </p:nvSpPr>
          <p:spPr bwMode="auto">
            <a:xfrm>
              <a:off x="2691556" y="3756053"/>
              <a:ext cx="8965" cy="11525"/>
            </a:xfrm>
            <a:custGeom>
              <a:avLst/>
              <a:gdLst>
                <a:gd name="T0" fmla="*/ 0 w 136"/>
                <a:gd name="T1" fmla="*/ 2147483647 h 157"/>
                <a:gd name="T2" fmla="*/ 2147483647 w 136"/>
                <a:gd name="T3" fmla="*/ 0 h 157"/>
                <a:gd name="T4" fmla="*/ 2147483647 w 136"/>
                <a:gd name="T5" fmla="*/ 2147483647 h 157"/>
                <a:gd name="T6" fmla="*/ 2147483647 w 136"/>
                <a:gd name="T7" fmla="*/ 2147483647 h 157"/>
                <a:gd name="T8" fmla="*/ 2147483647 w 136"/>
                <a:gd name="T9" fmla="*/ 2147483647 h 157"/>
                <a:gd name="T10" fmla="*/ 0 w 136"/>
                <a:gd name="T11" fmla="*/ 2147483647 h 157"/>
                <a:gd name="T12" fmla="*/ 2147483647 w 136"/>
                <a:gd name="T13" fmla="*/ 2147483647 h 157"/>
                <a:gd name="T14" fmla="*/ 0 w 136"/>
                <a:gd name="T15" fmla="*/ 2147483647 h 157"/>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57"/>
                <a:gd name="T26" fmla="*/ 136 w 136"/>
                <a:gd name="T27" fmla="*/ 157 h 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57">
                  <a:moveTo>
                    <a:pt x="0" y="21"/>
                  </a:moveTo>
                  <a:lnTo>
                    <a:pt x="69" y="0"/>
                  </a:lnTo>
                  <a:lnTo>
                    <a:pt x="136" y="21"/>
                  </a:lnTo>
                  <a:lnTo>
                    <a:pt x="136" y="67"/>
                  </a:lnTo>
                  <a:lnTo>
                    <a:pt x="85" y="152"/>
                  </a:lnTo>
                  <a:lnTo>
                    <a:pt x="0" y="157"/>
                  </a:lnTo>
                  <a:lnTo>
                    <a:pt x="21" y="96"/>
                  </a:lnTo>
                  <a:lnTo>
                    <a:pt x="0" y="2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3" name="Freeform 208">
              <a:extLst>
                <a:ext uri="{FF2B5EF4-FFF2-40B4-BE49-F238E27FC236}">
                  <a16:creationId xmlns:a16="http://schemas.microsoft.com/office/drawing/2014/main" id="{75CDFAA4-10EE-1634-BDAD-B7C3F7E71B1A}"/>
                </a:ext>
              </a:extLst>
            </p:cNvPr>
            <p:cNvSpPr>
              <a:spLocks/>
            </p:cNvSpPr>
            <p:nvPr/>
          </p:nvSpPr>
          <p:spPr bwMode="auto">
            <a:xfrm>
              <a:off x="2698279" y="4359900"/>
              <a:ext cx="327187" cy="377981"/>
            </a:xfrm>
            <a:custGeom>
              <a:avLst/>
              <a:gdLst>
                <a:gd name="T0" fmla="*/ 22 w 1354992"/>
                <a:gd name="T1" fmla="*/ 37 h 1525587"/>
                <a:gd name="T2" fmla="*/ 14 w 1354992"/>
                <a:gd name="T3" fmla="*/ 27 h 1525587"/>
                <a:gd name="T4" fmla="*/ 16 w 1354992"/>
                <a:gd name="T5" fmla="*/ 18 h 1525587"/>
                <a:gd name="T6" fmla="*/ 25 w 1354992"/>
                <a:gd name="T7" fmla="*/ 19 h 1525587"/>
                <a:gd name="T8" fmla="*/ 37 w 1354992"/>
                <a:gd name="T9" fmla="*/ 14 h 1525587"/>
                <a:gd name="T10" fmla="*/ 50 w 1354992"/>
                <a:gd name="T11" fmla="*/ 4 h 1525587"/>
                <a:gd name="T12" fmla="*/ 62 w 1354992"/>
                <a:gd name="T13" fmla="*/ 0 h 1525587"/>
                <a:gd name="T14" fmla="*/ 73 w 1354992"/>
                <a:gd name="T15" fmla="*/ 11 h 1525587"/>
                <a:gd name="T16" fmla="*/ 77 w 1354992"/>
                <a:gd name="T17" fmla="*/ 29 h 1525587"/>
                <a:gd name="T18" fmla="*/ 88 w 1354992"/>
                <a:gd name="T19" fmla="*/ 39 h 1525587"/>
                <a:gd name="T20" fmla="*/ 102 w 1354992"/>
                <a:gd name="T21" fmla="*/ 40 h 1525587"/>
                <a:gd name="T22" fmla="*/ 113 w 1354992"/>
                <a:gd name="T23" fmla="*/ 46 h 1525587"/>
                <a:gd name="T24" fmla="*/ 126 w 1354992"/>
                <a:gd name="T25" fmla="*/ 50 h 1525587"/>
                <a:gd name="T26" fmla="*/ 136 w 1354992"/>
                <a:gd name="T27" fmla="*/ 56 h 1525587"/>
                <a:gd name="T28" fmla="*/ 149 w 1354992"/>
                <a:gd name="T29" fmla="*/ 60 h 1525587"/>
                <a:gd name="T30" fmla="*/ 155 w 1354992"/>
                <a:gd name="T31" fmla="*/ 78 h 1525587"/>
                <a:gd name="T32" fmla="*/ 157 w 1354992"/>
                <a:gd name="T33" fmla="*/ 90 h 1525587"/>
                <a:gd name="T34" fmla="*/ 162 w 1354992"/>
                <a:gd name="T35" fmla="*/ 97 h 1525587"/>
                <a:gd name="T36" fmla="*/ 181 w 1354992"/>
                <a:gd name="T37" fmla="*/ 96 h 1525587"/>
                <a:gd name="T38" fmla="*/ 184 w 1354992"/>
                <a:gd name="T39" fmla="*/ 104 h 1525587"/>
                <a:gd name="T40" fmla="*/ 196 w 1354992"/>
                <a:gd name="T41" fmla="*/ 116 h 1525587"/>
                <a:gd name="T42" fmla="*/ 198 w 1354992"/>
                <a:gd name="T43" fmla="*/ 127 h 1525587"/>
                <a:gd name="T44" fmla="*/ 195 w 1354992"/>
                <a:gd name="T45" fmla="*/ 141 h 1525587"/>
                <a:gd name="T46" fmla="*/ 191 w 1354992"/>
                <a:gd name="T47" fmla="*/ 151 h 1525587"/>
                <a:gd name="T48" fmla="*/ 186 w 1354992"/>
                <a:gd name="T49" fmla="*/ 167 h 1525587"/>
                <a:gd name="T50" fmla="*/ 176 w 1354992"/>
                <a:gd name="T51" fmla="*/ 169 h 1525587"/>
                <a:gd name="T52" fmla="*/ 166 w 1354992"/>
                <a:gd name="T53" fmla="*/ 167 h 1525587"/>
                <a:gd name="T54" fmla="*/ 147 w 1354992"/>
                <a:gd name="T55" fmla="*/ 162 h 1525587"/>
                <a:gd name="T56" fmla="*/ 130 w 1354992"/>
                <a:gd name="T57" fmla="*/ 166 h 1525587"/>
                <a:gd name="T58" fmla="*/ 127 w 1354992"/>
                <a:gd name="T59" fmla="*/ 182 h 1525587"/>
                <a:gd name="T60" fmla="*/ 121 w 1354992"/>
                <a:gd name="T61" fmla="*/ 190 h 1525587"/>
                <a:gd name="T62" fmla="*/ 114 w 1354992"/>
                <a:gd name="T63" fmla="*/ 199 h 1525587"/>
                <a:gd name="T64" fmla="*/ 101 w 1354992"/>
                <a:gd name="T65" fmla="*/ 204 h 1525587"/>
                <a:gd name="T66" fmla="*/ 83 w 1354992"/>
                <a:gd name="T67" fmla="*/ 209 h 1525587"/>
                <a:gd name="T68" fmla="*/ 73 w 1354992"/>
                <a:gd name="T69" fmla="*/ 202 h 1525587"/>
                <a:gd name="T70" fmla="*/ 56 w 1354992"/>
                <a:gd name="T71" fmla="*/ 202 h 1525587"/>
                <a:gd name="T72" fmla="*/ 51 w 1354992"/>
                <a:gd name="T73" fmla="*/ 212 h 1525587"/>
                <a:gd name="T74" fmla="*/ 40 w 1354992"/>
                <a:gd name="T75" fmla="*/ 221 h 1525587"/>
                <a:gd name="T76" fmla="*/ 28 w 1354992"/>
                <a:gd name="T77" fmla="*/ 204 h 1525587"/>
                <a:gd name="T78" fmla="*/ 23 w 1354992"/>
                <a:gd name="T79" fmla="*/ 186 h 1525587"/>
                <a:gd name="T80" fmla="*/ 21 w 1354992"/>
                <a:gd name="T81" fmla="*/ 164 h 1525587"/>
                <a:gd name="T82" fmla="*/ 13 w 1354992"/>
                <a:gd name="T83" fmla="*/ 143 h 1525587"/>
                <a:gd name="T84" fmla="*/ 6 w 1354992"/>
                <a:gd name="T85" fmla="*/ 128 h 1525587"/>
                <a:gd name="T86" fmla="*/ 11 w 1354992"/>
                <a:gd name="T87" fmla="*/ 117 h 1525587"/>
                <a:gd name="T88" fmla="*/ 20 w 1354992"/>
                <a:gd name="T89" fmla="*/ 105 h 1525587"/>
                <a:gd name="T90" fmla="*/ 20 w 1354992"/>
                <a:gd name="T91" fmla="*/ 94 h 1525587"/>
                <a:gd name="T92" fmla="*/ 18 w 1354992"/>
                <a:gd name="T93" fmla="*/ 71 h 1525587"/>
                <a:gd name="T94" fmla="*/ 20 w 1354992"/>
                <a:gd name="T95" fmla="*/ 58 h 1525587"/>
                <a:gd name="T96" fmla="*/ 23 w 1354992"/>
                <a:gd name="T97" fmla="*/ 41 h 152558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54992"/>
                <a:gd name="T148" fmla="*/ 0 h 1525587"/>
                <a:gd name="T149" fmla="*/ 1354992 w 1354992"/>
                <a:gd name="T150" fmla="*/ 1525587 h 152558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54992" h="1525587">
                  <a:moveTo>
                    <a:pt x="159605" y="285750"/>
                  </a:moveTo>
                  <a:lnTo>
                    <a:pt x="151209" y="254249"/>
                  </a:lnTo>
                  <a:lnTo>
                    <a:pt x="128587" y="220912"/>
                  </a:lnTo>
                  <a:lnTo>
                    <a:pt x="95250" y="189955"/>
                  </a:lnTo>
                  <a:lnTo>
                    <a:pt x="77055" y="120650"/>
                  </a:lnTo>
                  <a:lnTo>
                    <a:pt x="107217" y="122237"/>
                  </a:lnTo>
                  <a:lnTo>
                    <a:pt x="138967" y="130175"/>
                  </a:lnTo>
                  <a:lnTo>
                    <a:pt x="170717" y="133350"/>
                  </a:lnTo>
                  <a:lnTo>
                    <a:pt x="211992" y="120650"/>
                  </a:lnTo>
                  <a:lnTo>
                    <a:pt x="251680" y="95250"/>
                  </a:lnTo>
                  <a:lnTo>
                    <a:pt x="294542" y="53975"/>
                  </a:lnTo>
                  <a:lnTo>
                    <a:pt x="342167" y="26987"/>
                  </a:lnTo>
                  <a:lnTo>
                    <a:pt x="386617" y="11112"/>
                  </a:lnTo>
                  <a:lnTo>
                    <a:pt x="426305" y="0"/>
                  </a:lnTo>
                  <a:lnTo>
                    <a:pt x="505680" y="7937"/>
                  </a:lnTo>
                  <a:lnTo>
                    <a:pt x="497742" y="73025"/>
                  </a:lnTo>
                  <a:lnTo>
                    <a:pt x="505680" y="165100"/>
                  </a:lnTo>
                  <a:lnTo>
                    <a:pt x="529492" y="203200"/>
                  </a:lnTo>
                  <a:lnTo>
                    <a:pt x="567592" y="244475"/>
                  </a:lnTo>
                  <a:lnTo>
                    <a:pt x="604105" y="269875"/>
                  </a:lnTo>
                  <a:lnTo>
                    <a:pt x="654905" y="284162"/>
                  </a:lnTo>
                  <a:lnTo>
                    <a:pt x="694592" y="277812"/>
                  </a:lnTo>
                  <a:lnTo>
                    <a:pt x="739042" y="292100"/>
                  </a:lnTo>
                  <a:lnTo>
                    <a:pt x="773967" y="317500"/>
                  </a:lnTo>
                  <a:lnTo>
                    <a:pt x="815242" y="339725"/>
                  </a:lnTo>
                  <a:lnTo>
                    <a:pt x="859692" y="342900"/>
                  </a:lnTo>
                  <a:lnTo>
                    <a:pt x="880330" y="371475"/>
                  </a:lnTo>
                  <a:lnTo>
                    <a:pt x="927955" y="387350"/>
                  </a:lnTo>
                  <a:lnTo>
                    <a:pt x="972405" y="384175"/>
                  </a:lnTo>
                  <a:lnTo>
                    <a:pt x="1016855" y="415925"/>
                  </a:lnTo>
                  <a:lnTo>
                    <a:pt x="1045430" y="487362"/>
                  </a:lnTo>
                  <a:lnTo>
                    <a:pt x="1061305" y="536575"/>
                  </a:lnTo>
                  <a:lnTo>
                    <a:pt x="1058130" y="590550"/>
                  </a:lnTo>
                  <a:lnTo>
                    <a:pt x="1069242" y="619125"/>
                  </a:lnTo>
                  <a:lnTo>
                    <a:pt x="1080355" y="658812"/>
                  </a:lnTo>
                  <a:lnTo>
                    <a:pt x="1105755" y="669925"/>
                  </a:lnTo>
                  <a:lnTo>
                    <a:pt x="1148617" y="671512"/>
                  </a:lnTo>
                  <a:lnTo>
                    <a:pt x="1237517" y="665162"/>
                  </a:lnTo>
                  <a:lnTo>
                    <a:pt x="1262917" y="673100"/>
                  </a:lnTo>
                  <a:lnTo>
                    <a:pt x="1259742" y="719137"/>
                  </a:lnTo>
                  <a:lnTo>
                    <a:pt x="1270855" y="755650"/>
                  </a:lnTo>
                  <a:lnTo>
                    <a:pt x="1337530" y="801687"/>
                  </a:lnTo>
                  <a:lnTo>
                    <a:pt x="1353405" y="841375"/>
                  </a:lnTo>
                  <a:lnTo>
                    <a:pt x="1354992" y="877887"/>
                  </a:lnTo>
                  <a:lnTo>
                    <a:pt x="1345467" y="920750"/>
                  </a:lnTo>
                  <a:lnTo>
                    <a:pt x="1331180" y="976312"/>
                  </a:lnTo>
                  <a:lnTo>
                    <a:pt x="1310542" y="1016000"/>
                  </a:lnTo>
                  <a:lnTo>
                    <a:pt x="1305780" y="1044575"/>
                  </a:lnTo>
                  <a:lnTo>
                    <a:pt x="1281967" y="1112837"/>
                  </a:lnTo>
                  <a:lnTo>
                    <a:pt x="1269267" y="1154112"/>
                  </a:lnTo>
                  <a:lnTo>
                    <a:pt x="1250217" y="1182687"/>
                  </a:lnTo>
                  <a:lnTo>
                    <a:pt x="1201005" y="1168400"/>
                  </a:lnTo>
                  <a:lnTo>
                    <a:pt x="1172430" y="1154112"/>
                  </a:lnTo>
                  <a:lnTo>
                    <a:pt x="1131155" y="1154112"/>
                  </a:lnTo>
                  <a:lnTo>
                    <a:pt x="1069242" y="1131887"/>
                  </a:lnTo>
                  <a:lnTo>
                    <a:pt x="1005742" y="1122362"/>
                  </a:lnTo>
                  <a:lnTo>
                    <a:pt x="950180" y="1125537"/>
                  </a:lnTo>
                  <a:lnTo>
                    <a:pt x="888267" y="1149350"/>
                  </a:lnTo>
                  <a:lnTo>
                    <a:pt x="872392" y="1220787"/>
                  </a:lnTo>
                  <a:lnTo>
                    <a:pt x="870805" y="1255712"/>
                  </a:lnTo>
                  <a:lnTo>
                    <a:pt x="872392" y="1287462"/>
                  </a:lnTo>
                  <a:lnTo>
                    <a:pt x="824767" y="1311275"/>
                  </a:lnTo>
                  <a:lnTo>
                    <a:pt x="805717" y="1331912"/>
                  </a:lnTo>
                  <a:lnTo>
                    <a:pt x="778730" y="1374775"/>
                  </a:lnTo>
                  <a:lnTo>
                    <a:pt x="750155" y="1417637"/>
                  </a:lnTo>
                  <a:lnTo>
                    <a:pt x="688242" y="1412875"/>
                  </a:lnTo>
                  <a:lnTo>
                    <a:pt x="634267" y="1412875"/>
                  </a:lnTo>
                  <a:lnTo>
                    <a:pt x="569180" y="1446212"/>
                  </a:lnTo>
                  <a:lnTo>
                    <a:pt x="531080" y="1422400"/>
                  </a:lnTo>
                  <a:lnTo>
                    <a:pt x="495300" y="1392487"/>
                  </a:lnTo>
                  <a:lnTo>
                    <a:pt x="433387" y="1384152"/>
                  </a:lnTo>
                  <a:lnTo>
                    <a:pt x="379809" y="1398440"/>
                  </a:lnTo>
                  <a:lnTo>
                    <a:pt x="358378" y="1425824"/>
                  </a:lnTo>
                  <a:lnTo>
                    <a:pt x="347662" y="1461543"/>
                  </a:lnTo>
                  <a:lnTo>
                    <a:pt x="321530" y="1479550"/>
                  </a:lnTo>
                  <a:lnTo>
                    <a:pt x="272317" y="1525587"/>
                  </a:lnTo>
                  <a:lnTo>
                    <a:pt x="224692" y="1468437"/>
                  </a:lnTo>
                  <a:lnTo>
                    <a:pt x="192942" y="1406525"/>
                  </a:lnTo>
                  <a:lnTo>
                    <a:pt x="181830" y="1339850"/>
                  </a:lnTo>
                  <a:lnTo>
                    <a:pt x="158017" y="1282700"/>
                  </a:lnTo>
                  <a:lnTo>
                    <a:pt x="131030" y="1208087"/>
                  </a:lnTo>
                  <a:lnTo>
                    <a:pt x="143730" y="1131887"/>
                  </a:lnTo>
                  <a:lnTo>
                    <a:pt x="145317" y="1036637"/>
                  </a:lnTo>
                  <a:lnTo>
                    <a:pt x="86580" y="987425"/>
                  </a:lnTo>
                  <a:lnTo>
                    <a:pt x="0" y="938858"/>
                  </a:lnTo>
                  <a:lnTo>
                    <a:pt x="40481" y="884090"/>
                  </a:lnTo>
                  <a:lnTo>
                    <a:pt x="73819" y="859087"/>
                  </a:lnTo>
                  <a:lnTo>
                    <a:pt x="73880" y="808037"/>
                  </a:lnTo>
                  <a:lnTo>
                    <a:pt x="104775" y="779315"/>
                  </a:lnTo>
                  <a:lnTo>
                    <a:pt x="137380" y="727075"/>
                  </a:lnTo>
                  <a:lnTo>
                    <a:pt x="172641" y="679302"/>
                  </a:lnTo>
                  <a:lnTo>
                    <a:pt x="139303" y="650727"/>
                  </a:lnTo>
                  <a:lnTo>
                    <a:pt x="92869" y="545952"/>
                  </a:lnTo>
                  <a:lnTo>
                    <a:pt x="125016" y="489993"/>
                  </a:lnTo>
                  <a:lnTo>
                    <a:pt x="151209" y="450702"/>
                  </a:lnTo>
                  <a:lnTo>
                    <a:pt x="132617" y="403225"/>
                  </a:lnTo>
                  <a:lnTo>
                    <a:pt x="134541" y="347118"/>
                  </a:lnTo>
                  <a:lnTo>
                    <a:pt x="159605" y="28575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4" name="Freeform 209">
              <a:extLst>
                <a:ext uri="{FF2B5EF4-FFF2-40B4-BE49-F238E27FC236}">
                  <a16:creationId xmlns:a16="http://schemas.microsoft.com/office/drawing/2014/main" id="{D98FD118-5B48-F01A-B62F-1154EFA26A78}"/>
                </a:ext>
              </a:extLst>
            </p:cNvPr>
            <p:cNvSpPr>
              <a:spLocks/>
            </p:cNvSpPr>
            <p:nvPr/>
          </p:nvSpPr>
          <p:spPr bwMode="auto">
            <a:xfrm>
              <a:off x="2418153" y="4124815"/>
              <a:ext cx="322705" cy="477086"/>
            </a:xfrm>
            <a:custGeom>
              <a:avLst/>
              <a:gdLst>
                <a:gd name="T0" fmla="*/ 115 w 1341437"/>
                <a:gd name="T1" fmla="*/ 117 h 1921817"/>
                <a:gd name="T2" fmla="*/ 125 w 1341437"/>
                <a:gd name="T3" fmla="*/ 127 h 1921817"/>
                <a:gd name="T4" fmla="*/ 136 w 1341437"/>
                <a:gd name="T5" fmla="*/ 137 h 1921817"/>
                <a:gd name="T6" fmla="*/ 146 w 1341437"/>
                <a:gd name="T7" fmla="*/ 143 h 1921817"/>
                <a:gd name="T8" fmla="*/ 158 w 1341437"/>
                <a:gd name="T9" fmla="*/ 138 h 1921817"/>
                <a:gd name="T10" fmla="*/ 162 w 1341437"/>
                <a:gd name="T11" fmla="*/ 155 h 1921817"/>
                <a:gd name="T12" fmla="*/ 171 w 1341437"/>
                <a:gd name="T13" fmla="*/ 156 h 1921817"/>
                <a:gd name="T14" fmla="*/ 182 w 1341437"/>
                <a:gd name="T15" fmla="*/ 166 h 1921817"/>
                <a:gd name="T16" fmla="*/ 190 w 1341437"/>
                <a:gd name="T17" fmla="*/ 176 h 1921817"/>
                <a:gd name="T18" fmla="*/ 187 w 1341437"/>
                <a:gd name="T19" fmla="*/ 190 h 1921817"/>
                <a:gd name="T20" fmla="*/ 190 w 1341437"/>
                <a:gd name="T21" fmla="*/ 204 h 1921817"/>
                <a:gd name="T22" fmla="*/ 181 w 1341437"/>
                <a:gd name="T23" fmla="*/ 218 h 1921817"/>
                <a:gd name="T24" fmla="*/ 193 w 1341437"/>
                <a:gd name="T25" fmla="*/ 238 h 1921817"/>
                <a:gd name="T26" fmla="*/ 179 w 1341437"/>
                <a:gd name="T27" fmla="*/ 257 h 1921817"/>
                <a:gd name="T28" fmla="*/ 175 w 1341437"/>
                <a:gd name="T29" fmla="*/ 267 h 1921817"/>
                <a:gd name="T30" fmla="*/ 165 w 1341437"/>
                <a:gd name="T31" fmla="*/ 280 h 1921817"/>
                <a:gd name="T32" fmla="*/ 150 w 1341437"/>
                <a:gd name="T33" fmla="*/ 271 h 1921817"/>
                <a:gd name="T34" fmla="*/ 137 w 1341437"/>
                <a:gd name="T35" fmla="*/ 263 h 1921817"/>
                <a:gd name="T36" fmla="*/ 115 w 1341437"/>
                <a:gd name="T37" fmla="*/ 252 h 1921817"/>
                <a:gd name="T38" fmla="*/ 94 w 1341437"/>
                <a:gd name="T39" fmla="*/ 243 h 1921817"/>
                <a:gd name="T40" fmla="*/ 80 w 1341437"/>
                <a:gd name="T41" fmla="*/ 225 h 1921817"/>
                <a:gd name="T42" fmla="*/ 71 w 1341437"/>
                <a:gd name="T43" fmla="*/ 203 h 1921817"/>
                <a:gd name="T44" fmla="*/ 70 w 1341437"/>
                <a:gd name="T45" fmla="*/ 182 h 1921817"/>
                <a:gd name="T46" fmla="*/ 59 w 1341437"/>
                <a:gd name="T47" fmla="*/ 164 h 1921817"/>
                <a:gd name="T48" fmla="*/ 52 w 1341437"/>
                <a:gd name="T49" fmla="*/ 147 h 1921817"/>
                <a:gd name="T50" fmla="*/ 42 w 1341437"/>
                <a:gd name="T51" fmla="*/ 135 h 1921817"/>
                <a:gd name="T52" fmla="*/ 37 w 1341437"/>
                <a:gd name="T53" fmla="*/ 119 h 1921817"/>
                <a:gd name="T54" fmla="*/ 27 w 1341437"/>
                <a:gd name="T55" fmla="*/ 104 h 1921817"/>
                <a:gd name="T56" fmla="*/ 13 w 1341437"/>
                <a:gd name="T57" fmla="*/ 91 h 1921817"/>
                <a:gd name="T58" fmla="*/ 2 w 1341437"/>
                <a:gd name="T59" fmla="*/ 84 h 1921817"/>
                <a:gd name="T60" fmla="*/ 2 w 1341437"/>
                <a:gd name="T61" fmla="*/ 74 h 1921817"/>
                <a:gd name="T62" fmla="*/ 0 w 1341437"/>
                <a:gd name="T63" fmla="*/ 62 h 1921817"/>
                <a:gd name="T64" fmla="*/ 6 w 1341437"/>
                <a:gd name="T65" fmla="*/ 52 h 1921817"/>
                <a:gd name="T66" fmla="*/ 13 w 1341437"/>
                <a:gd name="T67" fmla="*/ 57 h 1921817"/>
                <a:gd name="T68" fmla="*/ 23 w 1341437"/>
                <a:gd name="T69" fmla="*/ 63 h 1921817"/>
                <a:gd name="T70" fmla="*/ 35 w 1341437"/>
                <a:gd name="T71" fmla="*/ 68 h 1921817"/>
                <a:gd name="T72" fmla="*/ 39 w 1341437"/>
                <a:gd name="T73" fmla="*/ 59 h 1921817"/>
                <a:gd name="T74" fmla="*/ 47 w 1341437"/>
                <a:gd name="T75" fmla="*/ 44 h 1921817"/>
                <a:gd name="T76" fmla="*/ 63 w 1341437"/>
                <a:gd name="T77" fmla="*/ 37 h 1921817"/>
                <a:gd name="T78" fmla="*/ 79 w 1341437"/>
                <a:gd name="T79" fmla="*/ 25 h 1921817"/>
                <a:gd name="T80" fmla="*/ 87 w 1341437"/>
                <a:gd name="T81" fmla="*/ 12 h 1921817"/>
                <a:gd name="T82" fmla="*/ 87 w 1341437"/>
                <a:gd name="T83" fmla="*/ 1 h 1921817"/>
                <a:gd name="T84" fmla="*/ 98 w 1341437"/>
                <a:gd name="T85" fmla="*/ 2 h 1921817"/>
                <a:gd name="T86" fmla="*/ 105 w 1341437"/>
                <a:gd name="T87" fmla="*/ 12 h 1921817"/>
                <a:gd name="T88" fmla="*/ 117 w 1341437"/>
                <a:gd name="T89" fmla="*/ 18 h 1921817"/>
                <a:gd name="T90" fmla="*/ 123 w 1341437"/>
                <a:gd name="T91" fmla="*/ 35 h 1921817"/>
                <a:gd name="T92" fmla="*/ 135 w 1341437"/>
                <a:gd name="T93" fmla="*/ 33 h 1921817"/>
                <a:gd name="T94" fmla="*/ 147 w 1341437"/>
                <a:gd name="T95" fmla="*/ 30 h 1921817"/>
                <a:gd name="T96" fmla="*/ 160 w 1341437"/>
                <a:gd name="T97" fmla="*/ 32 h 1921817"/>
                <a:gd name="T98" fmla="*/ 164 w 1341437"/>
                <a:gd name="T99" fmla="*/ 41 h 1921817"/>
                <a:gd name="T100" fmla="*/ 159 w 1341437"/>
                <a:gd name="T101" fmla="*/ 52 h 1921817"/>
                <a:gd name="T102" fmla="*/ 166 w 1341437"/>
                <a:gd name="T103" fmla="*/ 60 h 1921817"/>
                <a:gd name="T104" fmla="*/ 153 w 1341437"/>
                <a:gd name="T105" fmla="*/ 61 h 1921817"/>
                <a:gd name="T106" fmla="*/ 139 w 1341437"/>
                <a:gd name="T107" fmla="*/ 63 h 1921817"/>
                <a:gd name="T108" fmla="*/ 124 w 1341437"/>
                <a:gd name="T109" fmla="*/ 75 h 1921817"/>
                <a:gd name="T110" fmla="*/ 121 w 1341437"/>
                <a:gd name="T111" fmla="*/ 84 h 1921817"/>
                <a:gd name="T112" fmla="*/ 115 w 1341437"/>
                <a:gd name="T113" fmla="*/ 98 h 1921817"/>
                <a:gd name="T114" fmla="*/ 111 w 1341437"/>
                <a:gd name="T115" fmla="*/ 111 h 192181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41437"/>
                <a:gd name="T175" fmla="*/ 0 h 1921817"/>
                <a:gd name="T176" fmla="*/ 1341437 w 1341437"/>
                <a:gd name="T177" fmla="*/ 1921817 h 192181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41437" h="1921817">
                  <a:moveTo>
                    <a:pt x="771525" y="759767"/>
                  </a:moveTo>
                  <a:lnTo>
                    <a:pt x="796925" y="797867"/>
                  </a:lnTo>
                  <a:lnTo>
                    <a:pt x="828675" y="835967"/>
                  </a:lnTo>
                  <a:lnTo>
                    <a:pt x="873125" y="867717"/>
                  </a:lnTo>
                  <a:lnTo>
                    <a:pt x="884237" y="912167"/>
                  </a:lnTo>
                  <a:lnTo>
                    <a:pt x="944562" y="935979"/>
                  </a:lnTo>
                  <a:lnTo>
                    <a:pt x="971550" y="966142"/>
                  </a:lnTo>
                  <a:lnTo>
                    <a:pt x="1017587" y="980429"/>
                  </a:lnTo>
                  <a:lnTo>
                    <a:pt x="1065212" y="972492"/>
                  </a:lnTo>
                  <a:lnTo>
                    <a:pt x="1100137" y="945504"/>
                  </a:lnTo>
                  <a:lnTo>
                    <a:pt x="1123950" y="994717"/>
                  </a:lnTo>
                  <a:lnTo>
                    <a:pt x="1125537" y="1061392"/>
                  </a:lnTo>
                  <a:lnTo>
                    <a:pt x="1139825" y="1085204"/>
                  </a:lnTo>
                  <a:lnTo>
                    <a:pt x="1187450" y="1067742"/>
                  </a:lnTo>
                  <a:lnTo>
                    <a:pt x="1245333" y="1067991"/>
                  </a:lnTo>
                  <a:lnTo>
                    <a:pt x="1265237" y="1136004"/>
                  </a:lnTo>
                  <a:lnTo>
                    <a:pt x="1290637" y="1162992"/>
                  </a:lnTo>
                  <a:lnTo>
                    <a:pt x="1320800" y="1202679"/>
                  </a:lnTo>
                  <a:lnTo>
                    <a:pt x="1327150" y="1236017"/>
                  </a:lnTo>
                  <a:lnTo>
                    <a:pt x="1303337" y="1299517"/>
                  </a:lnTo>
                  <a:lnTo>
                    <a:pt x="1302483" y="1356122"/>
                  </a:lnTo>
                  <a:lnTo>
                    <a:pt x="1319212" y="1397942"/>
                  </a:lnTo>
                  <a:lnTo>
                    <a:pt x="1303337" y="1426517"/>
                  </a:lnTo>
                  <a:lnTo>
                    <a:pt x="1262062" y="1491604"/>
                  </a:lnTo>
                  <a:lnTo>
                    <a:pt x="1306512" y="1597967"/>
                  </a:lnTo>
                  <a:lnTo>
                    <a:pt x="1341437" y="1624954"/>
                  </a:lnTo>
                  <a:lnTo>
                    <a:pt x="1274762" y="1724967"/>
                  </a:lnTo>
                  <a:lnTo>
                    <a:pt x="1243012" y="1758304"/>
                  </a:lnTo>
                  <a:lnTo>
                    <a:pt x="1243012" y="1804342"/>
                  </a:lnTo>
                  <a:lnTo>
                    <a:pt x="1214437" y="1828154"/>
                  </a:lnTo>
                  <a:lnTo>
                    <a:pt x="1170324" y="1884760"/>
                  </a:lnTo>
                  <a:lnTo>
                    <a:pt x="1147762" y="1917054"/>
                  </a:lnTo>
                  <a:lnTo>
                    <a:pt x="1066800" y="1921817"/>
                  </a:lnTo>
                  <a:lnTo>
                    <a:pt x="1046162" y="1853554"/>
                  </a:lnTo>
                  <a:lnTo>
                    <a:pt x="1003300" y="1824979"/>
                  </a:lnTo>
                  <a:lnTo>
                    <a:pt x="950912" y="1796404"/>
                  </a:lnTo>
                  <a:lnTo>
                    <a:pt x="889000" y="1748779"/>
                  </a:lnTo>
                  <a:lnTo>
                    <a:pt x="803275" y="1721792"/>
                  </a:lnTo>
                  <a:lnTo>
                    <a:pt x="741362" y="1691629"/>
                  </a:lnTo>
                  <a:lnTo>
                    <a:pt x="652462" y="1663054"/>
                  </a:lnTo>
                  <a:lnTo>
                    <a:pt x="600075" y="1593204"/>
                  </a:lnTo>
                  <a:lnTo>
                    <a:pt x="557212" y="1539229"/>
                  </a:lnTo>
                  <a:lnTo>
                    <a:pt x="490537" y="1474142"/>
                  </a:lnTo>
                  <a:lnTo>
                    <a:pt x="490537" y="1391592"/>
                  </a:lnTo>
                  <a:lnTo>
                    <a:pt x="509587" y="1326504"/>
                  </a:lnTo>
                  <a:lnTo>
                    <a:pt x="485775" y="1245542"/>
                  </a:lnTo>
                  <a:lnTo>
                    <a:pt x="454025" y="1189979"/>
                  </a:lnTo>
                  <a:lnTo>
                    <a:pt x="411162" y="1120129"/>
                  </a:lnTo>
                  <a:lnTo>
                    <a:pt x="369887" y="1037579"/>
                  </a:lnTo>
                  <a:lnTo>
                    <a:pt x="361950" y="1002654"/>
                  </a:lnTo>
                  <a:lnTo>
                    <a:pt x="333375" y="945504"/>
                  </a:lnTo>
                  <a:lnTo>
                    <a:pt x="292100" y="920104"/>
                  </a:lnTo>
                  <a:lnTo>
                    <a:pt x="284162" y="859779"/>
                  </a:lnTo>
                  <a:lnTo>
                    <a:pt x="255587" y="815329"/>
                  </a:lnTo>
                  <a:lnTo>
                    <a:pt x="220662" y="756592"/>
                  </a:lnTo>
                  <a:lnTo>
                    <a:pt x="188912" y="710554"/>
                  </a:lnTo>
                  <a:lnTo>
                    <a:pt x="144462" y="662929"/>
                  </a:lnTo>
                  <a:lnTo>
                    <a:pt x="87312" y="624829"/>
                  </a:lnTo>
                  <a:lnTo>
                    <a:pt x="41275" y="612129"/>
                  </a:lnTo>
                  <a:lnTo>
                    <a:pt x="15875" y="574029"/>
                  </a:lnTo>
                  <a:lnTo>
                    <a:pt x="57150" y="554979"/>
                  </a:lnTo>
                  <a:lnTo>
                    <a:pt x="15875" y="504179"/>
                  </a:lnTo>
                  <a:lnTo>
                    <a:pt x="12700" y="467667"/>
                  </a:lnTo>
                  <a:lnTo>
                    <a:pt x="0" y="426392"/>
                  </a:lnTo>
                  <a:lnTo>
                    <a:pt x="15875" y="397817"/>
                  </a:lnTo>
                  <a:lnTo>
                    <a:pt x="41275" y="358129"/>
                  </a:lnTo>
                  <a:lnTo>
                    <a:pt x="87312" y="347017"/>
                  </a:lnTo>
                  <a:lnTo>
                    <a:pt x="87312" y="389879"/>
                  </a:lnTo>
                  <a:lnTo>
                    <a:pt x="100012" y="413692"/>
                  </a:lnTo>
                  <a:lnTo>
                    <a:pt x="157162" y="432742"/>
                  </a:lnTo>
                  <a:lnTo>
                    <a:pt x="204787" y="472429"/>
                  </a:lnTo>
                  <a:lnTo>
                    <a:pt x="242887" y="464492"/>
                  </a:lnTo>
                  <a:lnTo>
                    <a:pt x="263525" y="420042"/>
                  </a:lnTo>
                  <a:lnTo>
                    <a:pt x="273050" y="402579"/>
                  </a:lnTo>
                  <a:lnTo>
                    <a:pt x="288925" y="347017"/>
                  </a:lnTo>
                  <a:lnTo>
                    <a:pt x="330200" y="300979"/>
                  </a:lnTo>
                  <a:lnTo>
                    <a:pt x="369887" y="267642"/>
                  </a:lnTo>
                  <a:lnTo>
                    <a:pt x="436562" y="251767"/>
                  </a:lnTo>
                  <a:lnTo>
                    <a:pt x="511175" y="213667"/>
                  </a:lnTo>
                  <a:lnTo>
                    <a:pt x="547687" y="173979"/>
                  </a:lnTo>
                  <a:lnTo>
                    <a:pt x="598487" y="115242"/>
                  </a:lnTo>
                  <a:lnTo>
                    <a:pt x="606425" y="85079"/>
                  </a:lnTo>
                  <a:lnTo>
                    <a:pt x="609600" y="53329"/>
                  </a:lnTo>
                  <a:lnTo>
                    <a:pt x="607158" y="7144"/>
                  </a:lnTo>
                  <a:lnTo>
                    <a:pt x="645258" y="0"/>
                  </a:lnTo>
                  <a:lnTo>
                    <a:pt x="683358" y="16669"/>
                  </a:lnTo>
                  <a:lnTo>
                    <a:pt x="721458" y="35719"/>
                  </a:lnTo>
                  <a:lnTo>
                    <a:pt x="729792" y="83344"/>
                  </a:lnTo>
                  <a:lnTo>
                    <a:pt x="772655" y="96441"/>
                  </a:lnTo>
                  <a:lnTo>
                    <a:pt x="813136" y="121444"/>
                  </a:lnTo>
                  <a:lnTo>
                    <a:pt x="827087" y="188267"/>
                  </a:lnTo>
                  <a:lnTo>
                    <a:pt x="857189" y="236935"/>
                  </a:lnTo>
                  <a:lnTo>
                    <a:pt x="898861" y="217885"/>
                  </a:lnTo>
                  <a:lnTo>
                    <a:pt x="939800" y="224779"/>
                  </a:lnTo>
                  <a:lnTo>
                    <a:pt x="982205" y="191691"/>
                  </a:lnTo>
                  <a:lnTo>
                    <a:pt x="1023877" y="208360"/>
                  </a:lnTo>
                  <a:lnTo>
                    <a:pt x="1057214" y="203597"/>
                  </a:lnTo>
                  <a:lnTo>
                    <a:pt x="1114364" y="220266"/>
                  </a:lnTo>
                  <a:lnTo>
                    <a:pt x="1151274" y="245269"/>
                  </a:lnTo>
                  <a:lnTo>
                    <a:pt x="1144130" y="278607"/>
                  </a:lnTo>
                  <a:lnTo>
                    <a:pt x="1120775" y="307329"/>
                  </a:lnTo>
                  <a:lnTo>
                    <a:pt x="1108411" y="353616"/>
                  </a:lnTo>
                  <a:lnTo>
                    <a:pt x="1140558" y="367904"/>
                  </a:lnTo>
                  <a:lnTo>
                    <a:pt x="1156036" y="407194"/>
                  </a:lnTo>
                  <a:lnTo>
                    <a:pt x="1108075" y="394642"/>
                  </a:lnTo>
                  <a:lnTo>
                    <a:pt x="1065212" y="418454"/>
                  </a:lnTo>
                  <a:lnTo>
                    <a:pt x="1017587" y="427979"/>
                  </a:lnTo>
                  <a:lnTo>
                    <a:pt x="969962" y="429567"/>
                  </a:lnTo>
                  <a:lnTo>
                    <a:pt x="893762" y="488304"/>
                  </a:lnTo>
                  <a:lnTo>
                    <a:pt x="863600" y="515292"/>
                  </a:lnTo>
                  <a:lnTo>
                    <a:pt x="852487" y="542279"/>
                  </a:lnTo>
                  <a:lnTo>
                    <a:pt x="842962" y="577204"/>
                  </a:lnTo>
                  <a:lnTo>
                    <a:pt x="836612" y="629592"/>
                  </a:lnTo>
                  <a:lnTo>
                    <a:pt x="801687" y="667692"/>
                  </a:lnTo>
                  <a:lnTo>
                    <a:pt x="762000" y="707379"/>
                  </a:lnTo>
                  <a:lnTo>
                    <a:pt x="771525" y="759767"/>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5" name="Freeform 210">
              <a:extLst>
                <a:ext uri="{FF2B5EF4-FFF2-40B4-BE49-F238E27FC236}">
                  <a16:creationId xmlns:a16="http://schemas.microsoft.com/office/drawing/2014/main" id="{B4719DEE-7FE7-B6AC-6EAA-5E911211D523}"/>
                </a:ext>
              </a:extLst>
            </p:cNvPr>
            <p:cNvSpPr>
              <a:spLocks/>
            </p:cNvSpPr>
            <p:nvPr/>
          </p:nvSpPr>
          <p:spPr bwMode="auto">
            <a:xfrm>
              <a:off x="2427118" y="4090244"/>
              <a:ext cx="136703" cy="152115"/>
            </a:xfrm>
            <a:custGeom>
              <a:avLst/>
              <a:gdLst>
                <a:gd name="T0" fmla="*/ 30 w 571500"/>
                <a:gd name="T1" fmla="*/ 0 h 609600"/>
                <a:gd name="T2" fmla="*/ 37 w 571500"/>
                <a:gd name="T3" fmla="*/ 2 h 609600"/>
                <a:gd name="T4" fmla="*/ 41 w 571500"/>
                <a:gd name="T5" fmla="*/ 5 h 609600"/>
                <a:gd name="T6" fmla="*/ 46 w 571500"/>
                <a:gd name="T7" fmla="*/ 7 h 609600"/>
                <a:gd name="T8" fmla="*/ 50 w 571500"/>
                <a:gd name="T9" fmla="*/ 13 h 609600"/>
                <a:gd name="T10" fmla="*/ 57 w 571500"/>
                <a:gd name="T11" fmla="*/ 15 h 609600"/>
                <a:gd name="T12" fmla="*/ 62 w 571500"/>
                <a:gd name="T13" fmla="*/ 15 h 609600"/>
                <a:gd name="T14" fmla="*/ 75 w 571500"/>
                <a:gd name="T15" fmla="*/ 14 h 609600"/>
                <a:gd name="T16" fmla="*/ 79 w 571500"/>
                <a:gd name="T17" fmla="*/ 21 h 609600"/>
                <a:gd name="T18" fmla="*/ 80 w 571500"/>
                <a:gd name="T19" fmla="*/ 28 h 609600"/>
                <a:gd name="T20" fmla="*/ 79 w 571500"/>
                <a:gd name="T21" fmla="*/ 33 h 609600"/>
                <a:gd name="T22" fmla="*/ 77 w 571500"/>
                <a:gd name="T23" fmla="*/ 39 h 609600"/>
                <a:gd name="T24" fmla="*/ 71 w 571500"/>
                <a:gd name="T25" fmla="*/ 46 h 609600"/>
                <a:gd name="T26" fmla="*/ 67 w 571500"/>
                <a:gd name="T27" fmla="*/ 52 h 609600"/>
                <a:gd name="T28" fmla="*/ 56 w 571500"/>
                <a:gd name="T29" fmla="*/ 58 h 609600"/>
                <a:gd name="T30" fmla="*/ 46 w 571500"/>
                <a:gd name="T31" fmla="*/ 61 h 609600"/>
                <a:gd name="T32" fmla="*/ 41 w 571500"/>
                <a:gd name="T33" fmla="*/ 65 h 609600"/>
                <a:gd name="T34" fmla="*/ 35 w 571500"/>
                <a:gd name="T35" fmla="*/ 73 h 609600"/>
                <a:gd name="T36" fmla="*/ 33 w 571500"/>
                <a:gd name="T37" fmla="*/ 81 h 609600"/>
                <a:gd name="T38" fmla="*/ 29 w 571500"/>
                <a:gd name="T39" fmla="*/ 90 h 609600"/>
                <a:gd name="T40" fmla="*/ 23 w 571500"/>
                <a:gd name="T41" fmla="*/ 91 h 609600"/>
                <a:gd name="T42" fmla="*/ 16 w 571500"/>
                <a:gd name="T43" fmla="*/ 85 h 609600"/>
                <a:gd name="T44" fmla="*/ 8 w 571500"/>
                <a:gd name="T45" fmla="*/ 82 h 609600"/>
                <a:gd name="T46" fmla="*/ 6 w 571500"/>
                <a:gd name="T47" fmla="*/ 79 h 609600"/>
                <a:gd name="T48" fmla="*/ 7 w 571500"/>
                <a:gd name="T49" fmla="*/ 73 h 609600"/>
                <a:gd name="T50" fmla="*/ 12 w 571500"/>
                <a:gd name="T51" fmla="*/ 70 h 609600"/>
                <a:gd name="T52" fmla="*/ 16 w 571500"/>
                <a:gd name="T53" fmla="*/ 63 h 609600"/>
                <a:gd name="T54" fmla="*/ 18 w 571500"/>
                <a:gd name="T55" fmla="*/ 59 h 609600"/>
                <a:gd name="T56" fmla="*/ 18 w 571500"/>
                <a:gd name="T57" fmla="*/ 54 h 609600"/>
                <a:gd name="T58" fmla="*/ 10 w 571500"/>
                <a:gd name="T59" fmla="*/ 57 h 609600"/>
                <a:gd name="T60" fmla="*/ 4 w 571500"/>
                <a:gd name="T61" fmla="*/ 56 h 609600"/>
                <a:gd name="T62" fmla="*/ 0 w 571500"/>
                <a:gd name="T63" fmla="*/ 51 h 609600"/>
                <a:gd name="T64" fmla="*/ 2 w 571500"/>
                <a:gd name="T65" fmla="*/ 48 h 609600"/>
                <a:gd name="T66" fmla="*/ 5 w 571500"/>
                <a:gd name="T67" fmla="*/ 43 h 609600"/>
                <a:gd name="T68" fmla="*/ 4 w 571500"/>
                <a:gd name="T69" fmla="*/ 38 h 609600"/>
                <a:gd name="T70" fmla="*/ 0 w 571500"/>
                <a:gd name="T71" fmla="*/ 34 h 609600"/>
                <a:gd name="T72" fmla="*/ 4 w 571500"/>
                <a:gd name="T73" fmla="*/ 32 h 609600"/>
                <a:gd name="T74" fmla="*/ 6 w 571500"/>
                <a:gd name="T75" fmla="*/ 28 h 609600"/>
                <a:gd name="T76" fmla="*/ 6 w 571500"/>
                <a:gd name="T77" fmla="*/ 23 h 609600"/>
                <a:gd name="T78" fmla="*/ 11 w 571500"/>
                <a:gd name="T79" fmla="*/ 19 h 609600"/>
                <a:gd name="T80" fmla="*/ 12 w 571500"/>
                <a:gd name="T81" fmla="*/ 13 h 609600"/>
                <a:gd name="T82" fmla="*/ 12 w 571500"/>
                <a:gd name="T83" fmla="*/ 7 h 609600"/>
                <a:gd name="T84" fmla="*/ 17 w 571500"/>
                <a:gd name="T85" fmla="*/ 4 h 609600"/>
                <a:gd name="T86" fmla="*/ 25 w 571500"/>
                <a:gd name="T87" fmla="*/ 3 h 609600"/>
                <a:gd name="T88" fmla="*/ 30 w 571500"/>
                <a:gd name="T89" fmla="*/ 0 h 609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1500"/>
                <a:gd name="T136" fmla="*/ 0 h 609600"/>
                <a:gd name="T137" fmla="*/ 571500 w 571500"/>
                <a:gd name="T138" fmla="*/ 609600 h 6096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1500" h="609600">
                  <a:moveTo>
                    <a:pt x="213855" y="0"/>
                  </a:moveTo>
                  <a:lnTo>
                    <a:pt x="266243" y="11906"/>
                  </a:lnTo>
                  <a:lnTo>
                    <a:pt x="292437" y="35719"/>
                  </a:lnTo>
                  <a:lnTo>
                    <a:pt x="329346" y="46434"/>
                  </a:lnTo>
                  <a:lnTo>
                    <a:pt x="357921" y="89297"/>
                  </a:lnTo>
                  <a:lnTo>
                    <a:pt x="407927" y="101203"/>
                  </a:lnTo>
                  <a:lnTo>
                    <a:pt x="441265" y="97631"/>
                  </a:lnTo>
                  <a:lnTo>
                    <a:pt x="540087" y="96441"/>
                  </a:lnTo>
                  <a:lnTo>
                    <a:pt x="566670" y="140230"/>
                  </a:lnTo>
                  <a:lnTo>
                    <a:pt x="571500" y="188416"/>
                  </a:lnTo>
                  <a:lnTo>
                    <a:pt x="568280" y="222001"/>
                  </a:lnTo>
                  <a:lnTo>
                    <a:pt x="554374" y="259556"/>
                  </a:lnTo>
                  <a:lnTo>
                    <a:pt x="510325" y="306693"/>
                  </a:lnTo>
                  <a:lnTo>
                    <a:pt x="478128" y="346118"/>
                  </a:lnTo>
                  <a:lnTo>
                    <a:pt x="404075" y="387004"/>
                  </a:lnTo>
                  <a:lnTo>
                    <a:pt x="330537" y="406003"/>
                  </a:lnTo>
                  <a:lnTo>
                    <a:pt x="294604" y="433730"/>
                  </a:lnTo>
                  <a:lnTo>
                    <a:pt x="251138" y="483377"/>
                  </a:lnTo>
                  <a:lnTo>
                    <a:pt x="233430" y="541785"/>
                  </a:lnTo>
                  <a:lnTo>
                    <a:pt x="206062" y="601653"/>
                  </a:lnTo>
                  <a:lnTo>
                    <a:pt x="163849" y="609600"/>
                  </a:lnTo>
                  <a:lnTo>
                    <a:pt x="115910" y="569529"/>
                  </a:lnTo>
                  <a:lnTo>
                    <a:pt x="59565" y="549086"/>
                  </a:lnTo>
                  <a:lnTo>
                    <a:pt x="46686" y="525723"/>
                  </a:lnTo>
                  <a:lnTo>
                    <a:pt x="47168" y="486966"/>
                  </a:lnTo>
                  <a:lnTo>
                    <a:pt x="83713" y="465854"/>
                  </a:lnTo>
                  <a:lnTo>
                    <a:pt x="117520" y="422048"/>
                  </a:lnTo>
                  <a:lnTo>
                    <a:pt x="130399" y="394305"/>
                  </a:lnTo>
                  <a:lnTo>
                    <a:pt x="130399" y="363640"/>
                  </a:lnTo>
                  <a:lnTo>
                    <a:pt x="70834" y="382623"/>
                  </a:lnTo>
                  <a:lnTo>
                    <a:pt x="28977" y="370941"/>
                  </a:lnTo>
                  <a:lnTo>
                    <a:pt x="0" y="343198"/>
                  </a:lnTo>
                  <a:lnTo>
                    <a:pt x="12879" y="322755"/>
                  </a:lnTo>
                  <a:lnTo>
                    <a:pt x="33807" y="287710"/>
                  </a:lnTo>
                  <a:lnTo>
                    <a:pt x="25758" y="255585"/>
                  </a:lnTo>
                  <a:lnTo>
                    <a:pt x="0" y="227842"/>
                  </a:lnTo>
                  <a:lnTo>
                    <a:pt x="25758" y="216160"/>
                  </a:lnTo>
                  <a:lnTo>
                    <a:pt x="46686" y="188416"/>
                  </a:lnTo>
                  <a:lnTo>
                    <a:pt x="43466" y="156292"/>
                  </a:lnTo>
                  <a:lnTo>
                    <a:pt x="75663" y="128548"/>
                  </a:lnTo>
                  <a:lnTo>
                    <a:pt x="83713" y="89123"/>
                  </a:lnTo>
                  <a:lnTo>
                    <a:pt x="83713" y="48237"/>
                  </a:lnTo>
                  <a:lnTo>
                    <a:pt x="122349" y="24874"/>
                  </a:lnTo>
                  <a:lnTo>
                    <a:pt x="180304" y="17573"/>
                  </a:lnTo>
                  <a:lnTo>
                    <a:pt x="213855" y="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6" name="Freeform 211">
              <a:extLst>
                <a:ext uri="{FF2B5EF4-FFF2-40B4-BE49-F238E27FC236}">
                  <a16:creationId xmlns:a16="http://schemas.microsoft.com/office/drawing/2014/main" id="{409BED5C-D022-1D10-DF4C-EBCDEBEF001A}"/>
                </a:ext>
              </a:extLst>
            </p:cNvPr>
            <p:cNvSpPr>
              <a:spLocks/>
            </p:cNvSpPr>
            <p:nvPr/>
          </p:nvSpPr>
          <p:spPr bwMode="auto">
            <a:xfrm>
              <a:off x="2474179" y="3815976"/>
              <a:ext cx="300295" cy="410249"/>
            </a:xfrm>
            <a:custGeom>
              <a:avLst/>
              <a:gdLst>
                <a:gd name="T0" fmla="*/ 2147483647 w 2433"/>
                <a:gd name="T1" fmla="*/ 2147483647 h 3386"/>
                <a:gd name="T2" fmla="*/ 2147483647 w 2433"/>
                <a:gd name="T3" fmla="*/ 2147483647 h 3386"/>
                <a:gd name="T4" fmla="*/ 2147483647 w 2433"/>
                <a:gd name="T5" fmla="*/ 2147483647 h 3386"/>
                <a:gd name="T6" fmla="*/ 2147483647 w 2433"/>
                <a:gd name="T7" fmla="*/ 2147483647 h 3386"/>
                <a:gd name="T8" fmla="*/ 2147483647 w 2433"/>
                <a:gd name="T9" fmla="*/ 2147483647 h 3386"/>
                <a:gd name="T10" fmla="*/ 2147483647 w 2433"/>
                <a:gd name="T11" fmla="*/ 2147483647 h 3386"/>
                <a:gd name="T12" fmla="*/ 2147483647 w 2433"/>
                <a:gd name="T13" fmla="*/ 2147483647 h 3386"/>
                <a:gd name="T14" fmla="*/ 2147483647 w 2433"/>
                <a:gd name="T15" fmla="*/ 2147483647 h 3386"/>
                <a:gd name="T16" fmla="*/ 2147483647 w 2433"/>
                <a:gd name="T17" fmla="*/ 2147483647 h 3386"/>
                <a:gd name="T18" fmla="*/ 2147483647 w 2433"/>
                <a:gd name="T19" fmla="*/ 2147483647 h 3386"/>
                <a:gd name="T20" fmla="*/ 2147483647 w 2433"/>
                <a:gd name="T21" fmla="*/ 2147483647 h 3386"/>
                <a:gd name="T22" fmla="*/ 2147483647 w 2433"/>
                <a:gd name="T23" fmla="*/ 2147483647 h 3386"/>
                <a:gd name="T24" fmla="*/ 2147483647 w 2433"/>
                <a:gd name="T25" fmla="*/ 2147483647 h 3386"/>
                <a:gd name="T26" fmla="*/ 2147483647 w 2433"/>
                <a:gd name="T27" fmla="*/ 2147483647 h 3386"/>
                <a:gd name="T28" fmla="*/ 2147483647 w 2433"/>
                <a:gd name="T29" fmla="*/ 2147483647 h 3386"/>
                <a:gd name="T30" fmla="*/ 2147483647 w 2433"/>
                <a:gd name="T31" fmla="*/ 2147483647 h 3386"/>
                <a:gd name="T32" fmla="*/ 2147483647 w 2433"/>
                <a:gd name="T33" fmla="*/ 2147483647 h 3386"/>
                <a:gd name="T34" fmla="*/ 2147483647 w 2433"/>
                <a:gd name="T35" fmla="*/ 2147483647 h 3386"/>
                <a:gd name="T36" fmla="*/ 2147483647 w 2433"/>
                <a:gd name="T37" fmla="*/ 2147483647 h 3386"/>
                <a:gd name="T38" fmla="*/ 2147483647 w 2433"/>
                <a:gd name="T39" fmla="*/ 2147483647 h 3386"/>
                <a:gd name="T40" fmla="*/ 2147483647 w 2433"/>
                <a:gd name="T41" fmla="*/ 2147483647 h 3386"/>
                <a:gd name="T42" fmla="*/ 2147483647 w 2433"/>
                <a:gd name="T43" fmla="*/ 2147483647 h 3386"/>
                <a:gd name="T44" fmla="*/ 2147483647 w 2433"/>
                <a:gd name="T45" fmla="*/ 2147483647 h 3386"/>
                <a:gd name="T46" fmla="*/ 2147483647 w 2433"/>
                <a:gd name="T47" fmla="*/ 2147483647 h 3386"/>
                <a:gd name="T48" fmla="*/ 2147483647 w 2433"/>
                <a:gd name="T49" fmla="*/ 2147483647 h 3386"/>
                <a:gd name="T50" fmla="*/ 2147483647 w 2433"/>
                <a:gd name="T51" fmla="*/ 2147483647 h 3386"/>
                <a:gd name="T52" fmla="*/ 2147483647 w 2433"/>
                <a:gd name="T53" fmla="*/ 2147483647 h 3386"/>
                <a:gd name="T54" fmla="*/ 2147483647 w 2433"/>
                <a:gd name="T55" fmla="*/ 2147483647 h 3386"/>
                <a:gd name="T56" fmla="*/ 2147483647 w 2433"/>
                <a:gd name="T57" fmla="*/ 2147483647 h 3386"/>
                <a:gd name="T58" fmla="*/ 2147483647 w 2433"/>
                <a:gd name="T59" fmla="*/ 2147483647 h 3386"/>
                <a:gd name="T60" fmla="*/ 2147483647 w 2433"/>
                <a:gd name="T61" fmla="*/ 2147483647 h 3386"/>
                <a:gd name="T62" fmla="*/ 2147483647 w 2433"/>
                <a:gd name="T63" fmla="*/ 2147483647 h 3386"/>
                <a:gd name="T64" fmla="*/ 2147483647 w 2433"/>
                <a:gd name="T65" fmla="*/ 2147483647 h 3386"/>
                <a:gd name="T66" fmla="*/ 2147483647 w 2433"/>
                <a:gd name="T67" fmla="*/ 2147483647 h 3386"/>
                <a:gd name="T68" fmla="*/ 2147483647 w 2433"/>
                <a:gd name="T69" fmla="*/ 2147483647 h 3386"/>
                <a:gd name="T70" fmla="*/ 2147483647 w 2433"/>
                <a:gd name="T71" fmla="*/ 2147483647 h 3386"/>
                <a:gd name="T72" fmla="*/ 2147483647 w 2433"/>
                <a:gd name="T73" fmla="*/ 2147483647 h 3386"/>
                <a:gd name="T74" fmla="*/ 2147483647 w 2433"/>
                <a:gd name="T75" fmla="*/ 2147483647 h 3386"/>
                <a:gd name="T76" fmla="*/ 2147483647 w 2433"/>
                <a:gd name="T77" fmla="*/ 2147483647 h 3386"/>
                <a:gd name="T78" fmla="*/ 2147483647 w 2433"/>
                <a:gd name="T79" fmla="*/ 2147483647 h 3386"/>
                <a:gd name="T80" fmla="*/ 2147483647 w 2433"/>
                <a:gd name="T81" fmla="*/ 2147483647 h 3386"/>
                <a:gd name="T82" fmla="*/ 2147483647 w 2433"/>
                <a:gd name="T83" fmla="*/ 2147483647 h 3386"/>
                <a:gd name="T84" fmla="*/ 2147483647 w 2433"/>
                <a:gd name="T85" fmla="*/ 2147483647 h 3386"/>
                <a:gd name="T86" fmla="*/ 2147483647 w 2433"/>
                <a:gd name="T87" fmla="*/ 2147483647 h 3386"/>
                <a:gd name="T88" fmla="*/ 2147483647 w 2433"/>
                <a:gd name="T89" fmla="*/ 2147483647 h 3386"/>
                <a:gd name="T90" fmla="*/ 2147483647 w 2433"/>
                <a:gd name="T91" fmla="*/ 2147483647 h 3386"/>
                <a:gd name="T92" fmla="*/ 2147483647 w 2433"/>
                <a:gd name="T93" fmla="*/ 2147483647 h 3386"/>
                <a:gd name="T94" fmla="*/ 2147483647 w 2433"/>
                <a:gd name="T95" fmla="*/ 2147483647 h 3386"/>
                <a:gd name="T96" fmla="*/ 2147483647 w 2433"/>
                <a:gd name="T97" fmla="*/ 2147483647 h 3386"/>
                <a:gd name="T98" fmla="*/ 2147483647 w 2433"/>
                <a:gd name="T99" fmla="*/ 2147483647 h 3386"/>
                <a:gd name="T100" fmla="*/ 2147483647 w 2433"/>
                <a:gd name="T101" fmla="*/ 2147483647 h 3386"/>
                <a:gd name="T102" fmla="*/ 2147483647 w 2433"/>
                <a:gd name="T103" fmla="*/ 2147483647 h 3386"/>
                <a:gd name="T104" fmla="*/ 0 w 2433"/>
                <a:gd name="T105" fmla="*/ 2147483647 h 3386"/>
                <a:gd name="T106" fmla="*/ 2147483647 w 2433"/>
                <a:gd name="T107" fmla="*/ 2147483647 h 3386"/>
                <a:gd name="T108" fmla="*/ 2147483647 w 2433"/>
                <a:gd name="T109" fmla="*/ 2147483647 h 3386"/>
                <a:gd name="T110" fmla="*/ 2147483647 w 2433"/>
                <a:gd name="T111" fmla="*/ 2147483647 h 3386"/>
                <a:gd name="T112" fmla="*/ 2147483647 w 2433"/>
                <a:gd name="T113" fmla="*/ 2147483647 h 3386"/>
                <a:gd name="T114" fmla="*/ 2147483647 w 2433"/>
                <a:gd name="T115" fmla="*/ 2147483647 h 3386"/>
                <a:gd name="T116" fmla="*/ 2147483647 w 2433"/>
                <a:gd name="T117" fmla="*/ 2147483647 h 3386"/>
                <a:gd name="T118" fmla="*/ 2147483647 w 2433"/>
                <a:gd name="T119" fmla="*/ 2147483647 h 3386"/>
                <a:gd name="T120" fmla="*/ 2147483647 w 2433"/>
                <a:gd name="T121" fmla="*/ 2147483647 h 3386"/>
                <a:gd name="T122" fmla="*/ 2147483647 w 2433"/>
                <a:gd name="T123" fmla="*/ 2147483647 h 33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33"/>
                <a:gd name="T187" fmla="*/ 0 h 3386"/>
                <a:gd name="T188" fmla="*/ 2433 w 2433"/>
                <a:gd name="T189" fmla="*/ 3386 h 33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33" h="3386">
                  <a:moveTo>
                    <a:pt x="273" y="1059"/>
                  </a:moveTo>
                  <a:lnTo>
                    <a:pt x="264" y="984"/>
                  </a:lnTo>
                  <a:lnTo>
                    <a:pt x="312" y="976"/>
                  </a:lnTo>
                  <a:lnTo>
                    <a:pt x="360" y="912"/>
                  </a:lnTo>
                  <a:lnTo>
                    <a:pt x="376" y="824"/>
                  </a:lnTo>
                  <a:lnTo>
                    <a:pt x="488" y="912"/>
                  </a:lnTo>
                  <a:lnTo>
                    <a:pt x="536" y="848"/>
                  </a:lnTo>
                  <a:lnTo>
                    <a:pt x="496" y="776"/>
                  </a:lnTo>
                  <a:lnTo>
                    <a:pt x="600" y="720"/>
                  </a:lnTo>
                  <a:lnTo>
                    <a:pt x="648" y="656"/>
                  </a:lnTo>
                  <a:lnTo>
                    <a:pt x="736" y="592"/>
                  </a:lnTo>
                  <a:lnTo>
                    <a:pt x="744" y="472"/>
                  </a:lnTo>
                  <a:lnTo>
                    <a:pt x="818" y="364"/>
                  </a:lnTo>
                  <a:lnTo>
                    <a:pt x="872" y="304"/>
                  </a:lnTo>
                  <a:lnTo>
                    <a:pt x="1008" y="304"/>
                  </a:lnTo>
                  <a:lnTo>
                    <a:pt x="1136" y="272"/>
                  </a:lnTo>
                  <a:lnTo>
                    <a:pt x="1232" y="208"/>
                  </a:lnTo>
                  <a:lnTo>
                    <a:pt x="1360" y="144"/>
                  </a:lnTo>
                  <a:lnTo>
                    <a:pt x="1448" y="112"/>
                  </a:lnTo>
                  <a:lnTo>
                    <a:pt x="1496" y="56"/>
                  </a:lnTo>
                  <a:lnTo>
                    <a:pt x="1592" y="0"/>
                  </a:lnTo>
                  <a:lnTo>
                    <a:pt x="1657" y="51"/>
                  </a:lnTo>
                  <a:lnTo>
                    <a:pt x="1362" y="275"/>
                  </a:lnTo>
                  <a:lnTo>
                    <a:pt x="1248" y="472"/>
                  </a:lnTo>
                  <a:lnTo>
                    <a:pt x="1204" y="588"/>
                  </a:lnTo>
                  <a:lnTo>
                    <a:pt x="1208" y="688"/>
                  </a:lnTo>
                  <a:lnTo>
                    <a:pt x="1296" y="768"/>
                  </a:lnTo>
                  <a:lnTo>
                    <a:pt x="1360" y="880"/>
                  </a:lnTo>
                  <a:lnTo>
                    <a:pt x="1320" y="952"/>
                  </a:lnTo>
                  <a:lnTo>
                    <a:pt x="1352" y="1040"/>
                  </a:lnTo>
                  <a:lnTo>
                    <a:pt x="1400" y="1104"/>
                  </a:lnTo>
                  <a:lnTo>
                    <a:pt x="1488" y="1104"/>
                  </a:lnTo>
                  <a:lnTo>
                    <a:pt x="1616" y="1104"/>
                  </a:lnTo>
                  <a:lnTo>
                    <a:pt x="1720" y="1096"/>
                  </a:lnTo>
                  <a:lnTo>
                    <a:pt x="1816" y="1128"/>
                  </a:lnTo>
                  <a:lnTo>
                    <a:pt x="1896" y="1240"/>
                  </a:lnTo>
                  <a:lnTo>
                    <a:pt x="1960" y="1304"/>
                  </a:lnTo>
                  <a:lnTo>
                    <a:pt x="2048" y="1296"/>
                  </a:lnTo>
                  <a:lnTo>
                    <a:pt x="2176" y="1280"/>
                  </a:lnTo>
                  <a:lnTo>
                    <a:pt x="2264" y="1280"/>
                  </a:lnTo>
                  <a:lnTo>
                    <a:pt x="2315" y="1305"/>
                  </a:lnTo>
                  <a:lnTo>
                    <a:pt x="2264" y="1416"/>
                  </a:lnTo>
                  <a:lnTo>
                    <a:pt x="2248" y="1536"/>
                  </a:lnTo>
                  <a:lnTo>
                    <a:pt x="2264" y="1640"/>
                  </a:lnTo>
                  <a:lnTo>
                    <a:pt x="2256" y="1720"/>
                  </a:lnTo>
                  <a:lnTo>
                    <a:pt x="2320" y="1776"/>
                  </a:lnTo>
                  <a:lnTo>
                    <a:pt x="2336" y="1832"/>
                  </a:lnTo>
                  <a:lnTo>
                    <a:pt x="2293" y="1887"/>
                  </a:lnTo>
                  <a:lnTo>
                    <a:pt x="2280" y="1952"/>
                  </a:lnTo>
                  <a:lnTo>
                    <a:pt x="2336" y="2016"/>
                  </a:lnTo>
                  <a:lnTo>
                    <a:pt x="2376" y="2088"/>
                  </a:lnTo>
                  <a:lnTo>
                    <a:pt x="2432" y="2144"/>
                  </a:lnTo>
                  <a:lnTo>
                    <a:pt x="2433" y="2210"/>
                  </a:lnTo>
                  <a:lnTo>
                    <a:pt x="2368" y="2146"/>
                  </a:lnTo>
                  <a:lnTo>
                    <a:pt x="2313" y="2111"/>
                  </a:lnTo>
                  <a:lnTo>
                    <a:pt x="2197" y="2153"/>
                  </a:lnTo>
                  <a:lnTo>
                    <a:pt x="2128" y="2191"/>
                  </a:lnTo>
                  <a:lnTo>
                    <a:pt x="2061" y="2168"/>
                  </a:lnTo>
                  <a:lnTo>
                    <a:pt x="1962" y="2200"/>
                  </a:lnTo>
                  <a:lnTo>
                    <a:pt x="1855" y="2185"/>
                  </a:lnTo>
                  <a:lnTo>
                    <a:pt x="1857" y="2242"/>
                  </a:lnTo>
                  <a:lnTo>
                    <a:pt x="1873" y="2288"/>
                  </a:lnTo>
                  <a:lnTo>
                    <a:pt x="1906" y="2321"/>
                  </a:lnTo>
                  <a:lnTo>
                    <a:pt x="1953" y="2336"/>
                  </a:lnTo>
                  <a:lnTo>
                    <a:pt x="2007" y="2329"/>
                  </a:lnTo>
                  <a:lnTo>
                    <a:pt x="1986" y="2408"/>
                  </a:lnTo>
                  <a:lnTo>
                    <a:pt x="1897" y="2399"/>
                  </a:lnTo>
                  <a:lnTo>
                    <a:pt x="1816" y="2417"/>
                  </a:lnTo>
                  <a:lnTo>
                    <a:pt x="1785" y="2483"/>
                  </a:lnTo>
                  <a:lnTo>
                    <a:pt x="1785" y="2551"/>
                  </a:lnTo>
                  <a:lnTo>
                    <a:pt x="1888" y="2624"/>
                  </a:lnTo>
                  <a:lnTo>
                    <a:pt x="1920" y="2719"/>
                  </a:lnTo>
                  <a:lnTo>
                    <a:pt x="1936" y="2791"/>
                  </a:lnTo>
                  <a:lnTo>
                    <a:pt x="1896" y="2885"/>
                  </a:lnTo>
                  <a:lnTo>
                    <a:pt x="1897" y="3019"/>
                  </a:lnTo>
                  <a:lnTo>
                    <a:pt x="1854" y="3229"/>
                  </a:lnTo>
                  <a:lnTo>
                    <a:pt x="1864" y="3319"/>
                  </a:lnTo>
                  <a:lnTo>
                    <a:pt x="1794" y="3386"/>
                  </a:lnTo>
                  <a:lnTo>
                    <a:pt x="1762" y="3307"/>
                  </a:lnTo>
                  <a:lnTo>
                    <a:pt x="1698" y="3280"/>
                  </a:lnTo>
                  <a:lnTo>
                    <a:pt x="1726" y="3175"/>
                  </a:lnTo>
                  <a:lnTo>
                    <a:pt x="1770" y="3118"/>
                  </a:lnTo>
                  <a:lnTo>
                    <a:pt x="1783" y="3058"/>
                  </a:lnTo>
                  <a:lnTo>
                    <a:pt x="1710" y="3002"/>
                  </a:lnTo>
                  <a:lnTo>
                    <a:pt x="1606" y="2969"/>
                  </a:lnTo>
                  <a:lnTo>
                    <a:pt x="1530" y="2975"/>
                  </a:lnTo>
                  <a:lnTo>
                    <a:pt x="1449" y="2944"/>
                  </a:lnTo>
                  <a:lnTo>
                    <a:pt x="1375" y="3008"/>
                  </a:lnTo>
                  <a:lnTo>
                    <a:pt x="1288" y="2999"/>
                  </a:lnTo>
                  <a:lnTo>
                    <a:pt x="1209" y="3041"/>
                  </a:lnTo>
                  <a:lnTo>
                    <a:pt x="1152" y="2933"/>
                  </a:lnTo>
                  <a:lnTo>
                    <a:pt x="1122" y="2803"/>
                  </a:lnTo>
                  <a:lnTo>
                    <a:pt x="1048" y="2752"/>
                  </a:lnTo>
                  <a:lnTo>
                    <a:pt x="958" y="2720"/>
                  </a:lnTo>
                  <a:lnTo>
                    <a:pt x="943" y="2624"/>
                  </a:lnTo>
                  <a:lnTo>
                    <a:pt x="801" y="2552"/>
                  </a:lnTo>
                  <a:lnTo>
                    <a:pt x="720" y="2561"/>
                  </a:lnTo>
                  <a:lnTo>
                    <a:pt x="664" y="2465"/>
                  </a:lnTo>
                  <a:lnTo>
                    <a:pt x="532" y="2464"/>
                  </a:lnTo>
                  <a:lnTo>
                    <a:pt x="408" y="2473"/>
                  </a:lnTo>
                  <a:lnTo>
                    <a:pt x="306" y="2444"/>
                  </a:lnTo>
                  <a:lnTo>
                    <a:pt x="250" y="2362"/>
                  </a:lnTo>
                  <a:lnTo>
                    <a:pt x="190" y="2344"/>
                  </a:lnTo>
                  <a:lnTo>
                    <a:pt x="130" y="2290"/>
                  </a:lnTo>
                  <a:lnTo>
                    <a:pt x="33" y="2264"/>
                  </a:lnTo>
                  <a:lnTo>
                    <a:pt x="0" y="2192"/>
                  </a:lnTo>
                  <a:lnTo>
                    <a:pt x="96" y="2184"/>
                  </a:lnTo>
                  <a:lnTo>
                    <a:pt x="64" y="2096"/>
                  </a:lnTo>
                  <a:lnTo>
                    <a:pt x="112" y="2040"/>
                  </a:lnTo>
                  <a:lnTo>
                    <a:pt x="205" y="1999"/>
                  </a:lnTo>
                  <a:lnTo>
                    <a:pt x="256" y="1984"/>
                  </a:lnTo>
                  <a:lnTo>
                    <a:pt x="312" y="1912"/>
                  </a:lnTo>
                  <a:lnTo>
                    <a:pt x="352" y="1848"/>
                  </a:lnTo>
                  <a:lnTo>
                    <a:pt x="364" y="1753"/>
                  </a:lnTo>
                  <a:lnTo>
                    <a:pt x="424" y="1736"/>
                  </a:lnTo>
                  <a:lnTo>
                    <a:pt x="320" y="1704"/>
                  </a:lnTo>
                  <a:lnTo>
                    <a:pt x="360" y="1632"/>
                  </a:lnTo>
                  <a:lnTo>
                    <a:pt x="364" y="1529"/>
                  </a:lnTo>
                  <a:lnTo>
                    <a:pt x="328" y="1464"/>
                  </a:lnTo>
                  <a:lnTo>
                    <a:pt x="376" y="1392"/>
                  </a:lnTo>
                  <a:lnTo>
                    <a:pt x="328" y="1304"/>
                  </a:lnTo>
                  <a:lnTo>
                    <a:pt x="360" y="1248"/>
                  </a:lnTo>
                  <a:lnTo>
                    <a:pt x="360" y="1184"/>
                  </a:lnTo>
                  <a:lnTo>
                    <a:pt x="272" y="1152"/>
                  </a:lnTo>
                  <a:lnTo>
                    <a:pt x="273" y="1059"/>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7" name="Freeform 212">
              <a:extLst>
                <a:ext uri="{FF2B5EF4-FFF2-40B4-BE49-F238E27FC236}">
                  <a16:creationId xmlns:a16="http://schemas.microsoft.com/office/drawing/2014/main" id="{5B925D1A-708B-71A2-3994-ADB7B8F6B3D4}"/>
                </a:ext>
              </a:extLst>
            </p:cNvPr>
            <p:cNvSpPr>
              <a:spLocks/>
            </p:cNvSpPr>
            <p:nvPr/>
          </p:nvSpPr>
          <p:spPr bwMode="auto">
            <a:xfrm>
              <a:off x="2624326" y="3841330"/>
              <a:ext cx="331670" cy="267353"/>
            </a:xfrm>
            <a:custGeom>
              <a:avLst/>
              <a:gdLst>
                <a:gd name="T0" fmla="*/ 35 w 1383567"/>
                <a:gd name="T1" fmla="*/ 6 h 1079500"/>
                <a:gd name="T2" fmla="*/ 49 w 1383567"/>
                <a:gd name="T3" fmla="*/ 2 h 1079500"/>
                <a:gd name="T4" fmla="*/ 65 w 1383567"/>
                <a:gd name="T5" fmla="*/ 2 h 1079500"/>
                <a:gd name="T6" fmla="*/ 72 w 1383567"/>
                <a:gd name="T7" fmla="*/ 16 h 1079500"/>
                <a:gd name="T8" fmla="*/ 88 w 1383567"/>
                <a:gd name="T9" fmla="*/ 15 h 1079500"/>
                <a:gd name="T10" fmla="*/ 102 w 1383567"/>
                <a:gd name="T11" fmla="*/ 14 h 1079500"/>
                <a:gd name="T12" fmla="*/ 112 w 1383567"/>
                <a:gd name="T13" fmla="*/ 21 h 1079500"/>
                <a:gd name="T14" fmla="*/ 124 w 1383567"/>
                <a:gd name="T15" fmla="*/ 24 h 1079500"/>
                <a:gd name="T16" fmla="*/ 136 w 1383567"/>
                <a:gd name="T17" fmla="*/ 15 h 1079500"/>
                <a:gd name="T18" fmla="*/ 153 w 1383567"/>
                <a:gd name="T19" fmla="*/ 14 h 1079500"/>
                <a:gd name="T20" fmla="*/ 160 w 1383567"/>
                <a:gd name="T21" fmla="*/ 26 h 1079500"/>
                <a:gd name="T22" fmla="*/ 173 w 1383567"/>
                <a:gd name="T23" fmla="*/ 26 h 1079500"/>
                <a:gd name="T24" fmla="*/ 182 w 1383567"/>
                <a:gd name="T25" fmla="*/ 36 h 1079500"/>
                <a:gd name="T26" fmla="*/ 185 w 1383567"/>
                <a:gd name="T27" fmla="*/ 46 h 1079500"/>
                <a:gd name="T28" fmla="*/ 195 w 1383567"/>
                <a:gd name="T29" fmla="*/ 48 h 1079500"/>
                <a:gd name="T30" fmla="*/ 184 w 1383567"/>
                <a:gd name="T31" fmla="*/ 62 h 1079500"/>
                <a:gd name="T32" fmla="*/ 180 w 1383567"/>
                <a:gd name="T33" fmla="*/ 70 h 1079500"/>
                <a:gd name="T34" fmla="*/ 176 w 1383567"/>
                <a:gd name="T35" fmla="*/ 75 h 1079500"/>
                <a:gd name="T36" fmla="*/ 174 w 1383567"/>
                <a:gd name="T37" fmla="*/ 85 h 1079500"/>
                <a:gd name="T38" fmla="*/ 181 w 1383567"/>
                <a:gd name="T39" fmla="*/ 91 h 1079500"/>
                <a:gd name="T40" fmla="*/ 176 w 1383567"/>
                <a:gd name="T41" fmla="*/ 98 h 1079500"/>
                <a:gd name="T42" fmla="*/ 161 w 1383567"/>
                <a:gd name="T43" fmla="*/ 106 h 1079500"/>
                <a:gd name="T44" fmla="*/ 149 w 1383567"/>
                <a:gd name="T45" fmla="*/ 110 h 1079500"/>
                <a:gd name="T46" fmla="*/ 141 w 1383567"/>
                <a:gd name="T47" fmla="*/ 108 h 1079500"/>
                <a:gd name="T48" fmla="*/ 131 w 1383567"/>
                <a:gd name="T49" fmla="*/ 106 h 1079500"/>
                <a:gd name="T50" fmla="*/ 125 w 1383567"/>
                <a:gd name="T51" fmla="*/ 110 h 1079500"/>
                <a:gd name="T52" fmla="*/ 129 w 1383567"/>
                <a:gd name="T53" fmla="*/ 120 h 1079500"/>
                <a:gd name="T54" fmla="*/ 132 w 1383567"/>
                <a:gd name="T55" fmla="*/ 129 h 1079500"/>
                <a:gd name="T56" fmla="*/ 137 w 1383567"/>
                <a:gd name="T57" fmla="*/ 134 h 1079500"/>
                <a:gd name="T58" fmla="*/ 129 w 1383567"/>
                <a:gd name="T59" fmla="*/ 143 h 1079500"/>
                <a:gd name="T60" fmla="*/ 115 w 1383567"/>
                <a:gd name="T61" fmla="*/ 150 h 1079500"/>
                <a:gd name="T62" fmla="*/ 110 w 1383567"/>
                <a:gd name="T63" fmla="*/ 153 h 1079500"/>
                <a:gd name="T64" fmla="*/ 102 w 1383567"/>
                <a:gd name="T65" fmla="*/ 154 h 1079500"/>
                <a:gd name="T66" fmla="*/ 89 w 1383567"/>
                <a:gd name="T67" fmla="*/ 142 h 1079500"/>
                <a:gd name="T68" fmla="*/ 85 w 1383567"/>
                <a:gd name="T69" fmla="*/ 134 h 1079500"/>
                <a:gd name="T70" fmla="*/ 78 w 1383567"/>
                <a:gd name="T71" fmla="*/ 124 h 1079500"/>
                <a:gd name="T72" fmla="*/ 82 w 1383567"/>
                <a:gd name="T73" fmla="*/ 115 h 1079500"/>
                <a:gd name="T74" fmla="*/ 76 w 1383567"/>
                <a:gd name="T75" fmla="*/ 107 h 1079500"/>
                <a:gd name="T76" fmla="*/ 76 w 1383567"/>
                <a:gd name="T77" fmla="*/ 95 h 1079500"/>
                <a:gd name="T78" fmla="*/ 80 w 1383567"/>
                <a:gd name="T79" fmla="*/ 78 h 1079500"/>
                <a:gd name="T80" fmla="*/ 69 w 1383567"/>
                <a:gd name="T81" fmla="*/ 77 h 1079500"/>
                <a:gd name="T82" fmla="*/ 49 w 1383567"/>
                <a:gd name="T83" fmla="*/ 73 h 1079500"/>
                <a:gd name="T84" fmla="*/ 38 w 1383567"/>
                <a:gd name="T85" fmla="*/ 63 h 1079500"/>
                <a:gd name="T86" fmla="*/ 14 w 1383567"/>
                <a:gd name="T87" fmla="*/ 64 h 1079500"/>
                <a:gd name="T88" fmla="*/ 8 w 1383567"/>
                <a:gd name="T89" fmla="*/ 53 h 1079500"/>
                <a:gd name="T90" fmla="*/ 6 w 1383567"/>
                <a:gd name="T91" fmla="*/ 40 h 1079500"/>
                <a:gd name="T92" fmla="*/ 0 w 1383567"/>
                <a:gd name="T93" fmla="*/ 27 h 1079500"/>
                <a:gd name="T94" fmla="*/ 11 w 1383567"/>
                <a:gd name="T95" fmla="*/ 6 h 1079500"/>
                <a:gd name="T96" fmla="*/ 20 w 1383567"/>
                <a:gd name="T97" fmla="*/ 8 h 1079500"/>
                <a:gd name="T98" fmla="*/ 20 w 1383567"/>
                <a:gd name="T99" fmla="*/ 18 h 1079500"/>
                <a:gd name="T100" fmla="*/ 19 w 1383567"/>
                <a:gd name="T101" fmla="*/ 32 h 1079500"/>
                <a:gd name="T102" fmla="*/ 31 w 1383567"/>
                <a:gd name="T103" fmla="*/ 35 h 1079500"/>
                <a:gd name="T104" fmla="*/ 33 w 1383567"/>
                <a:gd name="T105" fmla="*/ 26 h 1079500"/>
                <a:gd name="T106" fmla="*/ 25 w 1383567"/>
                <a:gd name="T107" fmla="*/ 15 h 10795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83567"/>
                <a:gd name="T163" fmla="*/ 0 h 1079500"/>
                <a:gd name="T164" fmla="*/ 1383567 w 1383567"/>
                <a:gd name="T165" fmla="*/ 1079500 h 10795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83567" h="1079500">
                  <a:moveTo>
                    <a:pt x="207216" y="61574"/>
                  </a:moveTo>
                  <a:lnTo>
                    <a:pt x="249449" y="39095"/>
                  </a:lnTo>
                  <a:lnTo>
                    <a:pt x="296833" y="30298"/>
                  </a:lnTo>
                  <a:lnTo>
                    <a:pt x="343701" y="16615"/>
                  </a:lnTo>
                  <a:lnTo>
                    <a:pt x="395720" y="7819"/>
                  </a:lnTo>
                  <a:lnTo>
                    <a:pt x="457010" y="16615"/>
                  </a:lnTo>
                  <a:lnTo>
                    <a:pt x="513149" y="52778"/>
                  </a:lnTo>
                  <a:lnTo>
                    <a:pt x="508514" y="110442"/>
                  </a:lnTo>
                  <a:lnTo>
                    <a:pt x="569804" y="115329"/>
                  </a:lnTo>
                  <a:lnTo>
                    <a:pt x="626458" y="101646"/>
                  </a:lnTo>
                  <a:lnTo>
                    <a:pt x="664056" y="88452"/>
                  </a:lnTo>
                  <a:lnTo>
                    <a:pt x="725346" y="97248"/>
                  </a:lnTo>
                  <a:lnTo>
                    <a:pt x="753673" y="128524"/>
                  </a:lnTo>
                  <a:lnTo>
                    <a:pt x="795906" y="146605"/>
                  </a:lnTo>
                  <a:lnTo>
                    <a:pt x="838140" y="151003"/>
                  </a:lnTo>
                  <a:lnTo>
                    <a:pt x="875738" y="164197"/>
                  </a:lnTo>
                  <a:lnTo>
                    <a:pt x="927757" y="137320"/>
                  </a:lnTo>
                  <a:lnTo>
                    <a:pt x="965354" y="106044"/>
                  </a:lnTo>
                  <a:lnTo>
                    <a:pt x="1026644" y="92850"/>
                  </a:lnTo>
                  <a:lnTo>
                    <a:pt x="1083299" y="97248"/>
                  </a:lnTo>
                  <a:lnTo>
                    <a:pt x="1111626" y="132922"/>
                  </a:lnTo>
                  <a:lnTo>
                    <a:pt x="1134803" y="182279"/>
                  </a:lnTo>
                  <a:lnTo>
                    <a:pt x="1177551" y="177880"/>
                  </a:lnTo>
                  <a:lnTo>
                    <a:pt x="1224420" y="182279"/>
                  </a:lnTo>
                  <a:lnTo>
                    <a:pt x="1278499" y="203292"/>
                  </a:lnTo>
                  <a:lnTo>
                    <a:pt x="1290345" y="249228"/>
                  </a:lnTo>
                  <a:lnTo>
                    <a:pt x="1285709" y="280504"/>
                  </a:lnTo>
                  <a:lnTo>
                    <a:pt x="1309401" y="316178"/>
                  </a:lnTo>
                  <a:lnTo>
                    <a:pt x="1346999" y="298096"/>
                  </a:lnTo>
                  <a:lnTo>
                    <a:pt x="1383567" y="334748"/>
                  </a:lnTo>
                  <a:lnTo>
                    <a:pt x="1290345" y="378729"/>
                  </a:lnTo>
                  <a:lnTo>
                    <a:pt x="1299615" y="428086"/>
                  </a:lnTo>
                  <a:lnTo>
                    <a:pt x="1301676" y="454964"/>
                  </a:lnTo>
                  <a:lnTo>
                    <a:pt x="1276439" y="481352"/>
                  </a:lnTo>
                  <a:lnTo>
                    <a:pt x="1243476" y="490637"/>
                  </a:lnTo>
                  <a:lnTo>
                    <a:pt x="1243476" y="520936"/>
                  </a:lnTo>
                  <a:lnTo>
                    <a:pt x="1229055" y="561985"/>
                  </a:lnTo>
                  <a:lnTo>
                    <a:pt x="1233690" y="588863"/>
                  </a:lnTo>
                  <a:lnTo>
                    <a:pt x="1257382" y="606455"/>
                  </a:lnTo>
                  <a:lnTo>
                    <a:pt x="1281074" y="633333"/>
                  </a:lnTo>
                  <a:lnTo>
                    <a:pt x="1291890" y="648482"/>
                  </a:lnTo>
                  <a:lnTo>
                    <a:pt x="1242961" y="681712"/>
                  </a:lnTo>
                  <a:lnTo>
                    <a:pt x="1208968" y="715431"/>
                  </a:lnTo>
                  <a:lnTo>
                    <a:pt x="1140468" y="731558"/>
                  </a:lnTo>
                  <a:lnTo>
                    <a:pt x="1083814" y="734979"/>
                  </a:lnTo>
                  <a:lnTo>
                    <a:pt x="1057032" y="762345"/>
                  </a:lnTo>
                  <a:lnTo>
                    <a:pt x="1046731" y="789222"/>
                  </a:lnTo>
                  <a:lnTo>
                    <a:pt x="1001922" y="746218"/>
                  </a:lnTo>
                  <a:lnTo>
                    <a:pt x="955569" y="750617"/>
                  </a:lnTo>
                  <a:lnTo>
                    <a:pt x="929302" y="730581"/>
                  </a:lnTo>
                  <a:lnTo>
                    <a:pt x="868527" y="721784"/>
                  </a:lnTo>
                  <a:lnTo>
                    <a:pt x="882948" y="760879"/>
                  </a:lnTo>
                  <a:lnTo>
                    <a:pt x="907670" y="782870"/>
                  </a:lnTo>
                  <a:lnTo>
                    <a:pt x="910760" y="831249"/>
                  </a:lnTo>
                  <a:lnTo>
                    <a:pt x="935482" y="863502"/>
                  </a:lnTo>
                  <a:lnTo>
                    <a:pt x="937027" y="895755"/>
                  </a:lnTo>
                  <a:lnTo>
                    <a:pt x="984411" y="903086"/>
                  </a:lnTo>
                  <a:lnTo>
                    <a:pt x="970505" y="928497"/>
                  </a:lnTo>
                  <a:lnTo>
                    <a:pt x="939602" y="952931"/>
                  </a:lnTo>
                  <a:lnTo>
                    <a:pt x="911790" y="993003"/>
                  </a:lnTo>
                  <a:lnTo>
                    <a:pt x="848955" y="1012062"/>
                  </a:lnTo>
                  <a:lnTo>
                    <a:pt x="815993" y="1039917"/>
                  </a:lnTo>
                  <a:lnTo>
                    <a:pt x="788181" y="1079500"/>
                  </a:lnTo>
                  <a:lnTo>
                    <a:pt x="778910" y="1056043"/>
                  </a:lnTo>
                  <a:lnTo>
                    <a:pt x="755733" y="1039428"/>
                  </a:lnTo>
                  <a:lnTo>
                    <a:pt x="718650" y="1067283"/>
                  </a:lnTo>
                  <a:lnTo>
                    <a:pt x="615642" y="1026722"/>
                  </a:lnTo>
                  <a:lnTo>
                    <a:pt x="629841" y="981721"/>
                  </a:lnTo>
                  <a:lnTo>
                    <a:pt x="629841" y="949574"/>
                  </a:lnTo>
                  <a:lnTo>
                    <a:pt x="601266" y="924571"/>
                  </a:lnTo>
                  <a:lnTo>
                    <a:pt x="579834" y="891233"/>
                  </a:lnTo>
                  <a:lnTo>
                    <a:pt x="550069" y="855515"/>
                  </a:lnTo>
                  <a:lnTo>
                    <a:pt x="554868" y="826851"/>
                  </a:lnTo>
                  <a:lnTo>
                    <a:pt x="579834" y="799555"/>
                  </a:lnTo>
                  <a:lnTo>
                    <a:pt x="570309" y="770980"/>
                  </a:lnTo>
                  <a:lnTo>
                    <a:pt x="538162" y="741215"/>
                  </a:lnTo>
                  <a:lnTo>
                    <a:pt x="540961" y="705658"/>
                  </a:lnTo>
                  <a:lnTo>
                    <a:pt x="535781" y="655490"/>
                  </a:lnTo>
                  <a:lnTo>
                    <a:pt x="540961" y="597170"/>
                  </a:lnTo>
                  <a:lnTo>
                    <a:pt x="569119" y="541190"/>
                  </a:lnTo>
                  <a:lnTo>
                    <a:pt x="541734" y="529283"/>
                  </a:lnTo>
                  <a:lnTo>
                    <a:pt x="492033" y="531198"/>
                  </a:lnTo>
                  <a:lnTo>
                    <a:pt x="390525" y="542380"/>
                  </a:lnTo>
                  <a:lnTo>
                    <a:pt x="350044" y="504280"/>
                  </a:lnTo>
                  <a:lnTo>
                    <a:pt x="314325" y="456655"/>
                  </a:lnTo>
                  <a:lnTo>
                    <a:pt x="265509" y="437605"/>
                  </a:lnTo>
                  <a:lnTo>
                    <a:pt x="205978" y="445940"/>
                  </a:lnTo>
                  <a:lnTo>
                    <a:pt x="102394" y="443558"/>
                  </a:lnTo>
                  <a:lnTo>
                    <a:pt x="76200" y="412602"/>
                  </a:lnTo>
                  <a:lnTo>
                    <a:pt x="58341" y="368549"/>
                  </a:lnTo>
                  <a:lnTo>
                    <a:pt x="78581" y="334021"/>
                  </a:lnTo>
                  <a:lnTo>
                    <a:pt x="45244" y="275680"/>
                  </a:lnTo>
                  <a:lnTo>
                    <a:pt x="0" y="237580"/>
                  </a:lnTo>
                  <a:lnTo>
                    <a:pt x="1191" y="186383"/>
                  </a:lnTo>
                  <a:lnTo>
                    <a:pt x="28575" y="122090"/>
                  </a:lnTo>
                  <a:lnTo>
                    <a:pt x="80962" y="38746"/>
                  </a:lnTo>
                  <a:lnTo>
                    <a:pt x="132020" y="0"/>
                  </a:lnTo>
                  <a:lnTo>
                    <a:pt x="141290" y="57176"/>
                  </a:lnTo>
                  <a:lnTo>
                    <a:pt x="164982" y="84053"/>
                  </a:lnTo>
                  <a:lnTo>
                    <a:pt x="141290" y="124125"/>
                  </a:lnTo>
                  <a:lnTo>
                    <a:pt x="109873" y="170550"/>
                  </a:lnTo>
                  <a:lnTo>
                    <a:pt x="136655" y="222351"/>
                  </a:lnTo>
                  <a:lnTo>
                    <a:pt x="169618" y="240432"/>
                  </a:lnTo>
                  <a:lnTo>
                    <a:pt x="216486" y="240432"/>
                  </a:lnTo>
                  <a:lnTo>
                    <a:pt x="226272" y="204269"/>
                  </a:lnTo>
                  <a:lnTo>
                    <a:pt x="230907" y="177880"/>
                  </a:lnTo>
                  <a:lnTo>
                    <a:pt x="211851" y="146605"/>
                  </a:lnTo>
                  <a:lnTo>
                    <a:pt x="179918" y="105067"/>
                  </a:lnTo>
                  <a:lnTo>
                    <a:pt x="207216" y="6157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08" name="Freeform 213">
              <a:extLst>
                <a:ext uri="{FF2B5EF4-FFF2-40B4-BE49-F238E27FC236}">
                  <a16:creationId xmlns:a16="http://schemas.microsoft.com/office/drawing/2014/main" id="{B1086201-7FC5-3FCB-CF58-8F4241F469A0}"/>
                </a:ext>
              </a:extLst>
            </p:cNvPr>
            <p:cNvSpPr>
              <a:spLocks/>
            </p:cNvSpPr>
            <p:nvPr/>
          </p:nvSpPr>
          <p:spPr bwMode="auto">
            <a:xfrm>
              <a:off x="2599676" y="3998054"/>
              <a:ext cx="983802" cy="1053276"/>
            </a:xfrm>
            <a:custGeom>
              <a:avLst/>
              <a:gdLst>
                <a:gd name="T0" fmla="*/ 445 w 4081463"/>
                <a:gd name="T1" fmla="*/ 104 h 4249737"/>
                <a:gd name="T2" fmla="*/ 468 w 4081463"/>
                <a:gd name="T3" fmla="*/ 108 h 4249737"/>
                <a:gd name="T4" fmla="*/ 517 w 4081463"/>
                <a:gd name="T5" fmla="*/ 116 h 4249737"/>
                <a:gd name="T6" fmla="*/ 583 w 4081463"/>
                <a:gd name="T7" fmla="*/ 146 h 4249737"/>
                <a:gd name="T8" fmla="*/ 588 w 4081463"/>
                <a:gd name="T9" fmla="*/ 199 h 4249737"/>
                <a:gd name="T10" fmla="*/ 564 w 4081463"/>
                <a:gd name="T11" fmla="*/ 225 h 4249737"/>
                <a:gd name="T12" fmla="*/ 536 w 4081463"/>
                <a:gd name="T13" fmla="*/ 255 h 4249737"/>
                <a:gd name="T14" fmla="*/ 535 w 4081463"/>
                <a:gd name="T15" fmla="*/ 301 h 4249737"/>
                <a:gd name="T16" fmla="*/ 525 w 4081463"/>
                <a:gd name="T17" fmla="*/ 338 h 4249737"/>
                <a:gd name="T18" fmla="*/ 519 w 4081463"/>
                <a:gd name="T19" fmla="*/ 367 h 4249737"/>
                <a:gd name="T20" fmla="*/ 510 w 4081463"/>
                <a:gd name="T21" fmla="*/ 400 h 4249737"/>
                <a:gd name="T22" fmla="*/ 491 w 4081463"/>
                <a:gd name="T23" fmla="*/ 423 h 4249737"/>
                <a:gd name="T24" fmla="*/ 451 w 4081463"/>
                <a:gd name="T25" fmla="*/ 432 h 4249737"/>
                <a:gd name="T26" fmla="*/ 413 w 4081463"/>
                <a:gd name="T27" fmla="*/ 454 h 4249737"/>
                <a:gd name="T28" fmla="*/ 388 w 4081463"/>
                <a:gd name="T29" fmla="*/ 490 h 4249737"/>
                <a:gd name="T30" fmla="*/ 385 w 4081463"/>
                <a:gd name="T31" fmla="*/ 521 h 4249737"/>
                <a:gd name="T32" fmla="*/ 366 w 4081463"/>
                <a:gd name="T33" fmla="*/ 547 h 4249737"/>
                <a:gd name="T34" fmla="*/ 352 w 4081463"/>
                <a:gd name="T35" fmla="*/ 572 h 4249737"/>
                <a:gd name="T36" fmla="*/ 316 w 4081463"/>
                <a:gd name="T37" fmla="*/ 610 h 4249737"/>
                <a:gd name="T38" fmla="*/ 276 w 4081463"/>
                <a:gd name="T39" fmla="*/ 571 h 4249737"/>
                <a:gd name="T40" fmla="*/ 260 w 4081463"/>
                <a:gd name="T41" fmla="*/ 540 h 4249737"/>
                <a:gd name="T42" fmla="*/ 301 w 4081463"/>
                <a:gd name="T43" fmla="*/ 501 h 4249737"/>
                <a:gd name="T44" fmla="*/ 296 w 4081463"/>
                <a:gd name="T45" fmla="*/ 466 h 4249737"/>
                <a:gd name="T46" fmla="*/ 278 w 4081463"/>
                <a:gd name="T47" fmla="*/ 444 h 4249737"/>
                <a:gd name="T48" fmla="*/ 240 w 4081463"/>
                <a:gd name="T49" fmla="*/ 395 h 4249737"/>
                <a:gd name="T50" fmla="*/ 252 w 4081463"/>
                <a:gd name="T51" fmla="*/ 354 h 4249737"/>
                <a:gd name="T52" fmla="*/ 242 w 4081463"/>
                <a:gd name="T53" fmla="*/ 317 h 4249737"/>
                <a:gd name="T54" fmla="*/ 215 w 4081463"/>
                <a:gd name="T55" fmla="*/ 303 h 4249737"/>
                <a:gd name="T56" fmla="*/ 193 w 4081463"/>
                <a:gd name="T57" fmla="*/ 268 h 4249737"/>
                <a:gd name="T58" fmla="*/ 160 w 4081463"/>
                <a:gd name="T59" fmla="*/ 252 h 4249737"/>
                <a:gd name="T60" fmla="*/ 132 w 4081463"/>
                <a:gd name="T61" fmla="*/ 230 h 4249737"/>
                <a:gd name="T62" fmla="*/ 108 w 4081463"/>
                <a:gd name="T63" fmla="*/ 216 h 4249737"/>
                <a:gd name="T64" fmla="*/ 75 w 4081463"/>
                <a:gd name="T65" fmla="*/ 229 h 4249737"/>
                <a:gd name="T66" fmla="*/ 49 w 4081463"/>
                <a:gd name="T67" fmla="*/ 212 h 4249737"/>
                <a:gd name="T68" fmla="*/ 16 w 4081463"/>
                <a:gd name="T69" fmla="*/ 200 h 4249737"/>
                <a:gd name="T70" fmla="*/ 11 w 4081463"/>
                <a:gd name="T71" fmla="*/ 166 h 4249737"/>
                <a:gd name="T72" fmla="*/ 30 w 4081463"/>
                <a:gd name="T73" fmla="*/ 137 h 4249737"/>
                <a:gd name="T74" fmla="*/ 62 w 4081463"/>
                <a:gd name="T75" fmla="*/ 122 h 4249737"/>
                <a:gd name="T76" fmla="*/ 64 w 4081463"/>
                <a:gd name="T77" fmla="*/ 80 h 4249737"/>
                <a:gd name="T78" fmla="*/ 73 w 4081463"/>
                <a:gd name="T79" fmla="*/ 59 h 4249737"/>
                <a:gd name="T80" fmla="*/ 69 w 4081463"/>
                <a:gd name="T81" fmla="*/ 50 h 4249737"/>
                <a:gd name="T82" fmla="*/ 105 w 4081463"/>
                <a:gd name="T83" fmla="*/ 51 h 4249737"/>
                <a:gd name="T84" fmla="*/ 128 w 4081463"/>
                <a:gd name="T85" fmla="*/ 64 h 4249737"/>
                <a:gd name="T86" fmla="*/ 157 w 4081463"/>
                <a:gd name="T87" fmla="*/ 39 h 4249737"/>
                <a:gd name="T88" fmla="*/ 140 w 4081463"/>
                <a:gd name="T89" fmla="*/ 13 h 4249737"/>
                <a:gd name="T90" fmla="*/ 171 w 4081463"/>
                <a:gd name="T91" fmla="*/ 14 h 4249737"/>
                <a:gd name="T92" fmla="*/ 210 w 4081463"/>
                <a:gd name="T93" fmla="*/ 8 h 4249737"/>
                <a:gd name="T94" fmla="*/ 214 w 4081463"/>
                <a:gd name="T95" fmla="*/ 43 h 4249737"/>
                <a:gd name="T96" fmla="*/ 244 w 4081463"/>
                <a:gd name="T97" fmla="*/ 50 h 4249737"/>
                <a:gd name="T98" fmla="*/ 271 w 4081463"/>
                <a:gd name="T99" fmla="*/ 43 h 4249737"/>
                <a:gd name="T100" fmla="*/ 296 w 4081463"/>
                <a:gd name="T101" fmla="*/ 42 h 4249737"/>
                <a:gd name="T102" fmla="*/ 327 w 4081463"/>
                <a:gd name="T103" fmla="*/ 30 h 4249737"/>
                <a:gd name="T104" fmla="*/ 346 w 4081463"/>
                <a:gd name="T105" fmla="*/ 29 h 4249737"/>
                <a:gd name="T106" fmla="*/ 354 w 4081463"/>
                <a:gd name="T107" fmla="*/ 64 h 4249737"/>
                <a:gd name="T108" fmla="*/ 355 w 4081463"/>
                <a:gd name="T109" fmla="*/ 82 h 4249737"/>
                <a:gd name="T110" fmla="*/ 386 w 4081463"/>
                <a:gd name="T111" fmla="*/ 82 h 4249737"/>
                <a:gd name="T112" fmla="*/ 357 w 4081463"/>
                <a:gd name="T113" fmla="*/ 99 h 4249737"/>
                <a:gd name="T114" fmla="*/ 386 w 4081463"/>
                <a:gd name="T115" fmla="*/ 95 h 42497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081463"/>
                <a:gd name="T175" fmla="*/ 0 h 4249737"/>
                <a:gd name="T176" fmla="*/ 4081463 w 4081463"/>
                <a:gd name="T177" fmla="*/ 4249737 h 42497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081463" h="4249737">
                  <a:moveTo>
                    <a:pt x="2779713" y="577850"/>
                  </a:moveTo>
                  <a:lnTo>
                    <a:pt x="2844800" y="598487"/>
                  </a:lnTo>
                  <a:lnTo>
                    <a:pt x="2906713" y="611187"/>
                  </a:lnTo>
                  <a:lnTo>
                    <a:pt x="2952750" y="638175"/>
                  </a:lnTo>
                  <a:lnTo>
                    <a:pt x="3022600" y="681037"/>
                  </a:lnTo>
                  <a:lnTo>
                    <a:pt x="3068638" y="719137"/>
                  </a:lnTo>
                  <a:lnTo>
                    <a:pt x="3049588" y="766762"/>
                  </a:lnTo>
                  <a:lnTo>
                    <a:pt x="3046413" y="801687"/>
                  </a:lnTo>
                  <a:lnTo>
                    <a:pt x="3076575" y="817562"/>
                  </a:lnTo>
                  <a:lnTo>
                    <a:pt x="3116263" y="779462"/>
                  </a:lnTo>
                  <a:lnTo>
                    <a:pt x="3170238" y="742950"/>
                  </a:lnTo>
                  <a:lnTo>
                    <a:pt x="3221038" y="747712"/>
                  </a:lnTo>
                  <a:lnTo>
                    <a:pt x="3270250" y="769937"/>
                  </a:lnTo>
                  <a:lnTo>
                    <a:pt x="3309938" y="790575"/>
                  </a:lnTo>
                  <a:lnTo>
                    <a:pt x="3338513" y="766762"/>
                  </a:lnTo>
                  <a:lnTo>
                    <a:pt x="3376613" y="798512"/>
                  </a:lnTo>
                  <a:lnTo>
                    <a:pt x="3513138" y="792162"/>
                  </a:lnTo>
                  <a:lnTo>
                    <a:pt x="3559175" y="798512"/>
                  </a:lnTo>
                  <a:lnTo>
                    <a:pt x="3627438" y="830262"/>
                  </a:lnTo>
                  <a:lnTo>
                    <a:pt x="3690938" y="876300"/>
                  </a:lnTo>
                  <a:lnTo>
                    <a:pt x="3851275" y="996950"/>
                  </a:lnTo>
                  <a:lnTo>
                    <a:pt x="3908425" y="1008062"/>
                  </a:lnTo>
                  <a:lnTo>
                    <a:pt x="3973513" y="993775"/>
                  </a:lnTo>
                  <a:lnTo>
                    <a:pt x="4017963" y="1009650"/>
                  </a:lnTo>
                  <a:lnTo>
                    <a:pt x="4037013" y="1057275"/>
                  </a:lnTo>
                  <a:lnTo>
                    <a:pt x="4073525" y="1114425"/>
                  </a:lnTo>
                  <a:lnTo>
                    <a:pt x="4081463" y="1184275"/>
                  </a:lnTo>
                  <a:lnTo>
                    <a:pt x="4075113" y="1306512"/>
                  </a:lnTo>
                  <a:lnTo>
                    <a:pt x="4068763" y="1346200"/>
                  </a:lnTo>
                  <a:lnTo>
                    <a:pt x="4052888" y="1373187"/>
                  </a:lnTo>
                  <a:lnTo>
                    <a:pt x="4037013" y="1416050"/>
                  </a:lnTo>
                  <a:lnTo>
                    <a:pt x="3998913" y="1447800"/>
                  </a:lnTo>
                  <a:lnTo>
                    <a:pt x="3970338" y="1482725"/>
                  </a:lnTo>
                  <a:lnTo>
                    <a:pt x="3941763" y="1528762"/>
                  </a:lnTo>
                  <a:lnTo>
                    <a:pt x="3900488" y="1533525"/>
                  </a:lnTo>
                  <a:lnTo>
                    <a:pt x="3884613" y="1552575"/>
                  </a:lnTo>
                  <a:lnTo>
                    <a:pt x="3844925" y="1608137"/>
                  </a:lnTo>
                  <a:lnTo>
                    <a:pt x="3821113" y="1662112"/>
                  </a:lnTo>
                  <a:lnTo>
                    <a:pt x="3776663" y="1709737"/>
                  </a:lnTo>
                  <a:lnTo>
                    <a:pt x="3763963" y="1752600"/>
                  </a:lnTo>
                  <a:lnTo>
                    <a:pt x="3722688" y="1741487"/>
                  </a:lnTo>
                  <a:lnTo>
                    <a:pt x="3690938" y="1760537"/>
                  </a:lnTo>
                  <a:lnTo>
                    <a:pt x="3681413" y="1817687"/>
                  </a:lnTo>
                  <a:lnTo>
                    <a:pt x="3668713" y="1862137"/>
                  </a:lnTo>
                  <a:lnTo>
                    <a:pt x="3663950" y="1901825"/>
                  </a:lnTo>
                  <a:lnTo>
                    <a:pt x="3663950" y="1968500"/>
                  </a:lnTo>
                  <a:lnTo>
                    <a:pt x="3673475" y="2022475"/>
                  </a:lnTo>
                  <a:lnTo>
                    <a:pt x="3684588" y="2076450"/>
                  </a:lnTo>
                  <a:lnTo>
                    <a:pt x="3676650" y="2127250"/>
                  </a:lnTo>
                  <a:lnTo>
                    <a:pt x="3663950" y="2174875"/>
                  </a:lnTo>
                  <a:lnTo>
                    <a:pt x="3656013" y="2222500"/>
                  </a:lnTo>
                  <a:lnTo>
                    <a:pt x="3668713" y="2268537"/>
                  </a:lnTo>
                  <a:lnTo>
                    <a:pt x="3635375" y="2287587"/>
                  </a:lnTo>
                  <a:lnTo>
                    <a:pt x="3616325" y="2327275"/>
                  </a:lnTo>
                  <a:lnTo>
                    <a:pt x="3619500" y="2370137"/>
                  </a:lnTo>
                  <a:lnTo>
                    <a:pt x="3627438" y="2405062"/>
                  </a:lnTo>
                  <a:lnTo>
                    <a:pt x="3632200" y="2433637"/>
                  </a:lnTo>
                  <a:lnTo>
                    <a:pt x="3603625" y="2463800"/>
                  </a:lnTo>
                  <a:lnTo>
                    <a:pt x="3587750" y="2490787"/>
                  </a:lnTo>
                  <a:lnTo>
                    <a:pt x="3573463" y="2532062"/>
                  </a:lnTo>
                  <a:lnTo>
                    <a:pt x="3584575" y="2571750"/>
                  </a:lnTo>
                  <a:lnTo>
                    <a:pt x="3571875" y="2611437"/>
                  </a:lnTo>
                  <a:lnTo>
                    <a:pt x="3562350" y="2647950"/>
                  </a:lnTo>
                  <a:lnTo>
                    <a:pt x="3556000" y="2681287"/>
                  </a:lnTo>
                  <a:lnTo>
                    <a:pt x="3536950" y="2714625"/>
                  </a:lnTo>
                  <a:lnTo>
                    <a:pt x="3513138" y="2759075"/>
                  </a:lnTo>
                  <a:lnTo>
                    <a:pt x="3455988" y="2768600"/>
                  </a:lnTo>
                  <a:lnTo>
                    <a:pt x="3462338" y="2800350"/>
                  </a:lnTo>
                  <a:lnTo>
                    <a:pt x="3479800" y="2835275"/>
                  </a:lnTo>
                  <a:lnTo>
                    <a:pt x="3462338" y="2871787"/>
                  </a:lnTo>
                  <a:lnTo>
                    <a:pt x="3419475" y="2901950"/>
                  </a:lnTo>
                  <a:lnTo>
                    <a:pt x="3381375" y="2916237"/>
                  </a:lnTo>
                  <a:lnTo>
                    <a:pt x="3371850" y="2944812"/>
                  </a:lnTo>
                  <a:lnTo>
                    <a:pt x="3348038" y="2976562"/>
                  </a:lnTo>
                  <a:lnTo>
                    <a:pt x="3314700" y="2995612"/>
                  </a:lnTo>
                  <a:lnTo>
                    <a:pt x="3246438" y="2990850"/>
                  </a:lnTo>
                  <a:lnTo>
                    <a:pt x="3190875" y="2997200"/>
                  </a:lnTo>
                  <a:lnTo>
                    <a:pt x="3109913" y="2982912"/>
                  </a:lnTo>
                  <a:lnTo>
                    <a:pt x="3060700" y="3019425"/>
                  </a:lnTo>
                  <a:lnTo>
                    <a:pt x="3024188" y="3040062"/>
                  </a:lnTo>
                  <a:lnTo>
                    <a:pt x="2979738" y="3063875"/>
                  </a:lnTo>
                  <a:lnTo>
                    <a:pt x="2936875" y="3082925"/>
                  </a:lnTo>
                  <a:lnTo>
                    <a:pt x="2889250" y="3105150"/>
                  </a:lnTo>
                  <a:lnTo>
                    <a:pt x="2847975" y="3130550"/>
                  </a:lnTo>
                  <a:lnTo>
                    <a:pt x="2813050" y="3163887"/>
                  </a:lnTo>
                  <a:lnTo>
                    <a:pt x="2779713" y="3209925"/>
                  </a:lnTo>
                  <a:lnTo>
                    <a:pt x="2767013" y="3243262"/>
                  </a:lnTo>
                  <a:lnTo>
                    <a:pt x="2724150" y="3262312"/>
                  </a:lnTo>
                  <a:lnTo>
                    <a:pt x="2684463" y="3306762"/>
                  </a:lnTo>
                  <a:lnTo>
                    <a:pt x="2670175" y="3378200"/>
                  </a:lnTo>
                  <a:lnTo>
                    <a:pt x="2681288" y="3424237"/>
                  </a:lnTo>
                  <a:lnTo>
                    <a:pt x="2720975" y="3446462"/>
                  </a:lnTo>
                  <a:lnTo>
                    <a:pt x="2703513" y="3481387"/>
                  </a:lnTo>
                  <a:lnTo>
                    <a:pt x="2687638" y="3516312"/>
                  </a:lnTo>
                  <a:lnTo>
                    <a:pt x="2667000" y="3559175"/>
                  </a:lnTo>
                  <a:lnTo>
                    <a:pt x="2651125" y="3594100"/>
                  </a:lnTo>
                  <a:lnTo>
                    <a:pt x="2638425" y="3633787"/>
                  </a:lnTo>
                  <a:lnTo>
                    <a:pt x="2614613" y="3603625"/>
                  </a:lnTo>
                  <a:lnTo>
                    <a:pt x="2576513" y="3606800"/>
                  </a:lnTo>
                  <a:lnTo>
                    <a:pt x="2593975" y="3683000"/>
                  </a:lnTo>
                  <a:lnTo>
                    <a:pt x="2557463" y="3719512"/>
                  </a:lnTo>
                  <a:lnTo>
                    <a:pt x="2519363" y="3773487"/>
                  </a:lnTo>
                  <a:lnTo>
                    <a:pt x="2473325" y="3770312"/>
                  </a:lnTo>
                  <a:lnTo>
                    <a:pt x="2470150" y="3810000"/>
                  </a:lnTo>
                  <a:lnTo>
                    <a:pt x="2457450" y="3846512"/>
                  </a:lnTo>
                  <a:lnTo>
                    <a:pt x="2460625" y="3878262"/>
                  </a:lnTo>
                  <a:lnTo>
                    <a:pt x="2443163" y="3916362"/>
                  </a:lnTo>
                  <a:lnTo>
                    <a:pt x="2425700" y="3946525"/>
                  </a:lnTo>
                  <a:lnTo>
                    <a:pt x="2400300" y="3975100"/>
                  </a:lnTo>
                  <a:lnTo>
                    <a:pt x="2366963" y="3994150"/>
                  </a:lnTo>
                  <a:lnTo>
                    <a:pt x="2308225" y="4081462"/>
                  </a:lnTo>
                  <a:lnTo>
                    <a:pt x="2257425" y="4216400"/>
                  </a:lnTo>
                  <a:lnTo>
                    <a:pt x="2209800" y="4249737"/>
                  </a:lnTo>
                  <a:lnTo>
                    <a:pt x="2179638" y="4205287"/>
                  </a:lnTo>
                  <a:lnTo>
                    <a:pt x="2209800" y="4116387"/>
                  </a:lnTo>
                  <a:lnTo>
                    <a:pt x="2151063" y="4064000"/>
                  </a:lnTo>
                  <a:lnTo>
                    <a:pt x="2105025" y="4029075"/>
                  </a:lnTo>
                  <a:lnTo>
                    <a:pt x="2032000" y="4005262"/>
                  </a:lnTo>
                  <a:lnTo>
                    <a:pt x="1960563" y="3938587"/>
                  </a:lnTo>
                  <a:lnTo>
                    <a:pt x="1900238" y="3935412"/>
                  </a:lnTo>
                  <a:lnTo>
                    <a:pt x="1884363" y="3910012"/>
                  </a:lnTo>
                  <a:lnTo>
                    <a:pt x="1828800" y="3876675"/>
                  </a:lnTo>
                  <a:lnTo>
                    <a:pt x="1808163" y="3833812"/>
                  </a:lnTo>
                  <a:lnTo>
                    <a:pt x="1743075" y="3805237"/>
                  </a:lnTo>
                  <a:lnTo>
                    <a:pt x="1755775" y="3762375"/>
                  </a:lnTo>
                  <a:lnTo>
                    <a:pt x="1789113" y="3725862"/>
                  </a:lnTo>
                  <a:lnTo>
                    <a:pt x="1814513" y="3683000"/>
                  </a:lnTo>
                  <a:lnTo>
                    <a:pt x="1884363" y="3625850"/>
                  </a:lnTo>
                  <a:lnTo>
                    <a:pt x="1890652" y="3581649"/>
                  </a:lnTo>
                  <a:lnTo>
                    <a:pt x="1971614" y="3517355"/>
                  </a:lnTo>
                  <a:lnTo>
                    <a:pt x="2036763" y="3463925"/>
                  </a:lnTo>
                  <a:lnTo>
                    <a:pt x="2074008" y="3455443"/>
                  </a:lnTo>
                  <a:lnTo>
                    <a:pt x="2105025" y="3425825"/>
                  </a:lnTo>
                  <a:lnTo>
                    <a:pt x="2083533" y="3338762"/>
                  </a:lnTo>
                  <a:lnTo>
                    <a:pt x="2065674" y="3289946"/>
                  </a:lnTo>
                  <a:lnTo>
                    <a:pt x="2034717" y="3278040"/>
                  </a:lnTo>
                  <a:lnTo>
                    <a:pt x="2007333" y="3279230"/>
                  </a:lnTo>
                  <a:lnTo>
                    <a:pt x="2036763" y="3214687"/>
                  </a:lnTo>
                  <a:lnTo>
                    <a:pt x="2028825" y="3167062"/>
                  </a:lnTo>
                  <a:lnTo>
                    <a:pt x="2038350" y="3121025"/>
                  </a:lnTo>
                  <a:lnTo>
                    <a:pt x="2027238" y="3081337"/>
                  </a:lnTo>
                  <a:lnTo>
                    <a:pt x="1981200" y="3068637"/>
                  </a:lnTo>
                  <a:lnTo>
                    <a:pt x="1936750" y="3082925"/>
                  </a:lnTo>
                  <a:lnTo>
                    <a:pt x="1912938" y="3059112"/>
                  </a:lnTo>
                  <a:lnTo>
                    <a:pt x="1893033" y="2966096"/>
                  </a:lnTo>
                  <a:lnTo>
                    <a:pt x="1843088" y="2897187"/>
                  </a:lnTo>
                  <a:lnTo>
                    <a:pt x="1715630" y="2876799"/>
                  </a:lnTo>
                  <a:lnTo>
                    <a:pt x="1674813" y="2887662"/>
                  </a:lnTo>
                  <a:lnTo>
                    <a:pt x="1662113" y="2792412"/>
                  </a:lnTo>
                  <a:lnTo>
                    <a:pt x="1655763" y="2724150"/>
                  </a:lnTo>
                  <a:lnTo>
                    <a:pt x="1657350" y="2643187"/>
                  </a:lnTo>
                  <a:lnTo>
                    <a:pt x="1677530" y="2614862"/>
                  </a:lnTo>
                  <a:lnTo>
                    <a:pt x="1685925" y="2578100"/>
                  </a:lnTo>
                  <a:lnTo>
                    <a:pt x="1711325" y="2511425"/>
                  </a:lnTo>
                  <a:lnTo>
                    <a:pt x="1714500" y="2484437"/>
                  </a:lnTo>
                  <a:lnTo>
                    <a:pt x="1735138" y="2439987"/>
                  </a:lnTo>
                  <a:lnTo>
                    <a:pt x="1752600" y="2382837"/>
                  </a:lnTo>
                  <a:lnTo>
                    <a:pt x="1760538" y="2335212"/>
                  </a:lnTo>
                  <a:lnTo>
                    <a:pt x="1762064" y="2302918"/>
                  </a:lnTo>
                  <a:lnTo>
                    <a:pt x="1745395" y="2262437"/>
                  </a:lnTo>
                  <a:lnTo>
                    <a:pt x="1677530" y="2216002"/>
                  </a:lnTo>
                  <a:lnTo>
                    <a:pt x="1666875" y="2185987"/>
                  </a:lnTo>
                  <a:lnTo>
                    <a:pt x="1671577" y="2133849"/>
                  </a:lnTo>
                  <a:lnTo>
                    <a:pt x="1643063" y="2127250"/>
                  </a:lnTo>
                  <a:lnTo>
                    <a:pt x="1594186" y="2130277"/>
                  </a:lnTo>
                  <a:lnTo>
                    <a:pt x="1513224" y="2130277"/>
                  </a:lnTo>
                  <a:lnTo>
                    <a:pt x="1485839" y="2117180"/>
                  </a:lnTo>
                  <a:lnTo>
                    <a:pt x="1479886" y="2088605"/>
                  </a:lnTo>
                  <a:lnTo>
                    <a:pt x="1463217" y="2049315"/>
                  </a:lnTo>
                  <a:lnTo>
                    <a:pt x="1466789" y="1995737"/>
                  </a:lnTo>
                  <a:lnTo>
                    <a:pt x="1451311" y="1945730"/>
                  </a:lnTo>
                  <a:lnTo>
                    <a:pt x="1422736" y="1876674"/>
                  </a:lnTo>
                  <a:lnTo>
                    <a:pt x="1381064" y="1844527"/>
                  </a:lnTo>
                  <a:lnTo>
                    <a:pt x="1332249" y="1846908"/>
                  </a:lnTo>
                  <a:lnTo>
                    <a:pt x="1287005" y="1831430"/>
                  </a:lnTo>
                  <a:lnTo>
                    <a:pt x="1265238" y="1803400"/>
                  </a:lnTo>
                  <a:lnTo>
                    <a:pt x="1216758" y="1798093"/>
                  </a:lnTo>
                  <a:lnTo>
                    <a:pt x="1179849" y="1774280"/>
                  </a:lnTo>
                  <a:lnTo>
                    <a:pt x="1145320" y="1751658"/>
                  </a:lnTo>
                  <a:lnTo>
                    <a:pt x="1100077" y="1737371"/>
                  </a:lnTo>
                  <a:lnTo>
                    <a:pt x="1058405" y="1744515"/>
                  </a:lnTo>
                  <a:lnTo>
                    <a:pt x="1009589" y="1730227"/>
                  </a:lnTo>
                  <a:lnTo>
                    <a:pt x="976252" y="1706415"/>
                  </a:lnTo>
                  <a:lnTo>
                    <a:pt x="941724" y="1670696"/>
                  </a:lnTo>
                  <a:lnTo>
                    <a:pt x="910767" y="1621880"/>
                  </a:lnTo>
                  <a:lnTo>
                    <a:pt x="908050" y="1589087"/>
                  </a:lnTo>
                  <a:lnTo>
                    <a:pt x="903288" y="1538287"/>
                  </a:lnTo>
                  <a:lnTo>
                    <a:pt x="914339" y="1467099"/>
                  </a:lnTo>
                  <a:lnTo>
                    <a:pt x="883383" y="1465908"/>
                  </a:lnTo>
                  <a:lnTo>
                    <a:pt x="829805" y="1458765"/>
                  </a:lnTo>
                  <a:lnTo>
                    <a:pt x="786942" y="1474243"/>
                  </a:lnTo>
                  <a:lnTo>
                    <a:pt x="744538" y="1490662"/>
                  </a:lnTo>
                  <a:lnTo>
                    <a:pt x="698836" y="1514724"/>
                  </a:lnTo>
                  <a:lnTo>
                    <a:pt x="657164" y="1556396"/>
                  </a:lnTo>
                  <a:lnTo>
                    <a:pt x="619064" y="1580208"/>
                  </a:lnTo>
                  <a:lnTo>
                    <a:pt x="578583" y="1594496"/>
                  </a:lnTo>
                  <a:lnTo>
                    <a:pt x="554770" y="1590924"/>
                  </a:lnTo>
                  <a:lnTo>
                    <a:pt x="514289" y="1582590"/>
                  </a:lnTo>
                  <a:lnTo>
                    <a:pt x="480952" y="1581399"/>
                  </a:lnTo>
                  <a:lnTo>
                    <a:pt x="425450" y="1579562"/>
                  </a:lnTo>
                  <a:lnTo>
                    <a:pt x="379413" y="1600200"/>
                  </a:lnTo>
                  <a:lnTo>
                    <a:pt x="361950" y="1573212"/>
                  </a:lnTo>
                  <a:lnTo>
                    <a:pt x="361950" y="1509712"/>
                  </a:lnTo>
                  <a:lnTo>
                    <a:pt x="338138" y="1458912"/>
                  </a:lnTo>
                  <a:lnTo>
                    <a:pt x="304800" y="1487487"/>
                  </a:lnTo>
                  <a:lnTo>
                    <a:pt x="255588" y="1493837"/>
                  </a:lnTo>
                  <a:lnTo>
                    <a:pt x="207108" y="1479005"/>
                  </a:lnTo>
                  <a:lnTo>
                    <a:pt x="180975" y="1450975"/>
                  </a:lnTo>
                  <a:lnTo>
                    <a:pt x="123825" y="1427162"/>
                  </a:lnTo>
                  <a:lnTo>
                    <a:pt x="111125" y="1381125"/>
                  </a:lnTo>
                  <a:lnTo>
                    <a:pt x="65088" y="1349375"/>
                  </a:lnTo>
                  <a:lnTo>
                    <a:pt x="33338" y="1311275"/>
                  </a:lnTo>
                  <a:lnTo>
                    <a:pt x="7938" y="1271587"/>
                  </a:lnTo>
                  <a:lnTo>
                    <a:pt x="0" y="1220787"/>
                  </a:lnTo>
                  <a:lnTo>
                    <a:pt x="36513" y="1184275"/>
                  </a:lnTo>
                  <a:lnTo>
                    <a:pt x="73025" y="1143000"/>
                  </a:lnTo>
                  <a:lnTo>
                    <a:pt x="82550" y="1092200"/>
                  </a:lnTo>
                  <a:lnTo>
                    <a:pt x="92075" y="1058862"/>
                  </a:lnTo>
                  <a:lnTo>
                    <a:pt x="103188" y="1028700"/>
                  </a:lnTo>
                  <a:lnTo>
                    <a:pt x="131763" y="1001712"/>
                  </a:lnTo>
                  <a:lnTo>
                    <a:pt x="173038" y="969962"/>
                  </a:lnTo>
                  <a:lnTo>
                    <a:pt x="209550" y="942975"/>
                  </a:lnTo>
                  <a:lnTo>
                    <a:pt x="255588" y="942975"/>
                  </a:lnTo>
                  <a:lnTo>
                    <a:pt x="304800" y="930275"/>
                  </a:lnTo>
                  <a:lnTo>
                    <a:pt x="346075" y="906462"/>
                  </a:lnTo>
                  <a:lnTo>
                    <a:pt x="396417" y="919412"/>
                  </a:lnTo>
                  <a:lnTo>
                    <a:pt x="432136" y="888455"/>
                  </a:lnTo>
                  <a:lnTo>
                    <a:pt x="425450" y="844550"/>
                  </a:lnTo>
                  <a:lnTo>
                    <a:pt x="436563" y="790575"/>
                  </a:lnTo>
                  <a:lnTo>
                    <a:pt x="446088" y="742950"/>
                  </a:lnTo>
                  <a:lnTo>
                    <a:pt x="446088" y="679450"/>
                  </a:lnTo>
                  <a:lnTo>
                    <a:pt x="467855" y="632471"/>
                  </a:lnTo>
                  <a:lnTo>
                    <a:pt x="457200" y="593725"/>
                  </a:lnTo>
                  <a:lnTo>
                    <a:pt x="441325" y="550862"/>
                  </a:lnTo>
                  <a:lnTo>
                    <a:pt x="390464" y="514599"/>
                  </a:lnTo>
                  <a:lnTo>
                    <a:pt x="389274" y="482452"/>
                  </a:lnTo>
                  <a:lnTo>
                    <a:pt x="404813" y="449262"/>
                  </a:lnTo>
                  <a:lnTo>
                    <a:pt x="446088" y="441325"/>
                  </a:lnTo>
                  <a:lnTo>
                    <a:pt x="492858" y="443162"/>
                  </a:lnTo>
                  <a:lnTo>
                    <a:pt x="503238" y="406400"/>
                  </a:lnTo>
                  <a:lnTo>
                    <a:pt x="474663" y="411162"/>
                  </a:lnTo>
                  <a:lnTo>
                    <a:pt x="449995" y="402680"/>
                  </a:lnTo>
                  <a:lnTo>
                    <a:pt x="436899" y="388393"/>
                  </a:lnTo>
                  <a:lnTo>
                    <a:pt x="425450" y="363537"/>
                  </a:lnTo>
                  <a:lnTo>
                    <a:pt x="425450" y="334962"/>
                  </a:lnTo>
                  <a:lnTo>
                    <a:pt x="477838" y="344487"/>
                  </a:lnTo>
                  <a:lnTo>
                    <a:pt x="529767" y="326480"/>
                  </a:lnTo>
                  <a:lnTo>
                    <a:pt x="565150" y="339725"/>
                  </a:lnTo>
                  <a:lnTo>
                    <a:pt x="600014" y="320527"/>
                  </a:lnTo>
                  <a:lnTo>
                    <a:pt x="661927" y="299096"/>
                  </a:lnTo>
                  <a:lnTo>
                    <a:pt x="687388" y="317500"/>
                  </a:lnTo>
                  <a:lnTo>
                    <a:pt x="722313" y="349250"/>
                  </a:lnTo>
                  <a:lnTo>
                    <a:pt x="709613" y="390525"/>
                  </a:lnTo>
                  <a:lnTo>
                    <a:pt x="753605" y="409824"/>
                  </a:lnTo>
                  <a:lnTo>
                    <a:pt x="809564" y="430065"/>
                  </a:lnTo>
                  <a:lnTo>
                    <a:pt x="849313" y="403225"/>
                  </a:lnTo>
                  <a:lnTo>
                    <a:pt x="871477" y="419349"/>
                  </a:lnTo>
                  <a:lnTo>
                    <a:pt x="881002" y="444352"/>
                  </a:lnTo>
                  <a:lnTo>
                    <a:pt x="911225" y="403225"/>
                  </a:lnTo>
                  <a:lnTo>
                    <a:pt x="944563" y="374650"/>
                  </a:lnTo>
                  <a:lnTo>
                    <a:pt x="1004888" y="355600"/>
                  </a:lnTo>
                  <a:lnTo>
                    <a:pt x="1035050" y="317500"/>
                  </a:lnTo>
                  <a:lnTo>
                    <a:pt x="1063625" y="293687"/>
                  </a:lnTo>
                  <a:lnTo>
                    <a:pt x="1081088" y="266700"/>
                  </a:lnTo>
                  <a:lnTo>
                    <a:pt x="1031875" y="258762"/>
                  </a:lnTo>
                  <a:lnTo>
                    <a:pt x="1027449" y="227658"/>
                  </a:lnTo>
                  <a:lnTo>
                    <a:pt x="1004888" y="196850"/>
                  </a:lnTo>
                  <a:lnTo>
                    <a:pt x="1001713" y="146050"/>
                  </a:lnTo>
                  <a:lnTo>
                    <a:pt x="976313" y="123825"/>
                  </a:lnTo>
                  <a:lnTo>
                    <a:pt x="964345" y="88355"/>
                  </a:lnTo>
                  <a:lnTo>
                    <a:pt x="1023938" y="95250"/>
                  </a:lnTo>
                  <a:lnTo>
                    <a:pt x="1048880" y="113358"/>
                  </a:lnTo>
                  <a:lnTo>
                    <a:pt x="1094124" y="110977"/>
                  </a:lnTo>
                  <a:lnTo>
                    <a:pt x="1139367" y="153840"/>
                  </a:lnTo>
                  <a:lnTo>
                    <a:pt x="1152525" y="123825"/>
                  </a:lnTo>
                  <a:lnTo>
                    <a:pt x="1179513" y="96837"/>
                  </a:lnTo>
                  <a:lnTo>
                    <a:pt x="1236663" y="95250"/>
                  </a:lnTo>
                  <a:lnTo>
                    <a:pt x="1301750" y="77787"/>
                  </a:lnTo>
                  <a:lnTo>
                    <a:pt x="1339850" y="42862"/>
                  </a:lnTo>
                  <a:lnTo>
                    <a:pt x="1385888" y="11112"/>
                  </a:lnTo>
                  <a:lnTo>
                    <a:pt x="1430338" y="0"/>
                  </a:lnTo>
                  <a:lnTo>
                    <a:pt x="1443038" y="55562"/>
                  </a:lnTo>
                  <a:lnTo>
                    <a:pt x="1512888" y="77787"/>
                  </a:lnTo>
                  <a:lnTo>
                    <a:pt x="1482725" y="128587"/>
                  </a:lnTo>
                  <a:lnTo>
                    <a:pt x="1458913" y="160337"/>
                  </a:lnTo>
                  <a:lnTo>
                    <a:pt x="1450975" y="231775"/>
                  </a:lnTo>
                  <a:lnTo>
                    <a:pt x="1450975" y="273050"/>
                  </a:lnTo>
                  <a:lnTo>
                    <a:pt x="1471613" y="293687"/>
                  </a:lnTo>
                  <a:lnTo>
                    <a:pt x="1474788" y="328612"/>
                  </a:lnTo>
                  <a:lnTo>
                    <a:pt x="1509713" y="355600"/>
                  </a:lnTo>
                  <a:lnTo>
                    <a:pt x="1550988" y="379412"/>
                  </a:lnTo>
                  <a:lnTo>
                    <a:pt x="1595438" y="371475"/>
                  </a:lnTo>
                  <a:lnTo>
                    <a:pt x="1627524" y="338387"/>
                  </a:lnTo>
                  <a:lnTo>
                    <a:pt x="1678720" y="341958"/>
                  </a:lnTo>
                  <a:lnTo>
                    <a:pt x="1723964" y="325290"/>
                  </a:lnTo>
                  <a:lnTo>
                    <a:pt x="1762064" y="314574"/>
                  </a:lnTo>
                  <a:lnTo>
                    <a:pt x="1806575" y="312737"/>
                  </a:lnTo>
                  <a:lnTo>
                    <a:pt x="1858963" y="323850"/>
                  </a:lnTo>
                  <a:lnTo>
                    <a:pt x="1897063" y="312737"/>
                  </a:lnTo>
                  <a:lnTo>
                    <a:pt x="1868488" y="298450"/>
                  </a:lnTo>
                  <a:lnTo>
                    <a:pt x="1858963" y="273050"/>
                  </a:lnTo>
                  <a:lnTo>
                    <a:pt x="1905000" y="254000"/>
                  </a:lnTo>
                  <a:lnTo>
                    <a:pt x="1944688" y="258762"/>
                  </a:lnTo>
                  <a:lnTo>
                    <a:pt x="1974850" y="254000"/>
                  </a:lnTo>
                  <a:lnTo>
                    <a:pt x="2000250" y="269875"/>
                  </a:lnTo>
                  <a:lnTo>
                    <a:pt x="2041525" y="288925"/>
                  </a:lnTo>
                  <a:lnTo>
                    <a:pt x="2097088" y="277812"/>
                  </a:lnTo>
                  <a:lnTo>
                    <a:pt x="2124075" y="287337"/>
                  </a:lnTo>
                  <a:lnTo>
                    <a:pt x="2160588" y="277812"/>
                  </a:lnTo>
                  <a:lnTo>
                    <a:pt x="2189163" y="277812"/>
                  </a:lnTo>
                  <a:lnTo>
                    <a:pt x="2222500" y="249237"/>
                  </a:lnTo>
                  <a:lnTo>
                    <a:pt x="2251075" y="203200"/>
                  </a:lnTo>
                  <a:lnTo>
                    <a:pt x="2274888" y="168275"/>
                  </a:lnTo>
                  <a:lnTo>
                    <a:pt x="2300288" y="136525"/>
                  </a:lnTo>
                  <a:lnTo>
                    <a:pt x="2325688" y="106362"/>
                  </a:lnTo>
                  <a:lnTo>
                    <a:pt x="2362200" y="82550"/>
                  </a:lnTo>
                  <a:lnTo>
                    <a:pt x="2378075" y="131762"/>
                  </a:lnTo>
                  <a:lnTo>
                    <a:pt x="2382838" y="196850"/>
                  </a:lnTo>
                  <a:lnTo>
                    <a:pt x="2411413" y="249237"/>
                  </a:lnTo>
                  <a:lnTo>
                    <a:pt x="2439988" y="320675"/>
                  </a:lnTo>
                  <a:lnTo>
                    <a:pt x="2482850" y="334962"/>
                  </a:lnTo>
                  <a:lnTo>
                    <a:pt x="2501900" y="368300"/>
                  </a:lnTo>
                  <a:lnTo>
                    <a:pt x="2470150" y="414337"/>
                  </a:lnTo>
                  <a:lnTo>
                    <a:pt x="2436813" y="438150"/>
                  </a:lnTo>
                  <a:lnTo>
                    <a:pt x="2406650" y="461962"/>
                  </a:lnTo>
                  <a:lnTo>
                    <a:pt x="2382838" y="500062"/>
                  </a:lnTo>
                  <a:lnTo>
                    <a:pt x="2354263" y="539750"/>
                  </a:lnTo>
                  <a:lnTo>
                    <a:pt x="2374900" y="555625"/>
                  </a:lnTo>
                  <a:lnTo>
                    <a:pt x="2406650" y="563562"/>
                  </a:lnTo>
                  <a:lnTo>
                    <a:pt x="2444750" y="566737"/>
                  </a:lnTo>
                  <a:lnTo>
                    <a:pt x="2454275" y="527050"/>
                  </a:lnTo>
                  <a:lnTo>
                    <a:pt x="2493963" y="520700"/>
                  </a:lnTo>
                  <a:lnTo>
                    <a:pt x="2547938" y="531812"/>
                  </a:lnTo>
                  <a:lnTo>
                    <a:pt x="2601913" y="528637"/>
                  </a:lnTo>
                  <a:lnTo>
                    <a:pt x="2646363" y="536575"/>
                  </a:lnTo>
                  <a:lnTo>
                    <a:pt x="2659063" y="566737"/>
                  </a:lnTo>
                  <a:lnTo>
                    <a:pt x="2638425" y="587375"/>
                  </a:lnTo>
                  <a:lnTo>
                    <a:pt x="2622550" y="614362"/>
                  </a:lnTo>
                  <a:lnTo>
                    <a:pt x="2587625" y="638175"/>
                  </a:lnTo>
                  <a:lnTo>
                    <a:pt x="2555875" y="661987"/>
                  </a:lnTo>
                  <a:lnTo>
                    <a:pt x="2506663" y="661987"/>
                  </a:lnTo>
                  <a:lnTo>
                    <a:pt x="2457450" y="684212"/>
                  </a:lnTo>
                  <a:lnTo>
                    <a:pt x="2486025" y="708025"/>
                  </a:lnTo>
                  <a:lnTo>
                    <a:pt x="2543175" y="688975"/>
                  </a:lnTo>
                  <a:lnTo>
                    <a:pt x="2568575" y="719137"/>
                  </a:lnTo>
                  <a:lnTo>
                    <a:pt x="2598738" y="692150"/>
                  </a:lnTo>
                  <a:lnTo>
                    <a:pt x="2638425" y="668337"/>
                  </a:lnTo>
                  <a:lnTo>
                    <a:pt x="2659063" y="652462"/>
                  </a:lnTo>
                  <a:lnTo>
                    <a:pt x="2684463" y="617537"/>
                  </a:lnTo>
                  <a:lnTo>
                    <a:pt x="2708275" y="582612"/>
                  </a:lnTo>
                  <a:lnTo>
                    <a:pt x="2741613" y="563562"/>
                  </a:lnTo>
                  <a:lnTo>
                    <a:pt x="2779713" y="577850"/>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dirty="0"/>
            </a:p>
          </p:txBody>
        </p:sp>
        <p:sp>
          <p:nvSpPr>
            <p:cNvPr id="209" name="Freeform 214">
              <a:extLst>
                <a:ext uri="{FF2B5EF4-FFF2-40B4-BE49-F238E27FC236}">
                  <a16:creationId xmlns:a16="http://schemas.microsoft.com/office/drawing/2014/main" id="{2B02E59E-AC5B-A8A4-5706-E1334DAC823B}"/>
                </a:ext>
              </a:extLst>
            </p:cNvPr>
            <p:cNvSpPr>
              <a:spLocks/>
            </p:cNvSpPr>
            <p:nvPr/>
          </p:nvSpPr>
          <p:spPr bwMode="auto">
            <a:xfrm>
              <a:off x="2920140" y="3921996"/>
              <a:ext cx="105328" cy="170553"/>
            </a:xfrm>
            <a:custGeom>
              <a:avLst/>
              <a:gdLst>
                <a:gd name="T0" fmla="*/ 10 w 440592"/>
                <a:gd name="T1" fmla="*/ 18 h 680493"/>
                <a:gd name="T2" fmla="*/ 10 w 440592"/>
                <a:gd name="T3" fmla="*/ 13 h 680493"/>
                <a:gd name="T4" fmla="*/ 8 w 440592"/>
                <a:gd name="T5" fmla="*/ 7 h 680493"/>
                <a:gd name="T6" fmla="*/ 22 w 440592"/>
                <a:gd name="T7" fmla="*/ 1 h 680493"/>
                <a:gd name="T8" fmla="*/ 25 w 440592"/>
                <a:gd name="T9" fmla="*/ 0 h 680493"/>
                <a:gd name="T10" fmla="*/ 30 w 440592"/>
                <a:gd name="T11" fmla="*/ 1 h 680493"/>
                <a:gd name="T12" fmla="*/ 35 w 440592"/>
                <a:gd name="T13" fmla="*/ 5 h 680493"/>
                <a:gd name="T14" fmla="*/ 38 w 440592"/>
                <a:gd name="T15" fmla="*/ 9 h 680493"/>
                <a:gd name="T16" fmla="*/ 42 w 440592"/>
                <a:gd name="T17" fmla="*/ 12 h 680493"/>
                <a:gd name="T18" fmla="*/ 42 w 440592"/>
                <a:gd name="T19" fmla="*/ 20 h 680493"/>
                <a:gd name="T20" fmla="*/ 47 w 440592"/>
                <a:gd name="T21" fmla="*/ 22 h 680493"/>
                <a:gd name="T22" fmla="*/ 51 w 440592"/>
                <a:gd name="T23" fmla="*/ 25 h 680493"/>
                <a:gd name="T24" fmla="*/ 55 w 440592"/>
                <a:gd name="T25" fmla="*/ 28 h 680493"/>
                <a:gd name="T26" fmla="*/ 58 w 440592"/>
                <a:gd name="T27" fmla="*/ 31 h 680493"/>
                <a:gd name="T28" fmla="*/ 61 w 440592"/>
                <a:gd name="T29" fmla="*/ 36 h 680493"/>
                <a:gd name="T30" fmla="*/ 59 w 440592"/>
                <a:gd name="T31" fmla="*/ 39 h 680493"/>
                <a:gd name="T32" fmla="*/ 58 w 440592"/>
                <a:gd name="T33" fmla="*/ 43 h 680493"/>
                <a:gd name="T34" fmla="*/ 57 w 440592"/>
                <a:gd name="T35" fmla="*/ 46 h 680493"/>
                <a:gd name="T36" fmla="*/ 53 w 440592"/>
                <a:gd name="T37" fmla="*/ 48 h 680493"/>
                <a:gd name="T38" fmla="*/ 49 w 440592"/>
                <a:gd name="T39" fmla="*/ 48 h 680493"/>
                <a:gd name="T40" fmla="*/ 48 w 440592"/>
                <a:gd name="T41" fmla="*/ 57 h 680493"/>
                <a:gd name="T42" fmla="*/ 49 w 440592"/>
                <a:gd name="T43" fmla="*/ 65 h 680493"/>
                <a:gd name="T44" fmla="*/ 53 w 440592"/>
                <a:gd name="T45" fmla="*/ 71 h 680493"/>
                <a:gd name="T46" fmla="*/ 56 w 440592"/>
                <a:gd name="T47" fmla="*/ 73 h 680493"/>
                <a:gd name="T48" fmla="*/ 58 w 440592"/>
                <a:gd name="T49" fmla="*/ 81 h 680493"/>
                <a:gd name="T50" fmla="*/ 61 w 440592"/>
                <a:gd name="T51" fmla="*/ 87 h 680493"/>
                <a:gd name="T52" fmla="*/ 61 w 440592"/>
                <a:gd name="T53" fmla="*/ 94 h 680493"/>
                <a:gd name="T54" fmla="*/ 56 w 440592"/>
                <a:gd name="T55" fmla="*/ 96 h 680493"/>
                <a:gd name="T56" fmla="*/ 50 w 440592"/>
                <a:gd name="T57" fmla="*/ 99 h 680493"/>
                <a:gd name="T58" fmla="*/ 43 w 440592"/>
                <a:gd name="T59" fmla="*/ 98 h 680493"/>
                <a:gd name="T60" fmla="*/ 38 w 440592"/>
                <a:gd name="T61" fmla="*/ 103 h 680493"/>
                <a:gd name="T62" fmla="*/ 32 w 440592"/>
                <a:gd name="T63" fmla="*/ 104 h 680493"/>
                <a:gd name="T64" fmla="*/ 26 w 440592"/>
                <a:gd name="T65" fmla="*/ 101 h 680493"/>
                <a:gd name="T66" fmla="*/ 21 w 440592"/>
                <a:gd name="T67" fmla="*/ 97 h 680493"/>
                <a:gd name="T68" fmla="*/ 21 w 440592"/>
                <a:gd name="T69" fmla="*/ 91 h 680493"/>
                <a:gd name="T70" fmla="*/ 18 w 440592"/>
                <a:gd name="T71" fmla="*/ 88 h 680493"/>
                <a:gd name="T72" fmla="*/ 18 w 440592"/>
                <a:gd name="T73" fmla="*/ 80 h 680493"/>
                <a:gd name="T74" fmla="*/ 19 w 440592"/>
                <a:gd name="T75" fmla="*/ 70 h 680493"/>
                <a:gd name="T76" fmla="*/ 23 w 440592"/>
                <a:gd name="T77" fmla="*/ 65 h 680493"/>
                <a:gd name="T78" fmla="*/ 27 w 440592"/>
                <a:gd name="T79" fmla="*/ 58 h 680493"/>
                <a:gd name="T80" fmla="*/ 17 w 440592"/>
                <a:gd name="T81" fmla="*/ 55 h 680493"/>
                <a:gd name="T82" fmla="*/ 15 w 440592"/>
                <a:gd name="T83" fmla="*/ 46 h 680493"/>
                <a:gd name="T84" fmla="*/ 9 w 440592"/>
                <a:gd name="T85" fmla="*/ 48 h 680493"/>
                <a:gd name="T86" fmla="*/ 4 w 440592"/>
                <a:gd name="T87" fmla="*/ 43 h 680493"/>
                <a:gd name="T88" fmla="*/ 1 w 440592"/>
                <a:gd name="T89" fmla="*/ 39 h 680493"/>
                <a:gd name="T90" fmla="*/ 0 w 440592"/>
                <a:gd name="T91" fmla="*/ 35 h 680493"/>
                <a:gd name="T92" fmla="*/ 2 w 440592"/>
                <a:gd name="T93" fmla="*/ 30 h 680493"/>
                <a:gd name="T94" fmla="*/ 2 w 440592"/>
                <a:gd name="T95" fmla="*/ 24 h 680493"/>
                <a:gd name="T96" fmla="*/ 7 w 440592"/>
                <a:gd name="T97" fmla="*/ 22 h 680493"/>
                <a:gd name="T98" fmla="*/ 10 w 440592"/>
                <a:gd name="T99" fmla="*/ 18 h 6804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40592"/>
                <a:gd name="T151" fmla="*/ 0 h 680493"/>
                <a:gd name="T152" fmla="*/ 440592 w 440592"/>
                <a:gd name="T153" fmla="*/ 680493 h 6804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40592" h="680493">
                  <a:moveTo>
                    <a:pt x="72628" y="120899"/>
                  </a:moveTo>
                  <a:lnTo>
                    <a:pt x="69056" y="86371"/>
                  </a:lnTo>
                  <a:lnTo>
                    <a:pt x="60722" y="44699"/>
                  </a:lnTo>
                  <a:lnTo>
                    <a:pt x="157068" y="2877"/>
                  </a:lnTo>
                  <a:lnTo>
                    <a:pt x="181232" y="0"/>
                  </a:lnTo>
                  <a:lnTo>
                    <a:pt x="215061" y="8631"/>
                  </a:lnTo>
                  <a:lnTo>
                    <a:pt x="248891" y="34526"/>
                  </a:lnTo>
                  <a:lnTo>
                    <a:pt x="276277" y="57543"/>
                  </a:lnTo>
                  <a:lnTo>
                    <a:pt x="300441" y="80560"/>
                  </a:lnTo>
                  <a:lnTo>
                    <a:pt x="300441" y="132348"/>
                  </a:lnTo>
                  <a:lnTo>
                    <a:pt x="337492" y="146734"/>
                  </a:lnTo>
                  <a:lnTo>
                    <a:pt x="368100" y="163996"/>
                  </a:lnTo>
                  <a:lnTo>
                    <a:pt x="393875" y="182698"/>
                  </a:lnTo>
                  <a:lnTo>
                    <a:pt x="414817" y="202838"/>
                  </a:lnTo>
                  <a:lnTo>
                    <a:pt x="435759" y="231609"/>
                  </a:lnTo>
                  <a:lnTo>
                    <a:pt x="421261" y="254626"/>
                  </a:lnTo>
                  <a:lnTo>
                    <a:pt x="414817" y="277643"/>
                  </a:lnTo>
                  <a:lnTo>
                    <a:pt x="408373" y="300660"/>
                  </a:lnTo>
                  <a:lnTo>
                    <a:pt x="380987" y="315046"/>
                  </a:lnTo>
                  <a:lnTo>
                    <a:pt x="350380" y="315046"/>
                  </a:lnTo>
                  <a:lnTo>
                    <a:pt x="343936" y="372588"/>
                  </a:lnTo>
                  <a:lnTo>
                    <a:pt x="350380" y="421500"/>
                  </a:lnTo>
                  <a:lnTo>
                    <a:pt x="379377" y="461779"/>
                  </a:lnTo>
                  <a:lnTo>
                    <a:pt x="401930" y="479042"/>
                  </a:lnTo>
                  <a:lnTo>
                    <a:pt x="414817" y="526515"/>
                  </a:lnTo>
                  <a:lnTo>
                    <a:pt x="438981" y="569672"/>
                  </a:lnTo>
                  <a:lnTo>
                    <a:pt x="440592" y="615706"/>
                  </a:lnTo>
                  <a:lnTo>
                    <a:pt x="405151" y="624337"/>
                  </a:lnTo>
                  <a:lnTo>
                    <a:pt x="356823" y="645916"/>
                  </a:lnTo>
                  <a:lnTo>
                    <a:pt x="306885" y="640161"/>
                  </a:lnTo>
                  <a:lnTo>
                    <a:pt x="276225" y="672158"/>
                  </a:lnTo>
                  <a:lnTo>
                    <a:pt x="230981" y="680493"/>
                  </a:lnTo>
                  <a:lnTo>
                    <a:pt x="187675" y="658863"/>
                  </a:lnTo>
                  <a:lnTo>
                    <a:pt x="153591" y="632868"/>
                  </a:lnTo>
                  <a:lnTo>
                    <a:pt x="150019" y="595958"/>
                  </a:lnTo>
                  <a:lnTo>
                    <a:pt x="130969" y="574527"/>
                  </a:lnTo>
                  <a:lnTo>
                    <a:pt x="131293" y="520761"/>
                  </a:lnTo>
                  <a:lnTo>
                    <a:pt x="139347" y="457464"/>
                  </a:lnTo>
                  <a:lnTo>
                    <a:pt x="165122" y="425815"/>
                  </a:lnTo>
                  <a:lnTo>
                    <a:pt x="192508" y="378343"/>
                  </a:lnTo>
                  <a:lnTo>
                    <a:pt x="122634" y="357833"/>
                  </a:lnTo>
                  <a:lnTo>
                    <a:pt x="110351" y="300660"/>
                  </a:lnTo>
                  <a:lnTo>
                    <a:pt x="63103" y="312590"/>
                  </a:lnTo>
                  <a:lnTo>
                    <a:pt x="32147" y="279252"/>
                  </a:lnTo>
                  <a:lnTo>
                    <a:pt x="4029" y="254626"/>
                  </a:lnTo>
                  <a:lnTo>
                    <a:pt x="0" y="229246"/>
                  </a:lnTo>
                  <a:lnTo>
                    <a:pt x="13695" y="192768"/>
                  </a:lnTo>
                  <a:lnTo>
                    <a:pt x="14287" y="157808"/>
                  </a:lnTo>
                  <a:lnTo>
                    <a:pt x="52357" y="146734"/>
                  </a:lnTo>
                  <a:lnTo>
                    <a:pt x="72628" y="12089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0" name="Freeform 215">
              <a:extLst>
                <a:ext uri="{FF2B5EF4-FFF2-40B4-BE49-F238E27FC236}">
                  <a16:creationId xmlns:a16="http://schemas.microsoft.com/office/drawing/2014/main" id="{F7845814-E8A0-7BD7-6911-7E844E300A96}"/>
                </a:ext>
              </a:extLst>
            </p:cNvPr>
            <p:cNvSpPr>
              <a:spLocks/>
            </p:cNvSpPr>
            <p:nvPr/>
          </p:nvSpPr>
          <p:spPr bwMode="auto">
            <a:xfrm>
              <a:off x="3003057" y="3975006"/>
              <a:ext cx="96362" cy="103713"/>
            </a:xfrm>
            <a:custGeom>
              <a:avLst/>
              <a:gdLst>
                <a:gd name="T0" fmla="*/ 33 w 404812"/>
                <a:gd name="T1" fmla="*/ 3 h 412750"/>
                <a:gd name="T2" fmla="*/ 37 w 404812"/>
                <a:gd name="T3" fmla="*/ 1 h 412750"/>
                <a:gd name="T4" fmla="*/ 43 w 404812"/>
                <a:gd name="T5" fmla="*/ 0 h 412750"/>
                <a:gd name="T6" fmla="*/ 50 w 404812"/>
                <a:gd name="T7" fmla="*/ 1 h 412750"/>
                <a:gd name="T8" fmla="*/ 55 w 404812"/>
                <a:gd name="T9" fmla="*/ 3 h 412750"/>
                <a:gd name="T10" fmla="*/ 53 w 404812"/>
                <a:gd name="T11" fmla="*/ 11 h 412750"/>
                <a:gd name="T12" fmla="*/ 48 w 404812"/>
                <a:gd name="T13" fmla="*/ 15 h 412750"/>
                <a:gd name="T14" fmla="*/ 49 w 404812"/>
                <a:gd name="T15" fmla="*/ 24 h 412750"/>
                <a:gd name="T16" fmla="*/ 51 w 404812"/>
                <a:gd name="T17" fmla="*/ 27 h 412750"/>
                <a:gd name="T18" fmla="*/ 52 w 404812"/>
                <a:gd name="T19" fmla="*/ 35 h 412750"/>
                <a:gd name="T20" fmla="*/ 54 w 404812"/>
                <a:gd name="T21" fmla="*/ 41 h 412750"/>
                <a:gd name="T22" fmla="*/ 52 w 404812"/>
                <a:gd name="T23" fmla="*/ 51 h 412750"/>
                <a:gd name="T24" fmla="*/ 51 w 404812"/>
                <a:gd name="T25" fmla="*/ 58 h 412750"/>
                <a:gd name="T26" fmla="*/ 46 w 404812"/>
                <a:gd name="T27" fmla="*/ 56 h 412750"/>
                <a:gd name="T28" fmla="*/ 42 w 404812"/>
                <a:gd name="T29" fmla="*/ 53 h 412750"/>
                <a:gd name="T30" fmla="*/ 38 w 404812"/>
                <a:gd name="T31" fmla="*/ 54 h 412750"/>
                <a:gd name="T32" fmla="*/ 33 w 404812"/>
                <a:gd name="T33" fmla="*/ 53 h 412750"/>
                <a:gd name="T34" fmla="*/ 26 w 404812"/>
                <a:gd name="T35" fmla="*/ 56 h 412750"/>
                <a:gd name="T36" fmla="*/ 27 w 404812"/>
                <a:gd name="T37" fmla="*/ 60 h 412750"/>
                <a:gd name="T38" fmla="*/ 32 w 404812"/>
                <a:gd name="T39" fmla="*/ 62 h 412750"/>
                <a:gd name="T40" fmla="*/ 26 w 404812"/>
                <a:gd name="T41" fmla="*/ 64 h 412750"/>
                <a:gd name="T42" fmla="*/ 19 w 404812"/>
                <a:gd name="T43" fmla="*/ 62 h 412750"/>
                <a:gd name="T44" fmla="*/ 13 w 404812"/>
                <a:gd name="T45" fmla="*/ 62 h 412750"/>
                <a:gd name="T46" fmla="*/ 13 w 404812"/>
                <a:gd name="T47" fmla="*/ 56 h 412750"/>
                <a:gd name="T48" fmla="*/ 10 w 404812"/>
                <a:gd name="T49" fmla="*/ 49 h 412750"/>
                <a:gd name="T50" fmla="*/ 8 w 404812"/>
                <a:gd name="T51" fmla="*/ 42 h 412750"/>
                <a:gd name="T52" fmla="*/ 5 w 404812"/>
                <a:gd name="T53" fmla="*/ 39 h 412750"/>
                <a:gd name="T54" fmla="*/ 1 w 404812"/>
                <a:gd name="T55" fmla="*/ 33 h 412750"/>
                <a:gd name="T56" fmla="*/ 0 w 404812"/>
                <a:gd name="T57" fmla="*/ 25 h 412750"/>
                <a:gd name="T58" fmla="*/ 1 w 404812"/>
                <a:gd name="T59" fmla="*/ 16 h 412750"/>
                <a:gd name="T60" fmla="*/ 5 w 404812"/>
                <a:gd name="T61" fmla="*/ 16 h 412750"/>
                <a:gd name="T62" fmla="*/ 9 w 404812"/>
                <a:gd name="T63" fmla="*/ 13 h 412750"/>
                <a:gd name="T64" fmla="*/ 11 w 404812"/>
                <a:gd name="T65" fmla="*/ 6 h 412750"/>
                <a:gd name="T66" fmla="*/ 13 w 404812"/>
                <a:gd name="T67" fmla="*/ 2 h 412750"/>
                <a:gd name="T68" fmla="*/ 16 w 404812"/>
                <a:gd name="T69" fmla="*/ 1 h 412750"/>
                <a:gd name="T70" fmla="*/ 24 w 404812"/>
                <a:gd name="T71" fmla="*/ 2 h 412750"/>
                <a:gd name="T72" fmla="*/ 28 w 404812"/>
                <a:gd name="T73" fmla="*/ 5 h 412750"/>
                <a:gd name="T74" fmla="*/ 33 w 404812"/>
                <a:gd name="T75" fmla="*/ 3 h 4127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812"/>
                <a:gd name="T115" fmla="*/ 0 h 412750"/>
                <a:gd name="T116" fmla="*/ 404812 w 404812"/>
                <a:gd name="T117" fmla="*/ 412750 h 41275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812" h="412750">
                  <a:moveTo>
                    <a:pt x="239583" y="19608"/>
                  </a:moveTo>
                  <a:lnTo>
                    <a:pt x="268498" y="3922"/>
                  </a:lnTo>
                  <a:lnTo>
                    <a:pt x="318067" y="0"/>
                  </a:lnTo>
                  <a:lnTo>
                    <a:pt x="363505" y="7843"/>
                  </a:lnTo>
                  <a:lnTo>
                    <a:pt x="404812" y="19608"/>
                  </a:lnTo>
                  <a:lnTo>
                    <a:pt x="392420" y="70589"/>
                  </a:lnTo>
                  <a:lnTo>
                    <a:pt x="355243" y="94119"/>
                  </a:lnTo>
                  <a:lnTo>
                    <a:pt x="359374" y="152943"/>
                  </a:lnTo>
                  <a:lnTo>
                    <a:pt x="375381" y="175982"/>
                  </a:lnTo>
                  <a:lnTo>
                    <a:pt x="384158" y="227454"/>
                  </a:lnTo>
                  <a:lnTo>
                    <a:pt x="398616" y="263729"/>
                  </a:lnTo>
                  <a:lnTo>
                    <a:pt x="384158" y="325494"/>
                  </a:lnTo>
                  <a:lnTo>
                    <a:pt x="376413" y="376965"/>
                  </a:lnTo>
                  <a:lnTo>
                    <a:pt x="336139" y="357847"/>
                  </a:lnTo>
                  <a:lnTo>
                    <a:pt x="309805" y="342161"/>
                  </a:lnTo>
                  <a:lnTo>
                    <a:pt x="279857" y="346083"/>
                  </a:lnTo>
                  <a:lnTo>
                    <a:pt x="242681" y="340690"/>
                  </a:lnTo>
                  <a:lnTo>
                    <a:pt x="194661" y="361279"/>
                  </a:lnTo>
                  <a:lnTo>
                    <a:pt x="201373" y="384808"/>
                  </a:lnTo>
                  <a:lnTo>
                    <a:pt x="230805" y="400495"/>
                  </a:lnTo>
                  <a:lnTo>
                    <a:pt x="194661" y="412750"/>
                  </a:lnTo>
                  <a:lnTo>
                    <a:pt x="141994" y="399515"/>
                  </a:lnTo>
                  <a:lnTo>
                    <a:pt x="93999" y="400696"/>
                  </a:lnTo>
                  <a:lnTo>
                    <a:pt x="95523" y="359808"/>
                  </a:lnTo>
                  <a:lnTo>
                    <a:pt x="70739" y="315690"/>
                  </a:lnTo>
                  <a:lnTo>
                    <a:pt x="58863" y="268140"/>
                  </a:lnTo>
                  <a:lnTo>
                    <a:pt x="35111" y="250983"/>
                  </a:lnTo>
                  <a:lnTo>
                    <a:pt x="6196" y="210787"/>
                  </a:lnTo>
                  <a:lnTo>
                    <a:pt x="0" y="161276"/>
                  </a:lnTo>
                  <a:lnTo>
                    <a:pt x="6196" y="100491"/>
                  </a:lnTo>
                  <a:lnTo>
                    <a:pt x="38209" y="100982"/>
                  </a:lnTo>
                  <a:lnTo>
                    <a:pt x="64543" y="86276"/>
                  </a:lnTo>
                  <a:lnTo>
                    <a:pt x="77451" y="40197"/>
                  </a:lnTo>
                  <a:lnTo>
                    <a:pt x="92942" y="15686"/>
                  </a:lnTo>
                  <a:lnTo>
                    <a:pt x="119791" y="7843"/>
                  </a:lnTo>
                  <a:lnTo>
                    <a:pt x="176073" y="11275"/>
                  </a:lnTo>
                  <a:lnTo>
                    <a:pt x="202406" y="31373"/>
                  </a:lnTo>
                  <a:lnTo>
                    <a:pt x="239583" y="1960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1" name="Freeform 216">
              <a:extLst>
                <a:ext uri="{FF2B5EF4-FFF2-40B4-BE49-F238E27FC236}">
                  <a16:creationId xmlns:a16="http://schemas.microsoft.com/office/drawing/2014/main" id="{3BAD8A7A-592E-7293-2B87-AF1D55C7DA04}"/>
                </a:ext>
              </a:extLst>
            </p:cNvPr>
            <p:cNvSpPr>
              <a:spLocks/>
            </p:cNvSpPr>
            <p:nvPr/>
          </p:nvSpPr>
          <p:spPr bwMode="auto">
            <a:xfrm>
              <a:off x="3088216" y="3981919"/>
              <a:ext cx="82917" cy="87581"/>
            </a:xfrm>
            <a:custGeom>
              <a:avLst/>
              <a:gdLst>
                <a:gd name="T0" fmla="*/ 26 w 340458"/>
                <a:gd name="T1" fmla="*/ 7 h 351880"/>
                <a:gd name="T2" fmla="*/ 31 w 340458"/>
                <a:gd name="T3" fmla="*/ 9 h 351880"/>
                <a:gd name="T4" fmla="*/ 35 w 340458"/>
                <a:gd name="T5" fmla="*/ 12 h 351880"/>
                <a:gd name="T6" fmla="*/ 38 w 340458"/>
                <a:gd name="T7" fmla="*/ 16 h 351880"/>
                <a:gd name="T8" fmla="*/ 41 w 340458"/>
                <a:gd name="T9" fmla="*/ 18 h 351880"/>
                <a:gd name="T10" fmla="*/ 44 w 340458"/>
                <a:gd name="T11" fmla="*/ 20 h 351880"/>
                <a:gd name="T12" fmla="*/ 46 w 340458"/>
                <a:gd name="T13" fmla="*/ 22 h 351880"/>
                <a:gd name="T14" fmla="*/ 52 w 340458"/>
                <a:gd name="T15" fmla="*/ 21 h 351880"/>
                <a:gd name="T16" fmla="*/ 46 w 340458"/>
                <a:gd name="T17" fmla="*/ 26 h 351880"/>
                <a:gd name="T18" fmla="*/ 38 w 340458"/>
                <a:gd name="T19" fmla="*/ 34 h 351880"/>
                <a:gd name="T20" fmla="*/ 34 w 340458"/>
                <a:gd name="T21" fmla="*/ 40 h 351880"/>
                <a:gd name="T22" fmla="*/ 30 w 340458"/>
                <a:gd name="T23" fmla="*/ 46 h 351880"/>
                <a:gd name="T24" fmla="*/ 26 w 340458"/>
                <a:gd name="T25" fmla="*/ 51 h 351880"/>
                <a:gd name="T26" fmla="*/ 21 w 340458"/>
                <a:gd name="T27" fmla="*/ 51 h 351880"/>
                <a:gd name="T28" fmla="*/ 15 w 340458"/>
                <a:gd name="T29" fmla="*/ 52 h 351880"/>
                <a:gd name="T30" fmla="*/ 11 w 340458"/>
                <a:gd name="T31" fmla="*/ 50 h 351880"/>
                <a:gd name="T32" fmla="*/ 3 w 340458"/>
                <a:gd name="T33" fmla="*/ 52 h 351880"/>
                <a:gd name="T34" fmla="*/ 4 w 340458"/>
                <a:gd name="T35" fmla="*/ 44 h 351880"/>
                <a:gd name="T36" fmla="*/ 6 w 340458"/>
                <a:gd name="T37" fmla="*/ 35 h 351880"/>
                <a:gd name="T38" fmla="*/ 4 w 340458"/>
                <a:gd name="T39" fmla="*/ 30 h 351880"/>
                <a:gd name="T40" fmla="*/ 3 w 340458"/>
                <a:gd name="T41" fmla="*/ 22 h 351880"/>
                <a:gd name="T42" fmla="*/ 1 w 340458"/>
                <a:gd name="T43" fmla="*/ 19 h 351880"/>
                <a:gd name="T44" fmla="*/ 0 w 340458"/>
                <a:gd name="T45" fmla="*/ 11 h 351880"/>
                <a:gd name="T46" fmla="*/ 5 w 340458"/>
                <a:gd name="T47" fmla="*/ 7 h 351880"/>
                <a:gd name="T48" fmla="*/ 7 w 340458"/>
                <a:gd name="T49" fmla="*/ 0 h 351880"/>
                <a:gd name="T50" fmla="*/ 11 w 340458"/>
                <a:gd name="T51" fmla="*/ 4 h 351880"/>
                <a:gd name="T52" fmla="*/ 14 w 340458"/>
                <a:gd name="T53" fmla="*/ 3 h 351880"/>
                <a:gd name="T54" fmla="*/ 17 w 340458"/>
                <a:gd name="T55" fmla="*/ 5 h 351880"/>
                <a:gd name="T56" fmla="*/ 20 w 340458"/>
                <a:gd name="T57" fmla="*/ 6 h 351880"/>
                <a:gd name="T58" fmla="*/ 24 w 340458"/>
                <a:gd name="T59" fmla="*/ 7 h 351880"/>
                <a:gd name="T60" fmla="*/ 26 w 340458"/>
                <a:gd name="T61" fmla="*/ 7 h 3518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0458"/>
                <a:gd name="T94" fmla="*/ 0 h 351880"/>
                <a:gd name="T95" fmla="*/ 340458 w 340458"/>
                <a:gd name="T96" fmla="*/ 351880 h 3518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0458" h="351880">
                  <a:moveTo>
                    <a:pt x="171693" y="47494"/>
                  </a:moveTo>
                  <a:lnTo>
                    <a:pt x="199725" y="60927"/>
                  </a:lnTo>
                  <a:lnTo>
                    <a:pt x="227756" y="80116"/>
                  </a:lnTo>
                  <a:lnTo>
                    <a:pt x="247779" y="106982"/>
                  </a:lnTo>
                  <a:lnTo>
                    <a:pt x="269803" y="124252"/>
                  </a:lnTo>
                  <a:lnTo>
                    <a:pt x="287824" y="133847"/>
                  </a:lnTo>
                  <a:lnTo>
                    <a:pt x="303842" y="146320"/>
                  </a:lnTo>
                  <a:lnTo>
                    <a:pt x="340458" y="144712"/>
                  </a:lnTo>
                  <a:lnTo>
                    <a:pt x="298787" y="172096"/>
                  </a:lnTo>
                  <a:lnTo>
                    <a:pt x="251162" y="231627"/>
                  </a:lnTo>
                  <a:lnTo>
                    <a:pt x="223777" y="269727"/>
                  </a:lnTo>
                  <a:lnTo>
                    <a:pt x="196393" y="313780"/>
                  </a:lnTo>
                  <a:lnTo>
                    <a:pt x="166627" y="343546"/>
                  </a:lnTo>
                  <a:lnTo>
                    <a:pt x="134480" y="343546"/>
                  </a:lnTo>
                  <a:lnTo>
                    <a:pt x="98762" y="350690"/>
                  </a:lnTo>
                  <a:lnTo>
                    <a:pt x="71377" y="339974"/>
                  </a:lnTo>
                  <a:lnTo>
                    <a:pt x="20180" y="351880"/>
                  </a:lnTo>
                  <a:lnTo>
                    <a:pt x="28532" y="297918"/>
                  </a:lnTo>
                  <a:lnTo>
                    <a:pt x="41046" y="236991"/>
                  </a:lnTo>
                  <a:lnTo>
                    <a:pt x="27531" y="202450"/>
                  </a:lnTo>
                  <a:lnTo>
                    <a:pt x="18521" y="152077"/>
                  </a:lnTo>
                  <a:lnTo>
                    <a:pt x="3504" y="130489"/>
                  </a:lnTo>
                  <a:lnTo>
                    <a:pt x="0" y="71961"/>
                  </a:lnTo>
                  <a:lnTo>
                    <a:pt x="35039" y="48933"/>
                  </a:lnTo>
                  <a:lnTo>
                    <a:pt x="46552" y="0"/>
                  </a:lnTo>
                  <a:lnTo>
                    <a:pt x="71581" y="24467"/>
                  </a:lnTo>
                  <a:lnTo>
                    <a:pt x="93605" y="22548"/>
                  </a:lnTo>
                  <a:lnTo>
                    <a:pt x="113628" y="34061"/>
                  </a:lnTo>
                  <a:lnTo>
                    <a:pt x="131648" y="39818"/>
                  </a:lnTo>
                  <a:lnTo>
                    <a:pt x="159680" y="49413"/>
                  </a:lnTo>
                  <a:lnTo>
                    <a:pt x="171693" y="4749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2" name="Freeform 217">
              <a:extLst>
                <a:ext uri="{FF2B5EF4-FFF2-40B4-BE49-F238E27FC236}">
                  <a16:creationId xmlns:a16="http://schemas.microsoft.com/office/drawing/2014/main" id="{BFED49EB-11F4-71FA-5543-71118851C510}"/>
                </a:ext>
              </a:extLst>
            </p:cNvPr>
            <p:cNvSpPr>
              <a:spLocks/>
            </p:cNvSpPr>
            <p:nvPr/>
          </p:nvSpPr>
          <p:spPr bwMode="auto">
            <a:xfrm>
              <a:off x="2617604" y="4701006"/>
              <a:ext cx="490779" cy="1034840"/>
            </a:xfrm>
            <a:custGeom>
              <a:avLst/>
              <a:gdLst>
                <a:gd name="T0" fmla="*/ 121 w 2035175"/>
                <a:gd name="T1" fmla="*/ 2 h 4171950"/>
                <a:gd name="T2" fmla="*/ 141 w 2035175"/>
                <a:gd name="T3" fmla="*/ 4 h 4171950"/>
                <a:gd name="T4" fmla="*/ 164 w 2035175"/>
                <a:gd name="T5" fmla="*/ 12 h 4171950"/>
                <a:gd name="T6" fmla="*/ 184 w 2035175"/>
                <a:gd name="T7" fmla="*/ 33 h 4171950"/>
                <a:gd name="T8" fmla="*/ 212 w 2035175"/>
                <a:gd name="T9" fmla="*/ 48 h 4171950"/>
                <a:gd name="T10" fmla="*/ 236 w 2035175"/>
                <a:gd name="T11" fmla="*/ 63 h 4171950"/>
                <a:gd name="T12" fmla="*/ 225 w 2035175"/>
                <a:gd name="T13" fmla="*/ 83 h 4171950"/>
                <a:gd name="T14" fmla="*/ 239 w 2035175"/>
                <a:gd name="T15" fmla="*/ 93 h 4171950"/>
                <a:gd name="T16" fmla="*/ 265 w 2035175"/>
                <a:gd name="T17" fmla="*/ 90 h 4171950"/>
                <a:gd name="T18" fmla="*/ 281 w 2035175"/>
                <a:gd name="T19" fmla="*/ 74 h 4171950"/>
                <a:gd name="T20" fmla="*/ 290 w 2035175"/>
                <a:gd name="T21" fmla="*/ 65 h 4171950"/>
                <a:gd name="T22" fmla="*/ 296 w 2035175"/>
                <a:gd name="T23" fmla="*/ 85 h 4171950"/>
                <a:gd name="T24" fmla="*/ 276 w 2035175"/>
                <a:gd name="T25" fmla="*/ 99 h 4171950"/>
                <a:gd name="T26" fmla="*/ 258 w 2035175"/>
                <a:gd name="T27" fmla="*/ 119 h 4171950"/>
                <a:gd name="T28" fmla="*/ 245 w 2035175"/>
                <a:gd name="T29" fmla="*/ 134 h 4171950"/>
                <a:gd name="T30" fmla="*/ 236 w 2035175"/>
                <a:gd name="T31" fmla="*/ 163 h 4171950"/>
                <a:gd name="T32" fmla="*/ 232 w 2035175"/>
                <a:gd name="T33" fmla="*/ 196 h 4171950"/>
                <a:gd name="T34" fmla="*/ 227 w 2035175"/>
                <a:gd name="T35" fmla="*/ 223 h 4171950"/>
                <a:gd name="T36" fmla="*/ 243 w 2035175"/>
                <a:gd name="T37" fmla="*/ 253 h 4171950"/>
                <a:gd name="T38" fmla="*/ 256 w 2035175"/>
                <a:gd name="T39" fmla="*/ 270 h 4171950"/>
                <a:gd name="T40" fmla="*/ 239 w 2035175"/>
                <a:gd name="T41" fmla="*/ 293 h 4171950"/>
                <a:gd name="T42" fmla="*/ 223 w 2035175"/>
                <a:gd name="T43" fmla="*/ 308 h 4171950"/>
                <a:gd name="T44" fmla="*/ 203 w 2035175"/>
                <a:gd name="T45" fmla="*/ 321 h 4171950"/>
                <a:gd name="T46" fmla="*/ 182 w 2035175"/>
                <a:gd name="T47" fmla="*/ 325 h 4171950"/>
                <a:gd name="T48" fmla="*/ 167 w 2035175"/>
                <a:gd name="T49" fmla="*/ 337 h 4171950"/>
                <a:gd name="T50" fmla="*/ 154 w 2035175"/>
                <a:gd name="T51" fmla="*/ 357 h 4171950"/>
                <a:gd name="T52" fmla="*/ 126 w 2035175"/>
                <a:gd name="T53" fmla="*/ 350 h 4171950"/>
                <a:gd name="T54" fmla="*/ 129 w 2035175"/>
                <a:gd name="T55" fmla="*/ 378 h 4171950"/>
                <a:gd name="T56" fmla="*/ 124 w 2035175"/>
                <a:gd name="T57" fmla="*/ 404 h 4171950"/>
                <a:gd name="T58" fmla="*/ 115 w 2035175"/>
                <a:gd name="T59" fmla="*/ 436 h 4171950"/>
                <a:gd name="T60" fmla="*/ 88 w 2035175"/>
                <a:gd name="T61" fmla="*/ 455 h 4171950"/>
                <a:gd name="T62" fmla="*/ 105 w 2035175"/>
                <a:gd name="T63" fmla="*/ 481 h 4171950"/>
                <a:gd name="T64" fmla="*/ 111 w 2035175"/>
                <a:gd name="T65" fmla="*/ 505 h 4171950"/>
                <a:gd name="T66" fmla="*/ 95 w 2035175"/>
                <a:gd name="T67" fmla="*/ 519 h 4171950"/>
                <a:gd name="T68" fmla="*/ 79 w 2035175"/>
                <a:gd name="T69" fmla="*/ 549 h 4171950"/>
                <a:gd name="T70" fmla="*/ 60 w 2035175"/>
                <a:gd name="T71" fmla="*/ 578 h 4171950"/>
                <a:gd name="T72" fmla="*/ 72 w 2035175"/>
                <a:gd name="T73" fmla="*/ 601 h 4171950"/>
                <a:gd name="T74" fmla="*/ 51 w 2035175"/>
                <a:gd name="T75" fmla="*/ 598 h 4171950"/>
                <a:gd name="T76" fmla="*/ 21 w 2035175"/>
                <a:gd name="T77" fmla="*/ 591 h 4171950"/>
                <a:gd name="T78" fmla="*/ 2 w 2035175"/>
                <a:gd name="T79" fmla="*/ 564 h 4171950"/>
                <a:gd name="T80" fmla="*/ 6 w 2035175"/>
                <a:gd name="T81" fmla="*/ 526 h 4171950"/>
                <a:gd name="T82" fmla="*/ 18 w 2035175"/>
                <a:gd name="T83" fmla="*/ 485 h 4171950"/>
                <a:gd name="T84" fmla="*/ 24 w 2035175"/>
                <a:gd name="T85" fmla="*/ 445 h 4171950"/>
                <a:gd name="T86" fmla="*/ 23 w 2035175"/>
                <a:gd name="T87" fmla="*/ 404 h 4171950"/>
                <a:gd name="T88" fmla="*/ 23 w 2035175"/>
                <a:gd name="T89" fmla="*/ 373 h 4171950"/>
                <a:gd name="T90" fmla="*/ 22 w 2035175"/>
                <a:gd name="T91" fmla="*/ 335 h 4171950"/>
                <a:gd name="T92" fmla="*/ 29 w 2035175"/>
                <a:gd name="T93" fmla="*/ 307 h 4171950"/>
                <a:gd name="T94" fmla="*/ 33 w 2035175"/>
                <a:gd name="T95" fmla="*/ 287 h 4171950"/>
                <a:gd name="T96" fmla="*/ 40 w 2035175"/>
                <a:gd name="T97" fmla="*/ 259 h 4171950"/>
                <a:gd name="T98" fmla="*/ 46 w 2035175"/>
                <a:gd name="T99" fmla="*/ 232 h 4171950"/>
                <a:gd name="T100" fmla="*/ 49 w 2035175"/>
                <a:gd name="T101" fmla="*/ 198 h 4171950"/>
                <a:gd name="T102" fmla="*/ 42 w 2035175"/>
                <a:gd name="T103" fmla="*/ 171 h 4171950"/>
                <a:gd name="T104" fmla="*/ 52 w 2035175"/>
                <a:gd name="T105" fmla="*/ 151 h 4171950"/>
                <a:gd name="T106" fmla="*/ 54 w 2035175"/>
                <a:gd name="T107" fmla="*/ 133 h 4171950"/>
                <a:gd name="T108" fmla="*/ 63 w 2035175"/>
                <a:gd name="T109" fmla="*/ 117 h 4171950"/>
                <a:gd name="T110" fmla="*/ 70 w 2035175"/>
                <a:gd name="T111" fmla="*/ 101 h 4171950"/>
                <a:gd name="T112" fmla="*/ 74 w 2035175"/>
                <a:gd name="T113" fmla="*/ 81 h 4171950"/>
                <a:gd name="T114" fmla="*/ 71 w 2035175"/>
                <a:gd name="T115" fmla="*/ 52 h 4171950"/>
                <a:gd name="T116" fmla="*/ 91 w 2035175"/>
                <a:gd name="T117" fmla="*/ 40 h 4171950"/>
                <a:gd name="T118" fmla="*/ 89 w 2035175"/>
                <a:gd name="T119" fmla="*/ 21 h 4171950"/>
                <a:gd name="T120" fmla="*/ 101 w 2035175"/>
                <a:gd name="T121" fmla="*/ 6 h 41719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35175"/>
                <a:gd name="T184" fmla="*/ 0 h 4171950"/>
                <a:gd name="T185" fmla="*/ 2035175 w 2035175"/>
                <a:gd name="T186" fmla="*/ 4171950 h 41719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35175" h="4171950">
                  <a:moveTo>
                    <a:pt x="719138" y="15875"/>
                  </a:moveTo>
                  <a:lnTo>
                    <a:pt x="773113" y="0"/>
                  </a:lnTo>
                  <a:lnTo>
                    <a:pt x="835025" y="11113"/>
                  </a:lnTo>
                  <a:lnTo>
                    <a:pt x="869492" y="41921"/>
                  </a:lnTo>
                  <a:lnTo>
                    <a:pt x="905211" y="63353"/>
                  </a:lnTo>
                  <a:lnTo>
                    <a:pt x="971886" y="30015"/>
                  </a:lnTo>
                  <a:lnTo>
                    <a:pt x="1030288" y="30163"/>
                  </a:lnTo>
                  <a:lnTo>
                    <a:pt x="1090613" y="34925"/>
                  </a:lnTo>
                  <a:lnTo>
                    <a:pt x="1128713" y="85725"/>
                  </a:lnTo>
                  <a:lnTo>
                    <a:pt x="1181100" y="133350"/>
                  </a:lnTo>
                  <a:lnTo>
                    <a:pt x="1238250" y="182563"/>
                  </a:lnTo>
                  <a:lnTo>
                    <a:pt x="1268413" y="230188"/>
                  </a:lnTo>
                  <a:lnTo>
                    <a:pt x="1328738" y="268288"/>
                  </a:lnTo>
                  <a:lnTo>
                    <a:pt x="1401763" y="292100"/>
                  </a:lnTo>
                  <a:lnTo>
                    <a:pt x="1458913" y="331788"/>
                  </a:lnTo>
                  <a:lnTo>
                    <a:pt x="1516063" y="371475"/>
                  </a:lnTo>
                  <a:lnTo>
                    <a:pt x="1611313" y="390525"/>
                  </a:lnTo>
                  <a:lnTo>
                    <a:pt x="1619250" y="433388"/>
                  </a:lnTo>
                  <a:lnTo>
                    <a:pt x="1590675" y="476250"/>
                  </a:lnTo>
                  <a:lnTo>
                    <a:pt x="1565275" y="523875"/>
                  </a:lnTo>
                  <a:lnTo>
                    <a:pt x="1544638" y="566738"/>
                  </a:lnTo>
                  <a:lnTo>
                    <a:pt x="1533525" y="617538"/>
                  </a:lnTo>
                  <a:lnTo>
                    <a:pt x="1585913" y="620713"/>
                  </a:lnTo>
                  <a:lnTo>
                    <a:pt x="1639888" y="636588"/>
                  </a:lnTo>
                  <a:lnTo>
                    <a:pt x="1697038" y="647700"/>
                  </a:lnTo>
                  <a:lnTo>
                    <a:pt x="1738313" y="636588"/>
                  </a:lnTo>
                  <a:lnTo>
                    <a:pt x="1824038" y="617538"/>
                  </a:lnTo>
                  <a:lnTo>
                    <a:pt x="1860550" y="590550"/>
                  </a:lnTo>
                  <a:lnTo>
                    <a:pt x="1901825" y="558800"/>
                  </a:lnTo>
                  <a:lnTo>
                    <a:pt x="1930400" y="511175"/>
                  </a:lnTo>
                  <a:lnTo>
                    <a:pt x="1935163" y="438150"/>
                  </a:lnTo>
                  <a:lnTo>
                    <a:pt x="1965325" y="433388"/>
                  </a:lnTo>
                  <a:lnTo>
                    <a:pt x="1995488" y="449263"/>
                  </a:lnTo>
                  <a:lnTo>
                    <a:pt x="2012950" y="490538"/>
                  </a:lnTo>
                  <a:lnTo>
                    <a:pt x="2024063" y="531813"/>
                  </a:lnTo>
                  <a:lnTo>
                    <a:pt x="2035175" y="582613"/>
                  </a:lnTo>
                  <a:lnTo>
                    <a:pt x="2003425" y="612775"/>
                  </a:lnTo>
                  <a:lnTo>
                    <a:pt x="1966913" y="622300"/>
                  </a:lnTo>
                  <a:lnTo>
                    <a:pt x="1893888" y="679450"/>
                  </a:lnTo>
                  <a:lnTo>
                    <a:pt x="1820863" y="738188"/>
                  </a:lnTo>
                  <a:lnTo>
                    <a:pt x="1813658" y="786062"/>
                  </a:lnTo>
                  <a:lnTo>
                    <a:pt x="1773238" y="814388"/>
                  </a:lnTo>
                  <a:lnTo>
                    <a:pt x="1742220" y="845593"/>
                  </a:lnTo>
                  <a:lnTo>
                    <a:pt x="1723170" y="878931"/>
                  </a:lnTo>
                  <a:lnTo>
                    <a:pt x="1686261" y="918221"/>
                  </a:lnTo>
                  <a:lnTo>
                    <a:pt x="1673225" y="958850"/>
                  </a:lnTo>
                  <a:lnTo>
                    <a:pt x="1643063" y="1028700"/>
                  </a:lnTo>
                  <a:lnTo>
                    <a:pt x="1620838" y="1120775"/>
                  </a:lnTo>
                  <a:lnTo>
                    <a:pt x="1604963" y="1195388"/>
                  </a:lnTo>
                  <a:lnTo>
                    <a:pt x="1577975" y="1249363"/>
                  </a:lnTo>
                  <a:lnTo>
                    <a:pt x="1597025" y="1349375"/>
                  </a:lnTo>
                  <a:lnTo>
                    <a:pt x="1601788" y="1414463"/>
                  </a:lnTo>
                  <a:lnTo>
                    <a:pt x="1595438" y="1471613"/>
                  </a:lnTo>
                  <a:lnTo>
                    <a:pt x="1557338" y="1533525"/>
                  </a:lnTo>
                  <a:lnTo>
                    <a:pt x="1662113" y="1614488"/>
                  </a:lnTo>
                  <a:lnTo>
                    <a:pt x="1685925" y="1676400"/>
                  </a:lnTo>
                  <a:lnTo>
                    <a:pt x="1671638" y="1738313"/>
                  </a:lnTo>
                  <a:lnTo>
                    <a:pt x="1739900" y="1773238"/>
                  </a:lnTo>
                  <a:lnTo>
                    <a:pt x="1768475" y="1806575"/>
                  </a:lnTo>
                  <a:lnTo>
                    <a:pt x="1757363" y="1852613"/>
                  </a:lnTo>
                  <a:lnTo>
                    <a:pt x="1746250" y="1895475"/>
                  </a:lnTo>
                  <a:lnTo>
                    <a:pt x="1676400" y="1927225"/>
                  </a:lnTo>
                  <a:lnTo>
                    <a:pt x="1639888" y="2014538"/>
                  </a:lnTo>
                  <a:lnTo>
                    <a:pt x="1600200" y="2062163"/>
                  </a:lnTo>
                  <a:lnTo>
                    <a:pt x="1563688" y="2076450"/>
                  </a:lnTo>
                  <a:lnTo>
                    <a:pt x="1533525" y="2116138"/>
                  </a:lnTo>
                  <a:lnTo>
                    <a:pt x="1449388" y="2143125"/>
                  </a:lnTo>
                  <a:lnTo>
                    <a:pt x="1414463" y="2170113"/>
                  </a:lnTo>
                  <a:lnTo>
                    <a:pt x="1397000" y="2205038"/>
                  </a:lnTo>
                  <a:lnTo>
                    <a:pt x="1360488" y="2236788"/>
                  </a:lnTo>
                  <a:lnTo>
                    <a:pt x="1308100" y="2244725"/>
                  </a:lnTo>
                  <a:lnTo>
                    <a:pt x="1254125" y="2232025"/>
                  </a:lnTo>
                  <a:lnTo>
                    <a:pt x="1230313" y="2271713"/>
                  </a:lnTo>
                  <a:lnTo>
                    <a:pt x="1182688" y="2287588"/>
                  </a:lnTo>
                  <a:lnTo>
                    <a:pt x="1147763" y="2311400"/>
                  </a:lnTo>
                  <a:lnTo>
                    <a:pt x="1160463" y="2362200"/>
                  </a:lnTo>
                  <a:lnTo>
                    <a:pt x="1135063" y="2420938"/>
                  </a:lnTo>
                  <a:lnTo>
                    <a:pt x="1058863" y="2449513"/>
                  </a:lnTo>
                  <a:lnTo>
                    <a:pt x="976313" y="2420938"/>
                  </a:lnTo>
                  <a:lnTo>
                    <a:pt x="933450" y="2373313"/>
                  </a:lnTo>
                  <a:lnTo>
                    <a:pt x="866775" y="2405063"/>
                  </a:lnTo>
                  <a:lnTo>
                    <a:pt x="876300" y="2473325"/>
                  </a:lnTo>
                  <a:lnTo>
                    <a:pt x="904875" y="2552700"/>
                  </a:lnTo>
                  <a:lnTo>
                    <a:pt x="890588" y="2595563"/>
                  </a:lnTo>
                  <a:lnTo>
                    <a:pt x="900113" y="2654300"/>
                  </a:lnTo>
                  <a:lnTo>
                    <a:pt x="915988" y="2716213"/>
                  </a:lnTo>
                  <a:lnTo>
                    <a:pt x="854075" y="2771775"/>
                  </a:lnTo>
                  <a:lnTo>
                    <a:pt x="839788" y="2857500"/>
                  </a:lnTo>
                  <a:lnTo>
                    <a:pt x="842963" y="2921000"/>
                  </a:lnTo>
                  <a:lnTo>
                    <a:pt x="790575" y="2995613"/>
                  </a:lnTo>
                  <a:lnTo>
                    <a:pt x="690563" y="3011488"/>
                  </a:lnTo>
                  <a:lnTo>
                    <a:pt x="644525" y="3071813"/>
                  </a:lnTo>
                  <a:lnTo>
                    <a:pt x="606425" y="3128963"/>
                  </a:lnTo>
                  <a:lnTo>
                    <a:pt x="590550" y="3201988"/>
                  </a:lnTo>
                  <a:lnTo>
                    <a:pt x="633413" y="3257550"/>
                  </a:lnTo>
                  <a:lnTo>
                    <a:pt x="723900" y="3302000"/>
                  </a:lnTo>
                  <a:lnTo>
                    <a:pt x="787400" y="3328988"/>
                  </a:lnTo>
                  <a:lnTo>
                    <a:pt x="785813" y="3390900"/>
                  </a:lnTo>
                  <a:lnTo>
                    <a:pt x="763588" y="3467100"/>
                  </a:lnTo>
                  <a:lnTo>
                    <a:pt x="725488" y="3554413"/>
                  </a:lnTo>
                  <a:lnTo>
                    <a:pt x="684213" y="3546475"/>
                  </a:lnTo>
                  <a:lnTo>
                    <a:pt x="652463" y="3562350"/>
                  </a:lnTo>
                  <a:lnTo>
                    <a:pt x="600075" y="3609975"/>
                  </a:lnTo>
                  <a:lnTo>
                    <a:pt x="595313" y="3671888"/>
                  </a:lnTo>
                  <a:lnTo>
                    <a:pt x="544513" y="3773488"/>
                  </a:lnTo>
                  <a:lnTo>
                    <a:pt x="447675" y="3849688"/>
                  </a:lnTo>
                  <a:lnTo>
                    <a:pt x="406400" y="3905250"/>
                  </a:lnTo>
                  <a:lnTo>
                    <a:pt x="409575" y="3971925"/>
                  </a:lnTo>
                  <a:lnTo>
                    <a:pt x="438150" y="4029075"/>
                  </a:lnTo>
                  <a:lnTo>
                    <a:pt x="471488" y="4086225"/>
                  </a:lnTo>
                  <a:lnTo>
                    <a:pt x="492125" y="4129088"/>
                  </a:lnTo>
                  <a:lnTo>
                    <a:pt x="495300" y="4164013"/>
                  </a:lnTo>
                  <a:lnTo>
                    <a:pt x="452438" y="4171950"/>
                  </a:lnTo>
                  <a:lnTo>
                    <a:pt x="347663" y="4110038"/>
                  </a:lnTo>
                  <a:lnTo>
                    <a:pt x="263525" y="4116388"/>
                  </a:lnTo>
                  <a:lnTo>
                    <a:pt x="163513" y="4116388"/>
                  </a:lnTo>
                  <a:lnTo>
                    <a:pt x="144463" y="4062413"/>
                  </a:lnTo>
                  <a:lnTo>
                    <a:pt x="111125" y="3957638"/>
                  </a:lnTo>
                  <a:lnTo>
                    <a:pt x="85725" y="3895725"/>
                  </a:lnTo>
                  <a:lnTo>
                    <a:pt x="15875" y="3876675"/>
                  </a:lnTo>
                  <a:lnTo>
                    <a:pt x="23813" y="3787775"/>
                  </a:lnTo>
                  <a:lnTo>
                    <a:pt x="0" y="3721100"/>
                  </a:lnTo>
                  <a:lnTo>
                    <a:pt x="39688" y="3611563"/>
                  </a:lnTo>
                  <a:lnTo>
                    <a:pt x="109538" y="3500438"/>
                  </a:lnTo>
                  <a:lnTo>
                    <a:pt x="95250" y="3402013"/>
                  </a:lnTo>
                  <a:lnTo>
                    <a:pt x="123825" y="3330575"/>
                  </a:lnTo>
                  <a:lnTo>
                    <a:pt x="171450" y="3249613"/>
                  </a:lnTo>
                  <a:lnTo>
                    <a:pt x="149225" y="3138488"/>
                  </a:lnTo>
                  <a:lnTo>
                    <a:pt x="166688" y="3057525"/>
                  </a:lnTo>
                  <a:lnTo>
                    <a:pt x="158750" y="2916238"/>
                  </a:lnTo>
                  <a:lnTo>
                    <a:pt x="163513" y="2867025"/>
                  </a:lnTo>
                  <a:lnTo>
                    <a:pt x="158750" y="2778125"/>
                  </a:lnTo>
                  <a:lnTo>
                    <a:pt x="153988" y="2686050"/>
                  </a:lnTo>
                  <a:lnTo>
                    <a:pt x="152400" y="2616200"/>
                  </a:lnTo>
                  <a:lnTo>
                    <a:pt x="158750" y="2563813"/>
                  </a:lnTo>
                  <a:lnTo>
                    <a:pt x="157163" y="2481263"/>
                  </a:lnTo>
                  <a:lnTo>
                    <a:pt x="152400" y="2411413"/>
                  </a:lnTo>
                  <a:lnTo>
                    <a:pt x="149225" y="2300288"/>
                  </a:lnTo>
                  <a:lnTo>
                    <a:pt x="158750" y="2220913"/>
                  </a:lnTo>
                  <a:lnTo>
                    <a:pt x="173038" y="2163763"/>
                  </a:lnTo>
                  <a:lnTo>
                    <a:pt x="196850" y="2111375"/>
                  </a:lnTo>
                  <a:lnTo>
                    <a:pt x="249238" y="2058988"/>
                  </a:lnTo>
                  <a:lnTo>
                    <a:pt x="249238" y="2006600"/>
                  </a:lnTo>
                  <a:lnTo>
                    <a:pt x="230188" y="1968500"/>
                  </a:lnTo>
                  <a:lnTo>
                    <a:pt x="196850" y="1890713"/>
                  </a:lnTo>
                  <a:lnTo>
                    <a:pt x="230188" y="1824038"/>
                  </a:lnTo>
                  <a:lnTo>
                    <a:pt x="273050" y="1781175"/>
                  </a:lnTo>
                  <a:lnTo>
                    <a:pt x="295275" y="1711325"/>
                  </a:lnTo>
                  <a:lnTo>
                    <a:pt x="282575" y="1635125"/>
                  </a:lnTo>
                  <a:lnTo>
                    <a:pt x="314325" y="1590675"/>
                  </a:lnTo>
                  <a:lnTo>
                    <a:pt x="352425" y="1514475"/>
                  </a:lnTo>
                  <a:lnTo>
                    <a:pt x="366713" y="1454150"/>
                  </a:lnTo>
                  <a:lnTo>
                    <a:pt x="333375" y="1357313"/>
                  </a:lnTo>
                  <a:lnTo>
                    <a:pt x="325438" y="1300163"/>
                  </a:lnTo>
                  <a:lnTo>
                    <a:pt x="301625" y="1235075"/>
                  </a:lnTo>
                  <a:lnTo>
                    <a:pt x="287338" y="1171575"/>
                  </a:lnTo>
                  <a:lnTo>
                    <a:pt x="296863" y="1114425"/>
                  </a:lnTo>
                  <a:lnTo>
                    <a:pt x="328613" y="1068388"/>
                  </a:lnTo>
                  <a:lnTo>
                    <a:pt x="358775" y="1035050"/>
                  </a:lnTo>
                  <a:lnTo>
                    <a:pt x="361950" y="996950"/>
                  </a:lnTo>
                  <a:lnTo>
                    <a:pt x="376238" y="954088"/>
                  </a:lnTo>
                  <a:lnTo>
                    <a:pt x="373063" y="915988"/>
                  </a:lnTo>
                  <a:lnTo>
                    <a:pt x="373063" y="857250"/>
                  </a:lnTo>
                  <a:lnTo>
                    <a:pt x="427038" y="836613"/>
                  </a:lnTo>
                  <a:lnTo>
                    <a:pt x="431800" y="801688"/>
                  </a:lnTo>
                  <a:lnTo>
                    <a:pt x="434975" y="769938"/>
                  </a:lnTo>
                  <a:lnTo>
                    <a:pt x="455613" y="738188"/>
                  </a:lnTo>
                  <a:lnTo>
                    <a:pt x="484188" y="692150"/>
                  </a:lnTo>
                  <a:lnTo>
                    <a:pt x="504825" y="636588"/>
                  </a:lnTo>
                  <a:lnTo>
                    <a:pt x="541338" y="596900"/>
                  </a:lnTo>
                  <a:lnTo>
                    <a:pt x="509588" y="554038"/>
                  </a:lnTo>
                  <a:lnTo>
                    <a:pt x="517525" y="508000"/>
                  </a:lnTo>
                  <a:lnTo>
                    <a:pt x="496888" y="428625"/>
                  </a:lnTo>
                  <a:lnTo>
                    <a:pt x="488950" y="355600"/>
                  </a:lnTo>
                  <a:lnTo>
                    <a:pt x="541338" y="312738"/>
                  </a:lnTo>
                  <a:lnTo>
                    <a:pt x="587375" y="288925"/>
                  </a:lnTo>
                  <a:lnTo>
                    <a:pt x="623888" y="273050"/>
                  </a:lnTo>
                  <a:lnTo>
                    <a:pt x="627063" y="217488"/>
                  </a:lnTo>
                  <a:lnTo>
                    <a:pt x="631825" y="174625"/>
                  </a:lnTo>
                  <a:lnTo>
                    <a:pt x="609936" y="144315"/>
                  </a:lnTo>
                  <a:lnTo>
                    <a:pt x="655638" y="96838"/>
                  </a:lnTo>
                  <a:lnTo>
                    <a:pt x="684213" y="77788"/>
                  </a:lnTo>
                  <a:lnTo>
                    <a:pt x="696852" y="43112"/>
                  </a:lnTo>
                  <a:lnTo>
                    <a:pt x="719138" y="15875"/>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3" name="Freeform 218">
              <a:extLst>
                <a:ext uri="{FF2B5EF4-FFF2-40B4-BE49-F238E27FC236}">
                  <a16:creationId xmlns:a16="http://schemas.microsoft.com/office/drawing/2014/main" id="{81A729A8-B50F-69B4-7CEB-D364A0841338}"/>
                </a:ext>
              </a:extLst>
            </p:cNvPr>
            <p:cNvSpPr>
              <a:spLocks/>
            </p:cNvSpPr>
            <p:nvPr/>
          </p:nvSpPr>
          <p:spPr bwMode="auto">
            <a:xfrm>
              <a:off x="2879801" y="4638778"/>
              <a:ext cx="212896" cy="223561"/>
            </a:xfrm>
            <a:custGeom>
              <a:avLst/>
              <a:gdLst>
                <a:gd name="T0" fmla="*/ 29 w 877551"/>
                <a:gd name="T1" fmla="*/ 1 h 907257"/>
                <a:gd name="T2" fmla="*/ 37 w 877551"/>
                <a:gd name="T3" fmla="*/ 0 h 907257"/>
                <a:gd name="T4" fmla="*/ 42 w 877551"/>
                <a:gd name="T5" fmla="*/ 1 h 907257"/>
                <a:gd name="T6" fmla="*/ 47 w 877551"/>
                <a:gd name="T7" fmla="*/ 1 h 907257"/>
                <a:gd name="T8" fmla="*/ 53 w 877551"/>
                <a:gd name="T9" fmla="*/ 3 h 907257"/>
                <a:gd name="T10" fmla="*/ 57 w 877551"/>
                <a:gd name="T11" fmla="*/ 5 h 907257"/>
                <a:gd name="T12" fmla="*/ 63 w 877551"/>
                <a:gd name="T13" fmla="*/ 4 h 907257"/>
                <a:gd name="T14" fmla="*/ 67 w 877551"/>
                <a:gd name="T15" fmla="*/ 6 h 907257"/>
                <a:gd name="T16" fmla="*/ 74 w 877551"/>
                <a:gd name="T17" fmla="*/ 8 h 907257"/>
                <a:gd name="T18" fmla="*/ 74 w 877551"/>
                <a:gd name="T19" fmla="*/ 18 h 907257"/>
                <a:gd name="T20" fmla="*/ 75 w 877551"/>
                <a:gd name="T21" fmla="*/ 25 h 907257"/>
                <a:gd name="T22" fmla="*/ 76 w 877551"/>
                <a:gd name="T23" fmla="*/ 36 h 907257"/>
                <a:gd name="T24" fmla="*/ 78 w 877551"/>
                <a:gd name="T25" fmla="*/ 43 h 907257"/>
                <a:gd name="T26" fmla="*/ 82 w 877551"/>
                <a:gd name="T27" fmla="*/ 41 h 907257"/>
                <a:gd name="T28" fmla="*/ 88 w 877551"/>
                <a:gd name="T29" fmla="*/ 42 h 907257"/>
                <a:gd name="T30" fmla="*/ 95 w 877551"/>
                <a:gd name="T31" fmla="*/ 43 h 907257"/>
                <a:gd name="T32" fmla="*/ 103 w 877551"/>
                <a:gd name="T33" fmla="*/ 45 h 907257"/>
                <a:gd name="T34" fmla="*/ 105 w 877551"/>
                <a:gd name="T35" fmla="*/ 48 h 907257"/>
                <a:gd name="T36" fmla="*/ 110 w 877551"/>
                <a:gd name="T37" fmla="*/ 53 h 907257"/>
                <a:gd name="T38" fmla="*/ 113 w 877551"/>
                <a:gd name="T39" fmla="*/ 67 h 907257"/>
                <a:gd name="T40" fmla="*/ 117 w 877551"/>
                <a:gd name="T41" fmla="*/ 70 h 907257"/>
                <a:gd name="T42" fmla="*/ 123 w 877551"/>
                <a:gd name="T43" fmla="*/ 68 h 907257"/>
                <a:gd name="T44" fmla="*/ 130 w 877551"/>
                <a:gd name="T45" fmla="*/ 70 h 907257"/>
                <a:gd name="T46" fmla="*/ 131 w 877551"/>
                <a:gd name="T47" fmla="*/ 76 h 907257"/>
                <a:gd name="T48" fmla="*/ 130 w 877551"/>
                <a:gd name="T49" fmla="*/ 82 h 907257"/>
                <a:gd name="T50" fmla="*/ 131 w 877551"/>
                <a:gd name="T51" fmla="*/ 86 h 907257"/>
                <a:gd name="T52" fmla="*/ 131 w 877551"/>
                <a:gd name="T53" fmla="*/ 89 h 907257"/>
                <a:gd name="T54" fmla="*/ 127 w 877551"/>
                <a:gd name="T55" fmla="*/ 98 h 907257"/>
                <a:gd name="T56" fmla="*/ 126 w 877551"/>
                <a:gd name="T57" fmla="*/ 108 h 907257"/>
                <a:gd name="T58" fmla="*/ 122 w 877551"/>
                <a:gd name="T59" fmla="*/ 115 h 907257"/>
                <a:gd name="T60" fmla="*/ 110 w 877551"/>
                <a:gd name="T61" fmla="*/ 123 h 907257"/>
                <a:gd name="T62" fmla="*/ 101 w 877551"/>
                <a:gd name="T63" fmla="*/ 125 h 907257"/>
                <a:gd name="T64" fmla="*/ 91 w 877551"/>
                <a:gd name="T65" fmla="*/ 128 h 907257"/>
                <a:gd name="T66" fmla="*/ 85 w 877551"/>
                <a:gd name="T67" fmla="*/ 127 h 907257"/>
                <a:gd name="T68" fmla="*/ 74 w 877551"/>
                <a:gd name="T69" fmla="*/ 124 h 907257"/>
                <a:gd name="T70" fmla="*/ 67 w 877551"/>
                <a:gd name="T71" fmla="*/ 124 h 907257"/>
                <a:gd name="T72" fmla="*/ 68 w 877551"/>
                <a:gd name="T73" fmla="*/ 116 h 907257"/>
                <a:gd name="T74" fmla="*/ 75 w 877551"/>
                <a:gd name="T75" fmla="*/ 104 h 907257"/>
                <a:gd name="T76" fmla="*/ 79 w 877551"/>
                <a:gd name="T77" fmla="*/ 98 h 907257"/>
                <a:gd name="T78" fmla="*/ 78 w 877551"/>
                <a:gd name="T79" fmla="*/ 92 h 907257"/>
                <a:gd name="T80" fmla="*/ 64 w 877551"/>
                <a:gd name="T81" fmla="*/ 89 h 907257"/>
                <a:gd name="T82" fmla="*/ 47 w 877551"/>
                <a:gd name="T83" fmla="*/ 78 h 907257"/>
                <a:gd name="T84" fmla="*/ 35 w 877551"/>
                <a:gd name="T85" fmla="*/ 74 h 907257"/>
                <a:gd name="T86" fmla="*/ 26 w 877551"/>
                <a:gd name="T87" fmla="*/ 69 h 907257"/>
                <a:gd name="T88" fmla="*/ 22 w 877551"/>
                <a:gd name="T89" fmla="*/ 62 h 907257"/>
                <a:gd name="T90" fmla="*/ 6 w 877551"/>
                <a:gd name="T91" fmla="*/ 49 h 907257"/>
                <a:gd name="T92" fmla="*/ 0 w 877551"/>
                <a:gd name="T93" fmla="*/ 41 h 907257"/>
                <a:gd name="T94" fmla="*/ 4 w 877551"/>
                <a:gd name="T95" fmla="*/ 34 h 907257"/>
                <a:gd name="T96" fmla="*/ 7 w 877551"/>
                <a:gd name="T97" fmla="*/ 30 h 907257"/>
                <a:gd name="T98" fmla="*/ 11 w 877551"/>
                <a:gd name="T99" fmla="*/ 26 h 907257"/>
                <a:gd name="T100" fmla="*/ 18 w 877551"/>
                <a:gd name="T101" fmla="*/ 23 h 907257"/>
                <a:gd name="T102" fmla="*/ 17 w 877551"/>
                <a:gd name="T103" fmla="*/ 15 h 907257"/>
                <a:gd name="T104" fmla="*/ 19 w 877551"/>
                <a:gd name="T105" fmla="*/ 8 h 907257"/>
                <a:gd name="T106" fmla="*/ 20 w 877551"/>
                <a:gd name="T107" fmla="*/ 4 h 907257"/>
                <a:gd name="T108" fmla="*/ 29 w 877551"/>
                <a:gd name="T109" fmla="*/ 1 h 90725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7551"/>
                <a:gd name="T166" fmla="*/ 0 h 907257"/>
                <a:gd name="T167" fmla="*/ 877551 w 877551"/>
                <a:gd name="T168" fmla="*/ 907257 h 90725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7551" h="907257">
                  <a:moveTo>
                    <a:pt x="193339" y="3720"/>
                  </a:moveTo>
                  <a:lnTo>
                    <a:pt x="244078" y="0"/>
                  </a:lnTo>
                  <a:lnTo>
                    <a:pt x="280651" y="3720"/>
                  </a:lnTo>
                  <a:lnTo>
                    <a:pt x="314325" y="7144"/>
                  </a:lnTo>
                  <a:lnTo>
                    <a:pt x="351234" y="21432"/>
                  </a:lnTo>
                  <a:lnTo>
                    <a:pt x="378618" y="33338"/>
                  </a:lnTo>
                  <a:lnTo>
                    <a:pt x="417909" y="30957"/>
                  </a:lnTo>
                  <a:lnTo>
                    <a:pt x="447339" y="44995"/>
                  </a:lnTo>
                  <a:lnTo>
                    <a:pt x="494109" y="58341"/>
                  </a:lnTo>
                  <a:lnTo>
                    <a:pt x="495300" y="126207"/>
                  </a:lnTo>
                  <a:lnTo>
                    <a:pt x="498871" y="179785"/>
                  </a:lnTo>
                  <a:lnTo>
                    <a:pt x="506076" y="254545"/>
                  </a:lnTo>
                  <a:lnTo>
                    <a:pt x="517189" y="303757"/>
                  </a:lnTo>
                  <a:lnTo>
                    <a:pt x="548878" y="294085"/>
                  </a:lnTo>
                  <a:lnTo>
                    <a:pt x="585451" y="295820"/>
                  </a:lnTo>
                  <a:lnTo>
                    <a:pt x="633076" y="303757"/>
                  </a:lnTo>
                  <a:lnTo>
                    <a:pt x="687051" y="316457"/>
                  </a:lnTo>
                  <a:lnTo>
                    <a:pt x="699751" y="338682"/>
                  </a:lnTo>
                  <a:lnTo>
                    <a:pt x="731501" y="379957"/>
                  </a:lnTo>
                  <a:lnTo>
                    <a:pt x="750551" y="476795"/>
                  </a:lnTo>
                  <a:lnTo>
                    <a:pt x="777539" y="499020"/>
                  </a:lnTo>
                  <a:lnTo>
                    <a:pt x="816768" y="484585"/>
                  </a:lnTo>
                  <a:lnTo>
                    <a:pt x="867965" y="497682"/>
                  </a:lnTo>
                  <a:lnTo>
                    <a:pt x="877551" y="540295"/>
                  </a:lnTo>
                  <a:lnTo>
                    <a:pt x="867965" y="585788"/>
                  </a:lnTo>
                  <a:lnTo>
                    <a:pt x="872789" y="608557"/>
                  </a:lnTo>
                  <a:lnTo>
                    <a:pt x="875109" y="631032"/>
                  </a:lnTo>
                  <a:lnTo>
                    <a:pt x="846534" y="697707"/>
                  </a:lnTo>
                  <a:lnTo>
                    <a:pt x="837864" y="768895"/>
                  </a:lnTo>
                  <a:lnTo>
                    <a:pt x="812006" y="819150"/>
                  </a:lnTo>
                  <a:lnTo>
                    <a:pt x="733425" y="876300"/>
                  </a:lnTo>
                  <a:lnTo>
                    <a:pt x="671176" y="889545"/>
                  </a:lnTo>
                  <a:lnTo>
                    <a:pt x="607218" y="907257"/>
                  </a:lnTo>
                  <a:lnTo>
                    <a:pt x="566401" y="899070"/>
                  </a:lnTo>
                  <a:lnTo>
                    <a:pt x="490537" y="878682"/>
                  </a:lnTo>
                  <a:lnTo>
                    <a:pt x="444164" y="878432"/>
                  </a:lnTo>
                  <a:lnTo>
                    <a:pt x="454818" y="823913"/>
                  </a:lnTo>
                  <a:lnTo>
                    <a:pt x="500062" y="738188"/>
                  </a:lnTo>
                  <a:lnTo>
                    <a:pt x="529828" y="692944"/>
                  </a:lnTo>
                  <a:lnTo>
                    <a:pt x="520303" y="651272"/>
                  </a:lnTo>
                  <a:lnTo>
                    <a:pt x="425114" y="630782"/>
                  </a:lnTo>
                  <a:lnTo>
                    <a:pt x="313989" y="551407"/>
                  </a:lnTo>
                  <a:lnTo>
                    <a:pt x="235743" y="527447"/>
                  </a:lnTo>
                  <a:lnTo>
                    <a:pt x="176212" y="491728"/>
                  </a:lnTo>
                  <a:lnTo>
                    <a:pt x="148828" y="442913"/>
                  </a:lnTo>
                  <a:lnTo>
                    <a:pt x="39290" y="347663"/>
                  </a:lnTo>
                  <a:lnTo>
                    <a:pt x="0" y="291703"/>
                  </a:lnTo>
                  <a:lnTo>
                    <a:pt x="28239" y="245020"/>
                  </a:lnTo>
                  <a:lnTo>
                    <a:pt x="48815" y="210741"/>
                  </a:lnTo>
                  <a:lnTo>
                    <a:pt x="71437" y="185738"/>
                  </a:lnTo>
                  <a:lnTo>
                    <a:pt x="119062" y="165497"/>
                  </a:lnTo>
                  <a:lnTo>
                    <a:pt x="115490" y="109538"/>
                  </a:lnTo>
                  <a:lnTo>
                    <a:pt x="128251" y="59282"/>
                  </a:lnTo>
                  <a:lnTo>
                    <a:pt x="135731" y="26194"/>
                  </a:lnTo>
                  <a:lnTo>
                    <a:pt x="193339" y="3720"/>
                  </a:lnTo>
                  <a:close/>
                </a:path>
              </a:pathLst>
            </a:custGeom>
            <a:solidFill>
              <a:srgbClr val="3A5A4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4" name="Freeform 219">
              <a:extLst>
                <a:ext uri="{FF2B5EF4-FFF2-40B4-BE49-F238E27FC236}">
                  <a16:creationId xmlns:a16="http://schemas.microsoft.com/office/drawing/2014/main" id="{34D33590-1ADF-5405-56BF-27ABF4D1AC23}"/>
                </a:ext>
              </a:extLst>
            </p:cNvPr>
            <p:cNvSpPr>
              <a:spLocks/>
            </p:cNvSpPr>
            <p:nvPr/>
          </p:nvSpPr>
          <p:spPr bwMode="auto">
            <a:xfrm>
              <a:off x="2998576" y="4943007"/>
              <a:ext cx="136701" cy="156723"/>
            </a:xfrm>
            <a:custGeom>
              <a:avLst/>
              <a:gdLst>
                <a:gd name="T0" fmla="*/ 2147483647 w 307"/>
                <a:gd name="T1" fmla="*/ 2147483647 h 341"/>
                <a:gd name="T2" fmla="*/ 2147483647 w 307"/>
                <a:gd name="T3" fmla="*/ 2147483647 h 341"/>
                <a:gd name="T4" fmla="*/ 0 w 307"/>
                <a:gd name="T5" fmla="*/ 2147483647 h 341"/>
                <a:gd name="T6" fmla="*/ 2147483647 w 307"/>
                <a:gd name="T7" fmla="*/ 2147483647 h 341"/>
                <a:gd name="T8" fmla="*/ 2147483647 w 307"/>
                <a:gd name="T9" fmla="*/ 2147483647 h 341"/>
                <a:gd name="T10" fmla="*/ 2147483647 w 307"/>
                <a:gd name="T11" fmla="*/ 2147483647 h 341"/>
                <a:gd name="T12" fmla="*/ 2147483647 w 307"/>
                <a:gd name="T13" fmla="*/ 2147483647 h 341"/>
                <a:gd name="T14" fmla="*/ 2147483647 w 307"/>
                <a:gd name="T15" fmla="*/ 2147483647 h 341"/>
                <a:gd name="T16" fmla="*/ 2147483647 w 307"/>
                <a:gd name="T17" fmla="*/ 2147483647 h 341"/>
                <a:gd name="T18" fmla="*/ 2147483647 w 307"/>
                <a:gd name="T19" fmla="*/ 2147483647 h 341"/>
                <a:gd name="T20" fmla="*/ 2147483647 w 307"/>
                <a:gd name="T21" fmla="*/ 2147483647 h 341"/>
                <a:gd name="T22" fmla="*/ 2147483647 w 307"/>
                <a:gd name="T23" fmla="*/ 2147483647 h 341"/>
                <a:gd name="T24" fmla="*/ 2147483647 w 307"/>
                <a:gd name="T25" fmla="*/ 2147483647 h 341"/>
                <a:gd name="T26" fmla="*/ 2147483647 w 307"/>
                <a:gd name="T27" fmla="*/ 2147483647 h 341"/>
                <a:gd name="T28" fmla="*/ 2147483647 w 307"/>
                <a:gd name="T29" fmla="*/ 2147483647 h 341"/>
                <a:gd name="T30" fmla="*/ 2147483647 w 307"/>
                <a:gd name="T31" fmla="*/ 2147483647 h 341"/>
                <a:gd name="T32" fmla="*/ 2147483647 w 307"/>
                <a:gd name="T33" fmla="*/ 2147483647 h 341"/>
                <a:gd name="T34" fmla="*/ 2147483647 w 307"/>
                <a:gd name="T35" fmla="*/ 2147483647 h 341"/>
                <a:gd name="T36" fmla="*/ 2147483647 w 307"/>
                <a:gd name="T37" fmla="*/ 2147483647 h 341"/>
                <a:gd name="T38" fmla="*/ 2147483647 w 307"/>
                <a:gd name="T39" fmla="*/ 2147483647 h 341"/>
                <a:gd name="T40" fmla="*/ 2147483647 w 307"/>
                <a:gd name="T41" fmla="*/ 2147483647 h 341"/>
                <a:gd name="T42" fmla="*/ 2147483647 w 307"/>
                <a:gd name="T43" fmla="*/ 2147483647 h 341"/>
                <a:gd name="T44" fmla="*/ 2147483647 w 307"/>
                <a:gd name="T45" fmla="*/ 2147483647 h 341"/>
                <a:gd name="T46" fmla="*/ 2147483647 w 307"/>
                <a:gd name="T47" fmla="*/ 2147483647 h 341"/>
                <a:gd name="T48" fmla="*/ 2147483647 w 307"/>
                <a:gd name="T49" fmla="*/ 2147483647 h 341"/>
                <a:gd name="T50" fmla="*/ 2147483647 w 307"/>
                <a:gd name="T51" fmla="*/ 2147483647 h 341"/>
                <a:gd name="T52" fmla="*/ 2147483647 w 307"/>
                <a:gd name="T53" fmla="*/ 2147483647 h 341"/>
                <a:gd name="T54" fmla="*/ 2147483647 w 307"/>
                <a:gd name="T55" fmla="*/ 2147483647 h 341"/>
                <a:gd name="T56" fmla="*/ 2147483647 w 307"/>
                <a:gd name="T57" fmla="*/ 2147483647 h 341"/>
                <a:gd name="T58" fmla="*/ 2147483647 w 307"/>
                <a:gd name="T59" fmla="*/ 2147483647 h 341"/>
                <a:gd name="T60" fmla="*/ 2147483647 w 307"/>
                <a:gd name="T61" fmla="*/ 2147483647 h 341"/>
                <a:gd name="T62" fmla="*/ 2147483647 w 307"/>
                <a:gd name="T63" fmla="*/ 2147483647 h 341"/>
                <a:gd name="T64" fmla="*/ 2147483647 w 307"/>
                <a:gd name="T65" fmla="*/ 2147483647 h 341"/>
                <a:gd name="T66" fmla="*/ 2147483647 w 307"/>
                <a:gd name="T67" fmla="*/ 2147483647 h 341"/>
                <a:gd name="T68" fmla="*/ 2147483647 w 307"/>
                <a:gd name="T69" fmla="*/ 2147483647 h 341"/>
                <a:gd name="T70" fmla="*/ 2147483647 w 307"/>
                <a:gd name="T71" fmla="*/ 2147483647 h 341"/>
                <a:gd name="T72" fmla="*/ 2147483647 w 307"/>
                <a:gd name="T73" fmla="*/ 0 h 341"/>
                <a:gd name="T74" fmla="*/ 2147483647 w 307"/>
                <a:gd name="T75" fmla="*/ 2147483647 h 34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07"/>
                <a:gd name="T115" fmla="*/ 0 h 341"/>
                <a:gd name="T116" fmla="*/ 307 w 307"/>
                <a:gd name="T117" fmla="*/ 341 h 34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07" h="341">
                  <a:moveTo>
                    <a:pt x="35" y="38"/>
                  </a:moveTo>
                  <a:lnTo>
                    <a:pt x="18" y="110"/>
                  </a:lnTo>
                  <a:lnTo>
                    <a:pt x="0" y="150"/>
                  </a:lnTo>
                  <a:lnTo>
                    <a:pt x="12" y="210"/>
                  </a:lnTo>
                  <a:lnTo>
                    <a:pt x="14" y="243"/>
                  </a:lnTo>
                  <a:lnTo>
                    <a:pt x="12" y="275"/>
                  </a:lnTo>
                  <a:lnTo>
                    <a:pt x="29" y="294"/>
                  </a:lnTo>
                  <a:lnTo>
                    <a:pt x="45" y="303"/>
                  </a:lnTo>
                  <a:lnTo>
                    <a:pt x="71" y="310"/>
                  </a:lnTo>
                  <a:lnTo>
                    <a:pt x="96" y="325"/>
                  </a:lnTo>
                  <a:lnTo>
                    <a:pt x="120" y="341"/>
                  </a:lnTo>
                  <a:lnTo>
                    <a:pt x="138" y="336"/>
                  </a:lnTo>
                  <a:lnTo>
                    <a:pt x="162" y="333"/>
                  </a:lnTo>
                  <a:lnTo>
                    <a:pt x="177" y="333"/>
                  </a:lnTo>
                  <a:lnTo>
                    <a:pt x="194" y="333"/>
                  </a:lnTo>
                  <a:lnTo>
                    <a:pt x="212" y="333"/>
                  </a:lnTo>
                  <a:lnTo>
                    <a:pt x="223" y="323"/>
                  </a:lnTo>
                  <a:lnTo>
                    <a:pt x="237" y="309"/>
                  </a:lnTo>
                  <a:lnTo>
                    <a:pt x="253" y="304"/>
                  </a:lnTo>
                  <a:lnTo>
                    <a:pt x="267" y="295"/>
                  </a:lnTo>
                  <a:lnTo>
                    <a:pt x="283" y="282"/>
                  </a:lnTo>
                  <a:lnTo>
                    <a:pt x="288" y="268"/>
                  </a:lnTo>
                  <a:lnTo>
                    <a:pt x="296" y="251"/>
                  </a:lnTo>
                  <a:lnTo>
                    <a:pt x="305" y="238"/>
                  </a:lnTo>
                  <a:lnTo>
                    <a:pt x="290" y="215"/>
                  </a:lnTo>
                  <a:lnTo>
                    <a:pt x="297" y="191"/>
                  </a:lnTo>
                  <a:lnTo>
                    <a:pt x="307" y="168"/>
                  </a:lnTo>
                  <a:lnTo>
                    <a:pt x="291" y="156"/>
                  </a:lnTo>
                  <a:lnTo>
                    <a:pt x="272" y="140"/>
                  </a:lnTo>
                  <a:lnTo>
                    <a:pt x="248" y="120"/>
                  </a:lnTo>
                  <a:lnTo>
                    <a:pt x="211" y="109"/>
                  </a:lnTo>
                  <a:lnTo>
                    <a:pt x="169" y="72"/>
                  </a:lnTo>
                  <a:lnTo>
                    <a:pt x="138" y="70"/>
                  </a:lnTo>
                  <a:lnTo>
                    <a:pt x="129" y="57"/>
                  </a:lnTo>
                  <a:lnTo>
                    <a:pt x="100" y="39"/>
                  </a:lnTo>
                  <a:lnTo>
                    <a:pt x="88" y="15"/>
                  </a:lnTo>
                  <a:lnTo>
                    <a:pt x="51" y="0"/>
                  </a:lnTo>
                  <a:lnTo>
                    <a:pt x="35" y="38"/>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5" name="Freeform 220">
              <a:extLst>
                <a:ext uri="{FF2B5EF4-FFF2-40B4-BE49-F238E27FC236}">
                  <a16:creationId xmlns:a16="http://schemas.microsoft.com/office/drawing/2014/main" id="{0F84E61B-1A07-58C1-DEF9-6635261D17DE}"/>
                </a:ext>
              </a:extLst>
            </p:cNvPr>
            <p:cNvSpPr>
              <a:spLocks/>
            </p:cNvSpPr>
            <p:nvPr/>
          </p:nvSpPr>
          <p:spPr bwMode="auto">
            <a:xfrm>
              <a:off x="2678110" y="5754284"/>
              <a:ext cx="73954" cy="106020"/>
            </a:xfrm>
            <a:custGeom>
              <a:avLst/>
              <a:gdLst>
                <a:gd name="T0" fmla="*/ 33 w 309562"/>
                <a:gd name="T1" fmla="*/ 10 h 426730"/>
                <a:gd name="T2" fmla="*/ 29 w 309562"/>
                <a:gd name="T3" fmla="*/ 2 h 426730"/>
                <a:gd name="T4" fmla="*/ 20 w 309562"/>
                <a:gd name="T5" fmla="*/ 0 h 426730"/>
                <a:gd name="T6" fmla="*/ 13 w 309562"/>
                <a:gd name="T7" fmla="*/ 5 h 426730"/>
                <a:gd name="T8" fmla="*/ 9 w 309562"/>
                <a:gd name="T9" fmla="*/ 14 h 426730"/>
                <a:gd name="T10" fmla="*/ 20 w 309562"/>
                <a:gd name="T11" fmla="*/ 12 h 426730"/>
                <a:gd name="T12" fmla="*/ 20 w 309562"/>
                <a:gd name="T13" fmla="*/ 21 h 426730"/>
                <a:gd name="T14" fmla="*/ 16 w 309562"/>
                <a:gd name="T15" fmla="*/ 24 h 426730"/>
                <a:gd name="T16" fmla="*/ 14 w 309562"/>
                <a:gd name="T17" fmla="*/ 27 h 426730"/>
                <a:gd name="T18" fmla="*/ 12 w 309562"/>
                <a:gd name="T19" fmla="*/ 30 h 426730"/>
                <a:gd name="T20" fmla="*/ 16 w 309562"/>
                <a:gd name="T21" fmla="*/ 33 h 426730"/>
                <a:gd name="T22" fmla="*/ 18 w 309562"/>
                <a:gd name="T23" fmla="*/ 36 h 426730"/>
                <a:gd name="T24" fmla="*/ 20 w 309562"/>
                <a:gd name="T25" fmla="*/ 39 h 426730"/>
                <a:gd name="T26" fmla="*/ 21 w 309562"/>
                <a:gd name="T27" fmla="*/ 43 h 426730"/>
                <a:gd name="T28" fmla="*/ 25 w 309562"/>
                <a:gd name="T29" fmla="*/ 48 h 426730"/>
                <a:gd name="T30" fmla="*/ 35 w 309562"/>
                <a:gd name="T31" fmla="*/ 52 h 426730"/>
                <a:gd name="T32" fmla="*/ 34 w 309562"/>
                <a:gd name="T33" fmla="*/ 54 h 426730"/>
                <a:gd name="T34" fmla="*/ 27 w 309562"/>
                <a:gd name="T35" fmla="*/ 52 h 426730"/>
                <a:gd name="T36" fmla="*/ 21 w 309562"/>
                <a:gd name="T37" fmla="*/ 56 h 426730"/>
                <a:gd name="T38" fmla="*/ 18 w 309562"/>
                <a:gd name="T39" fmla="*/ 53 h 426730"/>
                <a:gd name="T40" fmla="*/ 15 w 309562"/>
                <a:gd name="T41" fmla="*/ 55 h 426730"/>
                <a:gd name="T42" fmla="*/ 13 w 309562"/>
                <a:gd name="T43" fmla="*/ 52 h 426730"/>
                <a:gd name="T44" fmla="*/ 10 w 309562"/>
                <a:gd name="T45" fmla="*/ 56 h 426730"/>
                <a:gd name="T46" fmla="*/ 7 w 309562"/>
                <a:gd name="T47" fmla="*/ 56 h 426730"/>
                <a:gd name="T48" fmla="*/ 0 w 309562"/>
                <a:gd name="T49" fmla="*/ 59 h 426730"/>
                <a:gd name="T50" fmla="*/ 1 w 309562"/>
                <a:gd name="T51" fmla="*/ 61 h 426730"/>
                <a:gd name="T52" fmla="*/ 9 w 309562"/>
                <a:gd name="T53" fmla="*/ 61 h 426730"/>
                <a:gd name="T54" fmla="*/ 14 w 309562"/>
                <a:gd name="T55" fmla="*/ 63 h 426730"/>
                <a:gd name="T56" fmla="*/ 29 w 309562"/>
                <a:gd name="T57" fmla="*/ 60 h 426730"/>
                <a:gd name="T58" fmla="*/ 36 w 309562"/>
                <a:gd name="T59" fmla="*/ 60 h 426730"/>
                <a:gd name="T60" fmla="*/ 43 w 309562"/>
                <a:gd name="T61" fmla="*/ 56 h 426730"/>
                <a:gd name="T62" fmla="*/ 33 w 309562"/>
                <a:gd name="T63" fmla="*/ 10 h 4267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9562"/>
                <a:gd name="T97" fmla="*/ 0 h 426730"/>
                <a:gd name="T98" fmla="*/ 309562 w 309562"/>
                <a:gd name="T99" fmla="*/ 426730 h 4267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9562" h="426730">
                  <a:moveTo>
                    <a:pt x="235916" y="69542"/>
                  </a:moveTo>
                  <a:lnTo>
                    <a:pt x="209998" y="11906"/>
                  </a:lnTo>
                  <a:lnTo>
                    <a:pt x="142133" y="0"/>
                  </a:lnTo>
                  <a:lnTo>
                    <a:pt x="89745" y="35718"/>
                  </a:lnTo>
                  <a:lnTo>
                    <a:pt x="68314" y="94059"/>
                  </a:lnTo>
                  <a:lnTo>
                    <a:pt x="146043" y="80942"/>
                  </a:lnTo>
                  <a:lnTo>
                    <a:pt x="146895" y="144065"/>
                  </a:lnTo>
                  <a:lnTo>
                    <a:pt x="114748" y="160734"/>
                  </a:lnTo>
                  <a:lnTo>
                    <a:pt x="99270" y="180975"/>
                  </a:lnTo>
                  <a:lnTo>
                    <a:pt x="86128" y="206337"/>
                  </a:lnTo>
                  <a:lnTo>
                    <a:pt x="116086" y="225337"/>
                  </a:lnTo>
                  <a:lnTo>
                    <a:pt x="130226" y="242887"/>
                  </a:lnTo>
                  <a:lnTo>
                    <a:pt x="146043" y="267135"/>
                  </a:lnTo>
                  <a:lnTo>
                    <a:pt x="148540" y="295001"/>
                  </a:lnTo>
                  <a:lnTo>
                    <a:pt x="178497" y="325400"/>
                  </a:lnTo>
                  <a:lnTo>
                    <a:pt x="249647" y="355799"/>
                  </a:lnTo>
                  <a:lnTo>
                    <a:pt x="242157" y="369732"/>
                  </a:lnTo>
                  <a:lnTo>
                    <a:pt x="194724" y="354532"/>
                  </a:lnTo>
                  <a:lnTo>
                    <a:pt x="153533" y="382398"/>
                  </a:lnTo>
                  <a:lnTo>
                    <a:pt x="129816" y="358332"/>
                  </a:lnTo>
                  <a:lnTo>
                    <a:pt x="108596" y="377332"/>
                  </a:lnTo>
                  <a:lnTo>
                    <a:pt x="92369" y="353266"/>
                  </a:lnTo>
                  <a:lnTo>
                    <a:pt x="74894" y="384931"/>
                  </a:lnTo>
                  <a:lnTo>
                    <a:pt x="52426" y="382398"/>
                  </a:lnTo>
                  <a:lnTo>
                    <a:pt x="0" y="401398"/>
                  </a:lnTo>
                  <a:lnTo>
                    <a:pt x="7489" y="419130"/>
                  </a:lnTo>
                  <a:lnTo>
                    <a:pt x="67405" y="419130"/>
                  </a:lnTo>
                  <a:lnTo>
                    <a:pt x="101107" y="426730"/>
                  </a:lnTo>
                  <a:lnTo>
                    <a:pt x="212200" y="408997"/>
                  </a:lnTo>
                  <a:lnTo>
                    <a:pt x="262129" y="410264"/>
                  </a:lnTo>
                  <a:lnTo>
                    <a:pt x="309562" y="381132"/>
                  </a:lnTo>
                  <a:lnTo>
                    <a:pt x="235916" y="69542"/>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6" name="Freeform 221">
              <a:extLst>
                <a:ext uri="{FF2B5EF4-FFF2-40B4-BE49-F238E27FC236}">
                  <a16:creationId xmlns:a16="http://schemas.microsoft.com/office/drawing/2014/main" id="{F8B52474-6844-CDF5-BA43-8A73710B5BA9}"/>
                </a:ext>
              </a:extLst>
            </p:cNvPr>
            <p:cNvSpPr>
              <a:spLocks/>
            </p:cNvSpPr>
            <p:nvPr/>
          </p:nvSpPr>
          <p:spPr bwMode="auto">
            <a:xfrm>
              <a:off x="2734136" y="5772722"/>
              <a:ext cx="89640" cy="82972"/>
            </a:xfrm>
            <a:custGeom>
              <a:avLst/>
              <a:gdLst>
                <a:gd name="T0" fmla="*/ 0 w 372666"/>
                <a:gd name="T1" fmla="*/ 0 h 341710"/>
                <a:gd name="T2" fmla="*/ 9 w 372666"/>
                <a:gd name="T3" fmla="*/ 7 h 341710"/>
                <a:gd name="T4" fmla="*/ 19 w 372666"/>
                <a:gd name="T5" fmla="*/ 18 h 341710"/>
                <a:gd name="T6" fmla="*/ 27 w 372666"/>
                <a:gd name="T7" fmla="*/ 24 h 341710"/>
                <a:gd name="T8" fmla="*/ 33 w 372666"/>
                <a:gd name="T9" fmla="*/ 31 h 341710"/>
                <a:gd name="T10" fmla="*/ 44 w 372666"/>
                <a:gd name="T11" fmla="*/ 35 h 341710"/>
                <a:gd name="T12" fmla="*/ 50 w 372666"/>
                <a:gd name="T13" fmla="*/ 36 h 341710"/>
                <a:gd name="T14" fmla="*/ 54 w 372666"/>
                <a:gd name="T15" fmla="*/ 39 h 341710"/>
                <a:gd name="T16" fmla="*/ 46 w 372666"/>
                <a:gd name="T17" fmla="*/ 44 h 341710"/>
                <a:gd name="T18" fmla="*/ 36 w 372666"/>
                <a:gd name="T19" fmla="*/ 45 h 341710"/>
                <a:gd name="T20" fmla="*/ 28 w 372666"/>
                <a:gd name="T21" fmla="*/ 44 h 341710"/>
                <a:gd name="T22" fmla="*/ 23 w 372666"/>
                <a:gd name="T23" fmla="*/ 42 h 341710"/>
                <a:gd name="T24" fmla="*/ 11 w 372666"/>
                <a:gd name="T25" fmla="*/ 41 h 341710"/>
                <a:gd name="T26" fmla="*/ 0 w 372666"/>
                <a:gd name="T27" fmla="*/ 0 h 3417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2666"/>
                <a:gd name="T43" fmla="*/ 0 h 341710"/>
                <a:gd name="T44" fmla="*/ 372666 w 372666"/>
                <a:gd name="T45" fmla="*/ 341710 h 3417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2666" h="341710">
                  <a:moveTo>
                    <a:pt x="0" y="0"/>
                  </a:moveTo>
                  <a:lnTo>
                    <a:pt x="59531" y="54769"/>
                  </a:lnTo>
                  <a:lnTo>
                    <a:pt x="129778" y="139303"/>
                  </a:lnTo>
                  <a:lnTo>
                    <a:pt x="185738" y="184547"/>
                  </a:lnTo>
                  <a:lnTo>
                    <a:pt x="232172" y="235744"/>
                  </a:lnTo>
                  <a:lnTo>
                    <a:pt x="305991" y="270272"/>
                  </a:lnTo>
                  <a:lnTo>
                    <a:pt x="346472" y="275035"/>
                  </a:lnTo>
                  <a:lnTo>
                    <a:pt x="372666" y="298847"/>
                  </a:lnTo>
                  <a:lnTo>
                    <a:pt x="321469" y="338138"/>
                  </a:lnTo>
                  <a:lnTo>
                    <a:pt x="253603" y="341710"/>
                  </a:lnTo>
                  <a:lnTo>
                    <a:pt x="195263" y="340519"/>
                  </a:lnTo>
                  <a:lnTo>
                    <a:pt x="157163" y="322660"/>
                  </a:lnTo>
                  <a:lnTo>
                    <a:pt x="73819" y="313135"/>
                  </a:lnTo>
                  <a:lnTo>
                    <a:pt x="0" y="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7" name="Freeform 222">
              <a:extLst>
                <a:ext uri="{FF2B5EF4-FFF2-40B4-BE49-F238E27FC236}">
                  <a16:creationId xmlns:a16="http://schemas.microsoft.com/office/drawing/2014/main" id="{32E6BE0C-F54D-697E-322E-BDCE8DE818EB}"/>
                </a:ext>
              </a:extLst>
            </p:cNvPr>
            <p:cNvSpPr>
              <a:spLocks/>
            </p:cNvSpPr>
            <p:nvPr/>
          </p:nvSpPr>
          <p:spPr bwMode="auto">
            <a:xfrm>
              <a:off x="2727413" y="5855694"/>
              <a:ext cx="40338" cy="23048"/>
            </a:xfrm>
            <a:custGeom>
              <a:avLst/>
              <a:gdLst>
                <a:gd name="T0" fmla="*/ 2147483647 w 139"/>
                <a:gd name="T1" fmla="*/ 2147483647 h 67"/>
                <a:gd name="T2" fmla="*/ 2147483647 w 139"/>
                <a:gd name="T3" fmla="*/ 2147483647 h 67"/>
                <a:gd name="T4" fmla="*/ 2147483647 w 139"/>
                <a:gd name="T5" fmla="*/ 2147483647 h 67"/>
                <a:gd name="T6" fmla="*/ 2147483647 w 139"/>
                <a:gd name="T7" fmla="*/ 2147483647 h 67"/>
                <a:gd name="T8" fmla="*/ 2147483647 w 139"/>
                <a:gd name="T9" fmla="*/ 2147483647 h 67"/>
                <a:gd name="T10" fmla="*/ 2147483647 w 139"/>
                <a:gd name="T11" fmla="*/ 2147483647 h 67"/>
                <a:gd name="T12" fmla="*/ 0 w 139"/>
                <a:gd name="T13" fmla="*/ 2147483647 h 67"/>
                <a:gd name="T14" fmla="*/ 2147483647 w 139"/>
                <a:gd name="T15" fmla="*/ 2147483647 h 67"/>
                <a:gd name="T16" fmla="*/ 2147483647 w 139"/>
                <a:gd name="T17" fmla="*/ 0 h 67"/>
                <a:gd name="T18" fmla="*/ 2147483647 w 139"/>
                <a:gd name="T19" fmla="*/ 2147483647 h 67"/>
                <a:gd name="T20" fmla="*/ 2147483647 w 139"/>
                <a:gd name="T21" fmla="*/ 2147483647 h 67"/>
                <a:gd name="T22" fmla="*/ 2147483647 w 139"/>
                <a:gd name="T23" fmla="*/ 2147483647 h 67"/>
                <a:gd name="T24" fmla="*/ 2147483647 w 139"/>
                <a:gd name="T25" fmla="*/ 2147483647 h 67"/>
                <a:gd name="T26" fmla="*/ 2147483647 w 139"/>
                <a:gd name="T27" fmla="*/ 2147483647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9"/>
                <a:gd name="T43" fmla="*/ 0 h 67"/>
                <a:gd name="T44" fmla="*/ 139 w 139"/>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9" h="67">
                  <a:moveTo>
                    <a:pt x="139" y="67"/>
                  </a:moveTo>
                  <a:lnTo>
                    <a:pt x="90" y="63"/>
                  </a:lnTo>
                  <a:lnTo>
                    <a:pt x="78" y="34"/>
                  </a:lnTo>
                  <a:lnTo>
                    <a:pt x="58" y="40"/>
                  </a:lnTo>
                  <a:lnTo>
                    <a:pt x="46" y="51"/>
                  </a:lnTo>
                  <a:lnTo>
                    <a:pt x="1" y="45"/>
                  </a:lnTo>
                  <a:lnTo>
                    <a:pt x="0" y="34"/>
                  </a:lnTo>
                  <a:lnTo>
                    <a:pt x="52" y="22"/>
                  </a:lnTo>
                  <a:lnTo>
                    <a:pt x="79" y="0"/>
                  </a:lnTo>
                  <a:lnTo>
                    <a:pt x="93" y="3"/>
                  </a:lnTo>
                  <a:lnTo>
                    <a:pt x="88" y="21"/>
                  </a:lnTo>
                  <a:lnTo>
                    <a:pt x="103" y="39"/>
                  </a:lnTo>
                  <a:lnTo>
                    <a:pt x="130" y="43"/>
                  </a:lnTo>
                  <a:lnTo>
                    <a:pt x="139" y="6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8" name="Freeform 223">
              <a:extLst>
                <a:ext uri="{FF2B5EF4-FFF2-40B4-BE49-F238E27FC236}">
                  <a16:creationId xmlns:a16="http://schemas.microsoft.com/office/drawing/2014/main" id="{E82EF40A-5C66-6756-726E-675D9E16AD6E}"/>
                </a:ext>
              </a:extLst>
            </p:cNvPr>
            <p:cNvSpPr>
              <a:spLocks/>
            </p:cNvSpPr>
            <p:nvPr/>
          </p:nvSpPr>
          <p:spPr bwMode="auto">
            <a:xfrm>
              <a:off x="2758786" y="5851085"/>
              <a:ext cx="22410" cy="13828"/>
            </a:xfrm>
            <a:custGeom>
              <a:avLst/>
              <a:gdLst>
                <a:gd name="T0" fmla="*/ 2147483647 w 168"/>
                <a:gd name="T1" fmla="*/ 2147483647 h 112"/>
                <a:gd name="T2" fmla="*/ 2147483647 w 168"/>
                <a:gd name="T3" fmla="*/ 2147483647 h 112"/>
                <a:gd name="T4" fmla="*/ 0 w 168"/>
                <a:gd name="T5" fmla="*/ 2147483647 h 112"/>
                <a:gd name="T6" fmla="*/ 0 w 168"/>
                <a:gd name="T7" fmla="*/ 2147483647 h 112"/>
                <a:gd name="T8" fmla="*/ 2147483647 w 168"/>
                <a:gd name="T9" fmla="*/ 0 h 112"/>
                <a:gd name="T10" fmla="*/ 2147483647 w 168"/>
                <a:gd name="T11" fmla="*/ 2147483647 h 112"/>
                <a:gd name="T12" fmla="*/ 2147483647 w 168"/>
                <a:gd name="T13" fmla="*/ 2147483647 h 112"/>
                <a:gd name="T14" fmla="*/ 2147483647 w 168"/>
                <a:gd name="T15" fmla="*/ 2147483647 h 112"/>
                <a:gd name="T16" fmla="*/ 0 60000 65536"/>
                <a:gd name="T17" fmla="*/ 0 60000 65536"/>
                <a:gd name="T18" fmla="*/ 0 60000 65536"/>
                <a:gd name="T19" fmla="*/ 0 60000 65536"/>
                <a:gd name="T20" fmla="*/ 0 60000 65536"/>
                <a:gd name="T21" fmla="*/ 0 60000 65536"/>
                <a:gd name="T22" fmla="*/ 0 60000 65536"/>
                <a:gd name="T23" fmla="*/ 0 60000 65536"/>
                <a:gd name="T24" fmla="*/ 0 w 168"/>
                <a:gd name="T25" fmla="*/ 0 h 112"/>
                <a:gd name="T26" fmla="*/ 168 w 168"/>
                <a:gd name="T27" fmla="*/ 112 h 1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8" h="112">
                  <a:moveTo>
                    <a:pt x="156" y="112"/>
                  </a:moveTo>
                  <a:lnTo>
                    <a:pt x="71" y="104"/>
                  </a:lnTo>
                  <a:lnTo>
                    <a:pt x="0" y="78"/>
                  </a:lnTo>
                  <a:lnTo>
                    <a:pt x="0" y="42"/>
                  </a:lnTo>
                  <a:lnTo>
                    <a:pt x="25" y="0"/>
                  </a:lnTo>
                  <a:lnTo>
                    <a:pt x="103" y="8"/>
                  </a:lnTo>
                  <a:lnTo>
                    <a:pt x="168" y="45"/>
                  </a:lnTo>
                  <a:lnTo>
                    <a:pt x="156" y="112"/>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19" name="Freeform 224">
              <a:extLst>
                <a:ext uri="{FF2B5EF4-FFF2-40B4-BE49-F238E27FC236}">
                  <a16:creationId xmlns:a16="http://schemas.microsoft.com/office/drawing/2014/main" id="{39BBFEB7-3938-DB2D-308B-8FA58EB7B809}"/>
                </a:ext>
              </a:extLst>
            </p:cNvPr>
            <p:cNvSpPr>
              <a:spLocks/>
            </p:cNvSpPr>
            <p:nvPr/>
          </p:nvSpPr>
          <p:spPr bwMode="auto">
            <a:xfrm>
              <a:off x="2671389" y="5830342"/>
              <a:ext cx="24651" cy="13828"/>
            </a:xfrm>
            <a:custGeom>
              <a:avLst/>
              <a:gdLst>
                <a:gd name="T0" fmla="*/ 2147483647 w 91"/>
                <a:gd name="T1" fmla="*/ 2147483647 h 56"/>
                <a:gd name="T2" fmla="*/ 2147483647 w 91"/>
                <a:gd name="T3" fmla="*/ 2147483647 h 56"/>
                <a:gd name="T4" fmla="*/ 2147483647 w 91"/>
                <a:gd name="T5" fmla="*/ 2147483647 h 56"/>
                <a:gd name="T6" fmla="*/ 2147483647 w 91"/>
                <a:gd name="T7" fmla="*/ 2147483647 h 56"/>
                <a:gd name="T8" fmla="*/ 0 w 91"/>
                <a:gd name="T9" fmla="*/ 2147483647 h 56"/>
                <a:gd name="T10" fmla="*/ 2147483647 w 91"/>
                <a:gd name="T11" fmla="*/ 2147483647 h 56"/>
                <a:gd name="T12" fmla="*/ 2147483647 w 91"/>
                <a:gd name="T13" fmla="*/ 2147483647 h 56"/>
                <a:gd name="T14" fmla="*/ 2147483647 w 91"/>
                <a:gd name="T15" fmla="*/ 2147483647 h 56"/>
                <a:gd name="T16" fmla="*/ 2147483647 w 91"/>
                <a:gd name="T17" fmla="*/ 0 h 56"/>
                <a:gd name="T18" fmla="*/ 2147483647 w 91"/>
                <a:gd name="T19" fmla="*/ 2147483647 h 56"/>
                <a:gd name="T20" fmla="*/ 2147483647 w 91"/>
                <a:gd name="T21" fmla="*/ 2147483647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56"/>
                <a:gd name="T35" fmla="*/ 91 w 91"/>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56">
                  <a:moveTo>
                    <a:pt x="91" y="41"/>
                  </a:moveTo>
                  <a:lnTo>
                    <a:pt x="60" y="44"/>
                  </a:lnTo>
                  <a:lnTo>
                    <a:pt x="36" y="56"/>
                  </a:lnTo>
                  <a:lnTo>
                    <a:pt x="13" y="53"/>
                  </a:lnTo>
                  <a:lnTo>
                    <a:pt x="0" y="38"/>
                  </a:lnTo>
                  <a:lnTo>
                    <a:pt x="10" y="11"/>
                  </a:lnTo>
                  <a:lnTo>
                    <a:pt x="25" y="5"/>
                  </a:lnTo>
                  <a:lnTo>
                    <a:pt x="48" y="20"/>
                  </a:lnTo>
                  <a:lnTo>
                    <a:pt x="63" y="0"/>
                  </a:lnTo>
                  <a:lnTo>
                    <a:pt x="72" y="24"/>
                  </a:lnTo>
                  <a:lnTo>
                    <a:pt x="91" y="41"/>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0" name="Freeform 225">
              <a:extLst>
                <a:ext uri="{FF2B5EF4-FFF2-40B4-BE49-F238E27FC236}">
                  <a16:creationId xmlns:a16="http://schemas.microsoft.com/office/drawing/2014/main" id="{344A6A5E-3C29-4EBE-17CD-AB25C35BBF0F}"/>
                </a:ext>
              </a:extLst>
            </p:cNvPr>
            <p:cNvSpPr>
              <a:spLocks/>
            </p:cNvSpPr>
            <p:nvPr/>
          </p:nvSpPr>
          <p:spPr bwMode="auto">
            <a:xfrm>
              <a:off x="2698279" y="5818819"/>
              <a:ext cx="8965" cy="13828"/>
            </a:xfrm>
            <a:custGeom>
              <a:avLst/>
              <a:gdLst>
                <a:gd name="T0" fmla="*/ 2147483647 w 34"/>
                <a:gd name="T1" fmla="*/ 2147483647 h 50"/>
                <a:gd name="T2" fmla="*/ 0 w 34"/>
                <a:gd name="T3" fmla="*/ 2147483647 h 50"/>
                <a:gd name="T4" fmla="*/ 2147483647 w 34"/>
                <a:gd name="T5" fmla="*/ 0 h 50"/>
                <a:gd name="T6" fmla="*/ 2147483647 w 34"/>
                <a:gd name="T7" fmla="*/ 0 h 50"/>
                <a:gd name="T8" fmla="*/ 2147483647 w 34"/>
                <a:gd name="T9" fmla="*/ 2147483647 h 50"/>
                <a:gd name="T10" fmla="*/ 2147483647 w 34"/>
                <a:gd name="T11" fmla="*/ 2147483647 h 50"/>
                <a:gd name="T12" fmla="*/ 2147483647 w 34"/>
                <a:gd name="T13" fmla="*/ 2147483647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15" y="50"/>
                  </a:moveTo>
                  <a:lnTo>
                    <a:pt x="0" y="26"/>
                  </a:lnTo>
                  <a:lnTo>
                    <a:pt x="3" y="0"/>
                  </a:lnTo>
                  <a:lnTo>
                    <a:pt x="19" y="0"/>
                  </a:lnTo>
                  <a:lnTo>
                    <a:pt x="34" y="29"/>
                  </a:lnTo>
                  <a:lnTo>
                    <a:pt x="33" y="50"/>
                  </a:lnTo>
                  <a:lnTo>
                    <a:pt x="15" y="5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1" name="Freeform 226">
              <a:extLst>
                <a:ext uri="{FF2B5EF4-FFF2-40B4-BE49-F238E27FC236}">
                  <a16:creationId xmlns:a16="http://schemas.microsoft.com/office/drawing/2014/main" id="{3EC314F1-B8EC-034C-A682-FCA158AFA78C}"/>
                </a:ext>
              </a:extLst>
            </p:cNvPr>
            <p:cNvSpPr>
              <a:spLocks/>
            </p:cNvSpPr>
            <p:nvPr/>
          </p:nvSpPr>
          <p:spPr bwMode="auto">
            <a:xfrm>
              <a:off x="2671389" y="5795770"/>
              <a:ext cx="20169" cy="25353"/>
            </a:xfrm>
            <a:custGeom>
              <a:avLst/>
              <a:gdLst>
                <a:gd name="T0" fmla="*/ 2147483647 w 183"/>
                <a:gd name="T1" fmla="*/ 0 h 211"/>
                <a:gd name="T2" fmla="*/ 0 w 183"/>
                <a:gd name="T3" fmla="*/ 2147483647 h 211"/>
                <a:gd name="T4" fmla="*/ 2147483647 w 183"/>
                <a:gd name="T5" fmla="*/ 2147483647 h 211"/>
                <a:gd name="T6" fmla="*/ 2147483647 w 183"/>
                <a:gd name="T7" fmla="*/ 2147483647 h 211"/>
                <a:gd name="T8" fmla="*/ 2147483647 w 183"/>
                <a:gd name="T9" fmla="*/ 2147483647 h 211"/>
                <a:gd name="T10" fmla="*/ 2147483647 w 183"/>
                <a:gd name="T11" fmla="*/ 0 h 211"/>
                <a:gd name="T12" fmla="*/ 2147483647 w 183"/>
                <a:gd name="T13" fmla="*/ 0 h 211"/>
                <a:gd name="T14" fmla="*/ 0 60000 65536"/>
                <a:gd name="T15" fmla="*/ 0 60000 65536"/>
                <a:gd name="T16" fmla="*/ 0 60000 65536"/>
                <a:gd name="T17" fmla="*/ 0 60000 65536"/>
                <a:gd name="T18" fmla="*/ 0 60000 65536"/>
                <a:gd name="T19" fmla="*/ 0 60000 65536"/>
                <a:gd name="T20" fmla="*/ 0 60000 65536"/>
                <a:gd name="T21" fmla="*/ 0 w 183"/>
                <a:gd name="T22" fmla="*/ 0 h 211"/>
                <a:gd name="T23" fmla="*/ 183 w 183"/>
                <a:gd name="T24" fmla="*/ 211 h 2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3" h="211">
                  <a:moveTo>
                    <a:pt x="28" y="0"/>
                  </a:moveTo>
                  <a:lnTo>
                    <a:pt x="0" y="92"/>
                  </a:lnTo>
                  <a:lnTo>
                    <a:pt x="55" y="211"/>
                  </a:lnTo>
                  <a:lnTo>
                    <a:pt x="165" y="174"/>
                  </a:lnTo>
                  <a:lnTo>
                    <a:pt x="183" y="119"/>
                  </a:lnTo>
                  <a:lnTo>
                    <a:pt x="128" y="0"/>
                  </a:lnTo>
                  <a:lnTo>
                    <a:pt x="28" y="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2" name="Freeform 227">
              <a:extLst>
                <a:ext uri="{FF2B5EF4-FFF2-40B4-BE49-F238E27FC236}">
                  <a16:creationId xmlns:a16="http://schemas.microsoft.com/office/drawing/2014/main" id="{E0DD0572-BE89-9DD3-7DBC-5353FC566B6E}"/>
                </a:ext>
              </a:extLst>
            </p:cNvPr>
            <p:cNvSpPr>
              <a:spLocks/>
            </p:cNvSpPr>
            <p:nvPr/>
          </p:nvSpPr>
          <p:spPr bwMode="auto">
            <a:xfrm>
              <a:off x="2953754" y="5687446"/>
              <a:ext cx="53785" cy="46095"/>
            </a:xfrm>
            <a:custGeom>
              <a:avLst/>
              <a:gdLst>
                <a:gd name="T0" fmla="*/ 0 w 167"/>
                <a:gd name="T1" fmla="*/ 2147483647 h 135"/>
                <a:gd name="T2" fmla="*/ 2147483647 w 167"/>
                <a:gd name="T3" fmla="*/ 2147483647 h 135"/>
                <a:gd name="T4" fmla="*/ 2147483647 w 167"/>
                <a:gd name="T5" fmla="*/ 2147483647 h 135"/>
                <a:gd name="T6" fmla="*/ 2147483647 w 167"/>
                <a:gd name="T7" fmla="*/ 2147483647 h 135"/>
                <a:gd name="T8" fmla="*/ 2147483647 w 167"/>
                <a:gd name="T9" fmla="*/ 2147483647 h 135"/>
                <a:gd name="T10" fmla="*/ 2147483647 w 167"/>
                <a:gd name="T11" fmla="*/ 2147483647 h 135"/>
                <a:gd name="T12" fmla="*/ 2147483647 w 167"/>
                <a:gd name="T13" fmla="*/ 2147483647 h 135"/>
                <a:gd name="T14" fmla="*/ 2147483647 w 167"/>
                <a:gd name="T15" fmla="*/ 2147483647 h 135"/>
                <a:gd name="T16" fmla="*/ 2147483647 w 167"/>
                <a:gd name="T17" fmla="*/ 2147483647 h 135"/>
                <a:gd name="T18" fmla="*/ 2147483647 w 167"/>
                <a:gd name="T19" fmla="*/ 2147483647 h 135"/>
                <a:gd name="T20" fmla="*/ 2147483647 w 167"/>
                <a:gd name="T21" fmla="*/ 2147483647 h 135"/>
                <a:gd name="T22" fmla="*/ 2147483647 w 167"/>
                <a:gd name="T23" fmla="*/ 2147483647 h 135"/>
                <a:gd name="T24" fmla="*/ 2147483647 w 167"/>
                <a:gd name="T25" fmla="*/ 2147483647 h 135"/>
                <a:gd name="T26" fmla="*/ 2147483647 w 167"/>
                <a:gd name="T27" fmla="*/ 0 h 135"/>
                <a:gd name="T28" fmla="*/ 2147483647 w 167"/>
                <a:gd name="T29" fmla="*/ 2147483647 h 135"/>
                <a:gd name="T30" fmla="*/ 2147483647 w 167"/>
                <a:gd name="T31" fmla="*/ 2147483647 h 135"/>
                <a:gd name="T32" fmla="*/ 2147483647 w 167"/>
                <a:gd name="T33" fmla="*/ 2147483647 h 135"/>
                <a:gd name="T34" fmla="*/ 2147483647 w 167"/>
                <a:gd name="T35" fmla="*/ 2147483647 h 135"/>
                <a:gd name="T36" fmla="*/ 0 w 167"/>
                <a:gd name="T37" fmla="*/ 2147483647 h 1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7"/>
                <a:gd name="T58" fmla="*/ 0 h 135"/>
                <a:gd name="T59" fmla="*/ 167 w 167"/>
                <a:gd name="T60" fmla="*/ 135 h 1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7" h="135">
                  <a:moveTo>
                    <a:pt x="0" y="116"/>
                  </a:moveTo>
                  <a:lnTo>
                    <a:pt x="11" y="135"/>
                  </a:lnTo>
                  <a:lnTo>
                    <a:pt x="33" y="119"/>
                  </a:lnTo>
                  <a:lnTo>
                    <a:pt x="56" y="129"/>
                  </a:lnTo>
                  <a:lnTo>
                    <a:pt x="47" y="99"/>
                  </a:lnTo>
                  <a:lnTo>
                    <a:pt x="86" y="111"/>
                  </a:lnTo>
                  <a:lnTo>
                    <a:pt x="83" y="87"/>
                  </a:lnTo>
                  <a:lnTo>
                    <a:pt x="120" y="90"/>
                  </a:lnTo>
                  <a:lnTo>
                    <a:pt x="167" y="69"/>
                  </a:lnTo>
                  <a:lnTo>
                    <a:pt x="152" y="54"/>
                  </a:lnTo>
                  <a:lnTo>
                    <a:pt x="134" y="54"/>
                  </a:lnTo>
                  <a:lnTo>
                    <a:pt x="111" y="27"/>
                  </a:lnTo>
                  <a:lnTo>
                    <a:pt x="119" y="6"/>
                  </a:lnTo>
                  <a:lnTo>
                    <a:pt x="77" y="0"/>
                  </a:lnTo>
                  <a:lnTo>
                    <a:pt x="57" y="32"/>
                  </a:lnTo>
                  <a:lnTo>
                    <a:pt x="65" y="66"/>
                  </a:lnTo>
                  <a:lnTo>
                    <a:pt x="39" y="62"/>
                  </a:lnTo>
                  <a:lnTo>
                    <a:pt x="17" y="82"/>
                  </a:lnTo>
                  <a:lnTo>
                    <a:pt x="0" y="11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3" name="Freeform 228">
              <a:extLst>
                <a:ext uri="{FF2B5EF4-FFF2-40B4-BE49-F238E27FC236}">
                  <a16:creationId xmlns:a16="http://schemas.microsoft.com/office/drawing/2014/main" id="{4B15F346-4C4D-6FBB-9F56-0F731CFEECC3}"/>
                </a:ext>
              </a:extLst>
            </p:cNvPr>
            <p:cNvSpPr>
              <a:spLocks/>
            </p:cNvSpPr>
            <p:nvPr/>
          </p:nvSpPr>
          <p:spPr bwMode="auto">
            <a:xfrm>
              <a:off x="2915658" y="5685141"/>
              <a:ext cx="49302" cy="43790"/>
            </a:xfrm>
            <a:custGeom>
              <a:avLst/>
              <a:gdLst>
                <a:gd name="T0" fmla="*/ 0 w 152"/>
                <a:gd name="T1" fmla="*/ 2147483647 h 129"/>
                <a:gd name="T2" fmla="*/ 2147483647 w 152"/>
                <a:gd name="T3" fmla="*/ 2147483647 h 129"/>
                <a:gd name="T4" fmla="*/ 2147483647 w 152"/>
                <a:gd name="T5" fmla="*/ 2147483647 h 129"/>
                <a:gd name="T6" fmla="*/ 2147483647 w 152"/>
                <a:gd name="T7" fmla="*/ 2147483647 h 129"/>
                <a:gd name="T8" fmla="*/ 2147483647 w 152"/>
                <a:gd name="T9" fmla="*/ 2147483647 h 129"/>
                <a:gd name="T10" fmla="*/ 2147483647 w 152"/>
                <a:gd name="T11" fmla="*/ 2147483647 h 129"/>
                <a:gd name="T12" fmla="*/ 2147483647 w 152"/>
                <a:gd name="T13" fmla="*/ 2147483647 h 129"/>
                <a:gd name="T14" fmla="*/ 2147483647 w 152"/>
                <a:gd name="T15" fmla="*/ 2147483647 h 129"/>
                <a:gd name="T16" fmla="*/ 2147483647 w 152"/>
                <a:gd name="T17" fmla="*/ 2147483647 h 129"/>
                <a:gd name="T18" fmla="*/ 2147483647 w 152"/>
                <a:gd name="T19" fmla="*/ 2147483647 h 129"/>
                <a:gd name="T20" fmla="*/ 2147483647 w 152"/>
                <a:gd name="T21" fmla="*/ 2147483647 h 129"/>
                <a:gd name="T22" fmla="*/ 2147483647 w 152"/>
                <a:gd name="T23" fmla="*/ 0 h 129"/>
                <a:gd name="T24" fmla="*/ 2147483647 w 152"/>
                <a:gd name="T25" fmla="*/ 2147483647 h 129"/>
                <a:gd name="T26" fmla="*/ 2147483647 w 152"/>
                <a:gd name="T27" fmla="*/ 2147483647 h 129"/>
                <a:gd name="T28" fmla="*/ 2147483647 w 152"/>
                <a:gd name="T29" fmla="*/ 2147483647 h 129"/>
                <a:gd name="T30" fmla="*/ 2147483647 w 152"/>
                <a:gd name="T31" fmla="*/ 2147483647 h 129"/>
                <a:gd name="T32" fmla="*/ 2147483647 w 152"/>
                <a:gd name="T33" fmla="*/ 2147483647 h 129"/>
                <a:gd name="T34" fmla="*/ 2147483647 w 152"/>
                <a:gd name="T35" fmla="*/ 2147483647 h 129"/>
                <a:gd name="T36" fmla="*/ 2147483647 w 152"/>
                <a:gd name="T37" fmla="*/ 2147483647 h 129"/>
                <a:gd name="T38" fmla="*/ 0 w 152"/>
                <a:gd name="T39" fmla="*/ 2147483647 h 1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2"/>
                <a:gd name="T61" fmla="*/ 0 h 129"/>
                <a:gd name="T62" fmla="*/ 152 w 152"/>
                <a:gd name="T63" fmla="*/ 129 h 1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2" h="129">
                  <a:moveTo>
                    <a:pt x="0" y="120"/>
                  </a:moveTo>
                  <a:lnTo>
                    <a:pt x="11" y="106"/>
                  </a:lnTo>
                  <a:lnTo>
                    <a:pt x="18" y="85"/>
                  </a:lnTo>
                  <a:lnTo>
                    <a:pt x="37" y="86"/>
                  </a:lnTo>
                  <a:lnTo>
                    <a:pt x="47" y="60"/>
                  </a:lnTo>
                  <a:lnTo>
                    <a:pt x="68" y="67"/>
                  </a:lnTo>
                  <a:lnTo>
                    <a:pt x="83" y="41"/>
                  </a:lnTo>
                  <a:lnTo>
                    <a:pt x="37" y="41"/>
                  </a:lnTo>
                  <a:lnTo>
                    <a:pt x="42" y="18"/>
                  </a:lnTo>
                  <a:lnTo>
                    <a:pt x="72" y="22"/>
                  </a:lnTo>
                  <a:lnTo>
                    <a:pt x="78" y="4"/>
                  </a:lnTo>
                  <a:lnTo>
                    <a:pt x="93" y="0"/>
                  </a:lnTo>
                  <a:lnTo>
                    <a:pt x="102" y="16"/>
                  </a:lnTo>
                  <a:lnTo>
                    <a:pt x="117" y="10"/>
                  </a:lnTo>
                  <a:lnTo>
                    <a:pt x="132" y="22"/>
                  </a:lnTo>
                  <a:lnTo>
                    <a:pt x="152" y="19"/>
                  </a:lnTo>
                  <a:lnTo>
                    <a:pt x="137" y="64"/>
                  </a:lnTo>
                  <a:lnTo>
                    <a:pt x="92" y="102"/>
                  </a:lnTo>
                  <a:lnTo>
                    <a:pt x="44" y="129"/>
                  </a:lnTo>
                  <a:lnTo>
                    <a:pt x="0" y="12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4" name="Freeform 229">
              <a:extLst>
                <a:ext uri="{FF2B5EF4-FFF2-40B4-BE49-F238E27FC236}">
                  <a16:creationId xmlns:a16="http://schemas.microsoft.com/office/drawing/2014/main" id="{D3407589-556F-10F2-D377-008ACD152116}"/>
                </a:ext>
              </a:extLst>
            </p:cNvPr>
            <p:cNvSpPr>
              <a:spLocks/>
            </p:cNvSpPr>
            <p:nvPr/>
          </p:nvSpPr>
          <p:spPr bwMode="auto">
            <a:xfrm>
              <a:off x="2991851" y="5692055"/>
              <a:ext cx="20171" cy="11525"/>
            </a:xfrm>
            <a:custGeom>
              <a:avLst/>
              <a:gdLst>
                <a:gd name="T0" fmla="*/ 2147483647 w 57"/>
                <a:gd name="T1" fmla="*/ 2147483647 h 37"/>
                <a:gd name="T2" fmla="*/ 2147483647 w 57"/>
                <a:gd name="T3" fmla="*/ 2147483647 h 37"/>
                <a:gd name="T4" fmla="*/ 2147483647 w 57"/>
                <a:gd name="T5" fmla="*/ 2147483647 h 37"/>
                <a:gd name="T6" fmla="*/ 0 w 57"/>
                <a:gd name="T7" fmla="*/ 2147483647 h 37"/>
                <a:gd name="T8" fmla="*/ 2147483647 w 57"/>
                <a:gd name="T9" fmla="*/ 0 h 37"/>
                <a:gd name="T10" fmla="*/ 2147483647 w 57"/>
                <a:gd name="T11" fmla="*/ 2147483647 h 37"/>
                <a:gd name="T12" fmla="*/ 2147483647 w 57"/>
                <a:gd name="T13" fmla="*/ 2147483647 h 37"/>
                <a:gd name="T14" fmla="*/ 0 60000 65536"/>
                <a:gd name="T15" fmla="*/ 0 60000 65536"/>
                <a:gd name="T16" fmla="*/ 0 60000 65536"/>
                <a:gd name="T17" fmla="*/ 0 60000 65536"/>
                <a:gd name="T18" fmla="*/ 0 60000 65536"/>
                <a:gd name="T19" fmla="*/ 0 60000 65536"/>
                <a:gd name="T20" fmla="*/ 0 60000 65536"/>
                <a:gd name="T21" fmla="*/ 0 w 57"/>
                <a:gd name="T22" fmla="*/ 0 h 37"/>
                <a:gd name="T23" fmla="*/ 57 w 57"/>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7">
                  <a:moveTo>
                    <a:pt x="57" y="16"/>
                  </a:moveTo>
                  <a:lnTo>
                    <a:pt x="45" y="37"/>
                  </a:lnTo>
                  <a:lnTo>
                    <a:pt x="16" y="34"/>
                  </a:lnTo>
                  <a:lnTo>
                    <a:pt x="0" y="13"/>
                  </a:lnTo>
                  <a:lnTo>
                    <a:pt x="22" y="0"/>
                  </a:lnTo>
                  <a:lnTo>
                    <a:pt x="51" y="4"/>
                  </a:lnTo>
                  <a:lnTo>
                    <a:pt x="57" y="1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5" name="Freeform 230">
              <a:extLst>
                <a:ext uri="{FF2B5EF4-FFF2-40B4-BE49-F238E27FC236}">
                  <a16:creationId xmlns:a16="http://schemas.microsoft.com/office/drawing/2014/main" id="{3FFAB32B-8C19-D237-D2EE-B02B42FDC254}"/>
                </a:ext>
              </a:extLst>
            </p:cNvPr>
            <p:cNvSpPr>
              <a:spLocks/>
            </p:cNvSpPr>
            <p:nvPr/>
          </p:nvSpPr>
          <p:spPr bwMode="auto">
            <a:xfrm>
              <a:off x="2557096" y="4592683"/>
              <a:ext cx="212896" cy="1210001"/>
            </a:xfrm>
            <a:custGeom>
              <a:avLst/>
              <a:gdLst>
                <a:gd name="T0" fmla="*/ 84 w 883780"/>
                <a:gd name="T1" fmla="*/ 43 h 4887663"/>
                <a:gd name="T2" fmla="*/ 76 w 883780"/>
                <a:gd name="T3" fmla="*/ 88 h 4887663"/>
                <a:gd name="T4" fmla="*/ 71 w 883780"/>
                <a:gd name="T5" fmla="*/ 162 h 4887663"/>
                <a:gd name="T6" fmla="*/ 58 w 883780"/>
                <a:gd name="T7" fmla="*/ 213 h 4887663"/>
                <a:gd name="T8" fmla="*/ 59 w 883780"/>
                <a:gd name="T9" fmla="*/ 269 h 4887663"/>
                <a:gd name="T10" fmla="*/ 38 w 883780"/>
                <a:gd name="T11" fmla="*/ 332 h 4887663"/>
                <a:gd name="T12" fmla="*/ 36 w 883780"/>
                <a:gd name="T13" fmla="*/ 379 h 4887663"/>
                <a:gd name="T14" fmla="*/ 25 w 883780"/>
                <a:gd name="T15" fmla="*/ 419 h 4887663"/>
                <a:gd name="T16" fmla="*/ 31 w 883780"/>
                <a:gd name="T17" fmla="*/ 456 h 4887663"/>
                <a:gd name="T18" fmla="*/ 43 w 883780"/>
                <a:gd name="T19" fmla="*/ 424 h 4887663"/>
                <a:gd name="T20" fmla="*/ 39 w 883780"/>
                <a:gd name="T21" fmla="*/ 489 h 4887663"/>
                <a:gd name="T22" fmla="*/ 20 w 883780"/>
                <a:gd name="T23" fmla="*/ 489 h 4887663"/>
                <a:gd name="T24" fmla="*/ 26 w 883780"/>
                <a:gd name="T25" fmla="*/ 518 h 4887663"/>
                <a:gd name="T26" fmla="*/ 4 w 883780"/>
                <a:gd name="T27" fmla="*/ 538 h 4887663"/>
                <a:gd name="T28" fmla="*/ 13 w 883780"/>
                <a:gd name="T29" fmla="*/ 550 h 4887663"/>
                <a:gd name="T30" fmla="*/ 8 w 883780"/>
                <a:gd name="T31" fmla="*/ 567 h 4887663"/>
                <a:gd name="T32" fmla="*/ 11 w 883780"/>
                <a:gd name="T33" fmla="*/ 606 h 4887663"/>
                <a:gd name="T34" fmla="*/ 8 w 883780"/>
                <a:gd name="T35" fmla="*/ 645 h 4887663"/>
                <a:gd name="T36" fmla="*/ 26 w 883780"/>
                <a:gd name="T37" fmla="*/ 666 h 4887663"/>
                <a:gd name="T38" fmla="*/ 33 w 883780"/>
                <a:gd name="T39" fmla="*/ 702 h 4887663"/>
                <a:gd name="T40" fmla="*/ 60 w 883780"/>
                <a:gd name="T41" fmla="*/ 684 h 4887663"/>
                <a:gd name="T42" fmla="*/ 90 w 883780"/>
                <a:gd name="T43" fmla="*/ 674 h 4887663"/>
                <a:gd name="T44" fmla="*/ 77 w 883780"/>
                <a:gd name="T45" fmla="*/ 657 h 4887663"/>
                <a:gd name="T46" fmla="*/ 49 w 883780"/>
                <a:gd name="T47" fmla="*/ 625 h 4887663"/>
                <a:gd name="T48" fmla="*/ 36 w 883780"/>
                <a:gd name="T49" fmla="*/ 601 h 4887663"/>
                <a:gd name="T50" fmla="*/ 52 w 883780"/>
                <a:gd name="T51" fmla="*/ 568 h 4887663"/>
                <a:gd name="T52" fmla="*/ 62 w 883780"/>
                <a:gd name="T53" fmla="*/ 533 h 4887663"/>
                <a:gd name="T54" fmla="*/ 60 w 883780"/>
                <a:gd name="T55" fmla="*/ 485 h 4887663"/>
                <a:gd name="T56" fmla="*/ 60 w 883780"/>
                <a:gd name="T57" fmla="*/ 433 h 4887663"/>
                <a:gd name="T58" fmla="*/ 59 w 883780"/>
                <a:gd name="T59" fmla="*/ 385 h 4887663"/>
                <a:gd name="T60" fmla="*/ 72 w 883780"/>
                <a:gd name="T61" fmla="*/ 361 h 4887663"/>
                <a:gd name="T62" fmla="*/ 70 w 883780"/>
                <a:gd name="T63" fmla="*/ 327 h 4887663"/>
                <a:gd name="T64" fmla="*/ 77 w 883780"/>
                <a:gd name="T65" fmla="*/ 300 h 4887663"/>
                <a:gd name="T66" fmla="*/ 90 w 883780"/>
                <a:gd name="T67" fmla="*/ 274 h 4887663"/>
                <a:gd name="T68" fmla="*/ 80 w 883780"/>
                <a:gd name="T69" fmla="*/ 241 h 4887663"/>
                <a:gd name="T70" fmla="*/ 83 w 883780"/>
                <a:gd name="T71" fmla="*/ 219 h 4887663"/>
                <a:gd name="T72" fmla="*/ 91 w 883780"/>
                <a:gd name="T73" fmla="*/ 201 h 4887663"/>
                <a:gd name="T74" fmla="*/ 98 w 883780"/>
                <a:gd name="T75" fmla="*/ 184 h 4887663"/>
                <a:gd name="T76" fmla="*/ 109 w 883780"/>
                <a:gd name="T77" fmla="*/ 156 h 4887663"/>
                <a:gd name="T78" fmla="*/ 111 w 883780"/>
                <a:gd name="T79" fmla="*/ 137 h 4887663"/>
                <a:gd name="T80" fmla="*/ 115 w 883780"/>
                <a:gd name="T81" fmla="*/ 109 h 4887663"/>
                <a:gd name="T82" fmla="*/ 124 w 883780"/>
                <a:gd name="T83" fmla="*/ 85 h 4887663"/>
                <a:gd name="T84" fmla="*/ 112 w 883780"/>
                <a:gd name="T85" fmla="*/ 57 h 4887663"/>
                <a:gd name="T86" fmla="*/ 106 w 883780"/>
                <a:gd name="T87" fmla="*/ 28 h 4887663"/>
                <a:gd name="T88" fmla="*/ 85 w 883780"/>
                <a:gd name="T89" fmla="*/ 0 h 488766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83780"/>
                <a:gd name="T136" fmla="*/ 0 h 4887663"/>
                <a:gd name="T137" fmla="*/ 883780 w 883780"/>
                <a:gd name="T138" fmla="*/ 4887663 h 488766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83780" h="4887663">
                  <a:moveTo>
                    <a:pt x="488493" y="34528"/>
                  </a:moveTo>
                  <a:lnTo>
                    <a:pt x="577850" y="153738"/>
                  </a:lnTo>
                  <a:lnTo>
                    <a:pt x="581025" y="296613"/>
                  </a:lnTo>
                  <a:lnTo>
                    <a:pt x="565150" y="388688"/>
                  </a:lnTo>
                  <a:lnTo>
                    <a:pt x="565150" y="563313"/>
                  </a:lnTo>
                  <a:lnTo>
                    <a:pt x="523875" y="614113"/>
                  </a:lnTo>
                  <a:lnTo>
                    <a:pt x="520700" y="734763"/>
                  </a:lnTo>
                  <a:lnTo>
                    <a:pt x="523875" y="953838"/>
                  </a:lnTo>
                  <a:lnTo>
                    <a:pt x="492125" y="1125288"/>
                  </a:lnTo>
                  <a:lnTo>
                    <a:pt x="431800" y="1249113"/>
                  </a:lnTo>
                  <a:lnTo>
                    <a:pt x="444500" y="1401513"/>
                  </a:lnTo>
                  <a:lnTo>
                    <a:pt x="396875" y="1474538"/>
                  </a:lnTo>
                  <a:lnTo>
                    <a:pt x="415925" y="1623763"/>
                  </a:lnTo>
                  <a:lnTo>
                    <a:pt x="431800" y="1747588"/>
                  </a:lnTo>
                  <a:lnTo>
                    <a:pt x="409575" y="1868238"/>
                  </a:lnTo>
                  <a:lnTo>
                    <a:pt x="355600" y="1979363"/>
                  </a:lnTo>
                  <a:lnTo>
                    <a:pt x="292100" y="2100013"/>
                  </a:lnTo>
                  <a:lnTo>
                    <a:pt x="260350" y="2303213"/>
                  </a:lnTo>
                  <a:lnTo>
                    <a:pt x="203200" y="2357188"/>
                  </a:lnTo>
                  <a:lnTo>
                    <a:pt x="212725" y="2493713"/>
                  </a:lnTo>
                  <a:lnTo>
                    <a:pt x="250825" y="2630238"/>
                  </a:lnTo>
                  <a:lnTo>
                    <a:pt x="174625" y="2722313"/>
                  </a:lnTo>
                  <a:lnTo>
                    <a:pt x="165100" y="2820738"/>
                  </a:lnTo>
                  <a:lnTo>
                    <a:pt x="174625" y="2903288"/>
                  </a:lnTo>
                  <a:lnTo>
                    <a:pt x="130175" y="3027113"/>
                  </a:lnTo>
                  <a:lnTo>
                    <a:pt x="120650" y="3185863"/>
                  </a:lnTo>
                  <a:lnTo>
                    <a:pt x="212725" y="3163638"/>
                  </a:lnTo>
                  <a:lnTo>
                    <a:pt x="209550" y="3058863"/>
                  </a:lnTo>
                  <a:lnTo>
                    <a:pt x="238125" y="2954088"/>
                  </a:lnTo>
                  <a:lnTo>
                    <a:pt x="298450" y="2938213"/>
                  </a:lnTo>
                  <a:lnTo>
                    <a:pt x="295275" y="3157288"/>
                  </a:lnTo>
                  <a:lnTo>
                    <a:pt x="254000" y="3293813"/>
                  </a:lnTo>
                  <a:lnTo>
                    <a:pt x="266700" y="3389063"/>
                  </a:lnTo>
                  <a:lnTo>
                    <a:pt x="228600" y="3414463"/>
                  </a:lnTo>
                  <a:lnTo>
                    <a:pt x="171450" y="3341438"/>
                  </a:lnTo>
                  <a:lnTo>
                    <a:pt x="139700" y="3392238"/>
                  </a:lnTo>
                  <a:lnTo>
                    <a:pt x="193675" y="3484313"/>
                  </a:lnTo>
                  <a:lnTo>
                    <a:pt x="222250" y="3531938"/>
                  </a:lnTo>
                  <a:lnTo>
                    <a:pt x="180975" y="3592263"/>
                  </a:lnTo>
                  <a:lnTo>
                    <a:pt x="127000" y="3503363"/>
                  </a:lnTo>
                  <a:lnTo>
                    <a:pt x="0" y="3665288"/>
                  </a:lnTo>
                  <a:lnTo>
                    <a:pt x="28575" y="3728788"/>
                  </a:lnTo>
                  <a:lnTo>
                    <a:pt x="95250" y="3697038"/>
                  </a:lnTo>
                  <a:lnTo>
                    <a:pt x="149225" y="3731963"/>
                  </a:lnTo>
                  <a:lnTo>
                    <a:pt x="92075" y="3817688"/>
                  </a:lnTo>
                  <a:lnTo>
                    <a:pt x="152400" y="3951038"/>
                  </a:lnTo>
                  <a:lnTo>
                    <a:pt x="107950" y="4036763"/>
                  </a:lnTo>
                  <a:lnTo>
                    <a:pt x="53975" y="3935163"/>
                  </a:lnTo>
                  <a:lnTo>
                    <a:pt x="15875" y="4001838"/>
                  </a:lnTo>
                  <a:lnTo>
                    <a:pt x="28575" y="4100263"/>
                  </a:lnTo>
                  <a:lnTo>
                    <a:pt x="73025" y="4201863"/>
                  </a:lnTo>
                  <a:lnTo>
                    <a:pt x="92075" y="4284413"/>
                  </a:lnTo>
                  <a:lnTo>
                    <a:pt x="98425" y="4357438"/>
                  </a:lnTo>
                  <a:lnTo>
                    <a:pt x="53975" y="4471738"/>
                  </a:lnTo>
                  <a:lnTo>
                    <a:pt x="149225" y="4471738"/>
                  </a:lnTo>
                  <a:lnTo>
                    <a:pt x="193675" y="4528888"/>
                  </a:lnTo>
                  <a:lnTo>
                    <a:pt x="180975" y="4617788"/>
                  </a:lnTo>
                  <a:lnTo>
                    <a:pt x="215900" y="4655888"/>
                  </a:lnTo>
                  <a:lnTo>
                    <a:pt x="193675" y="4725738"/>
                  </a:lnTo>
                  <a:lnTo>
                    <a:pt x="225425" y="4868613"/>
                  </a:lnTo>
                  <a:lnTo>
                    <a:pt x="431800" y="4887663"/>
                  </a:lnTo>
                  <a:lnTo>
                    <a:pt x="482600" y="4747963"/>
                  </a:lnTo>
                  <a:lnTo>
                    <a:pt x="412750" y="4744788"/>
                  </a:lnTo>
                  <a:lnTo>
                    <a:pt x="450850" y="4681288"/>
                  </a:lnTo>
                  <a:lnTo>
                    <a:pt x="555625" y="4671763"/>
                  </a:lnTo>
                  <a:lnTo>
                    <a:pt x="622300" y="4674938"/>
                  </a:lnTo>
                  <a:lnTo>
                    <a:pt x="650875" y="4582863"/>
                  </a:lnTo>
                  <a:lnTo>
                    <a:pt x="599221" y="4552950"/>
                  </a:lnTo>
                  <a:lnTo>
                    <a:pt x="533737" y="4557713"/>
                  </a:lnTo>
                  <a:lnTo>
                    <a:pt x="414674" y="4558903"/>
                  </a:lnTo>
                  <a:lnTo>
                    <a:pt x="365858" y="4410075"/>
                  </a:lnTo>
                  <a:lnTo>
                    <a:pt x="339665" y="4338638"/>
                  </a:lnTo>
                  <a:lnTo>
                    <a:pt x="267037" y="4318397"/>
                  </a:lnTo>
                  <a:lnTo>
                    <a:pt x="277752" y="4229100"/>
                  </a:lnTo>
                  <a:lnTo>
                    <a:pt x="251558" y="4165997"/>
                  </a:lnTo>
                  <a:lnTo>
                    <a:pt x="293230" y="4050506"/>
                  </a:lnTo>
                  <a:lnTo>
                    <a:pt x="342900" y="3973263"/>
                  </a:lnTo>
                  <a:lnTo>
                    <a:pt x="362287" y="3938588"/>
                  </a:lnTo>
                  <a:lnTo>
                    <a:pt x="346808" y="3843338"/>
                  </a:lnTo>
                  <a:lnTo>
                    <a:pt x="377765" y="3770709"/>
                  </a:lnTo>
                  <a:lnTo>
                    <a:pt x="425390" y="3693319"/>
                  </a:lnTo>
                  <a:lnTo>
                    <a:pt x="401577" y="3580209"/>
                  </a:lnTo>
                  <a:lnTo>
                    <a:pt x="419437" y="3498056"/>
                  </a:lnTo>
                  <a:lnTo>
                    <a:pt x="411102" y="3365897"/>
                  </a:lnTo>
                  <a:lnTo>
                    <a:pt x="415865" y="3311128"/>
                  </a:lnTo>
                  <a:lnTo>
                    <a:pt x="405149" y="3058716"/>
                  </a:lnTo>
                  <a:lnTo>
                    <a:pt x="411102" y="3000375"/>
                  </a:lnTo>
                  <a:lnTo>
                    <a:pt x="406340" y="2880122"/>
                  </a:lnTo>
                  <a:lnTo>
                    <a:pt x="401638" y="2763588"/>
                  </a:lnTo>
                  <a:lnTo>
                    <a:pt x="408721" y="2667000"/>
                  </a:lnTo>
                  <a:lnTo>
                    <a:pt x="424199" y="2609850"/>
                  </a:lnTo>
                  <a:lnTo>
                    <a:pt x="449202" y="2555081"/>
                  </a:lnTo>
                  <a:lnTo>
                    <a:pt x="500399" y="2505075"/>
                  </a:lnTo>
                  <a:lnTo>
                    <a:pt x="500399" y="2449116"/>
                  </a:lnTo>
                  <a:lnTo>
                    <a:pt x="448012" y="2333625"/>
                  </a:lnTo>
                  <a:lnTo>
                    <a:pt x="482540" y="2266950"/>
                  </a:lnTo>
                  <a:lnTo>
                    <a:pt x="525402" y="2226469"/>
                  </a:lnTo>
                  <a:lnTo>
                    <a:pt x="548024" y="2152650"/>
                  </a:lnTo>
                  <a:lnTo>
                    <a:pt x="534988" y="2077788"/>
                  </a:lnTo>
                  <a:lnTo>
                    <a:pt x="569455" y="2032397"/>
                  </a:lnTo>
                  <a:lnTo>
                    <a:pt x="603983" y="1958578"/>
                  </a:lnTo>
                  <a:lnTo>
                    <a:pt x="619462" y="1896666"/>
                  </a:lnTo>
                  <a:lnTo>
                    <a:pt x="587315" y="1804988"/>
                  </a:lnTo>
                  <a:lnTo>
                    <a:pt x="578980" y="1745456"/>
                  </a:lnTo>
                  <a:lnTo>
                    <a:pt x="550405" y="1671638"/>
                  </a:lnTo>
                  <a:lnTo>
                    <a:pt x="539690" y="1614488"/>
                  </a:lnTo>
                  <a:lnTo>
                    <a:pt x="547688" y="1561851"/>
                  </a:lnTo>
                  <a:lnTo>
                    <a:pt x="575408" y="1520428"/>
                  </a:lnTo>
                  <a:lnTo>
                    <a:pt x="611188" y="1477713"/>
                  </a:lnTo>
                  <a:lnTo>
                    <a:pt x="613508" y="1440656"/>
                  </a:lnTo>
                  <a:lnTo>
                    <a:pt x="630177" y="1394222"/>
                  </a:lnTo>
                  <a:lnTo>
                    <a:pt x="624224" y="1359694"/>
                  </a:lnTo>
                  <a:lnTo>
                    <a:pt x="624224" y="1301353"/>
                  </a:lnTo>
                  <a:lnTo>
                    <a:pt x="678993" y="1278731"/>
                  </a:lnTo>
                  <a:lnTo>
                    <a:pt x="687327" y="1210866"/>
                  </a:lnTo>
                  <a:lnTo>
                    <a:pt x="734952" y="1137047"/>
                  </a:lnTo>
                  <a:lnTo>
                    <a:pt x="755193" y="1083469"/>
                  </a:lnTo>
                  <a:lnTo>
                    <a:pt x="792102" y="1039416"/>
                  </a:lnTo>
                  <a:lnTo>
                    <a:pt x="759955" y="995363"/>
                  </a:lnTo>
                  <a:lnTo>
                    <a:pt x="769480" y="951309"/>
                  </a:lnTo>
                  <a:lnTo>
                    <a:pt x="749240" y="871538"/>
                  </a:lnTo>
                  <a:lnTo>
                    <a:pt x="740905" y="798909"/>
                  </a:lnTo>
                  <a:lnTo>
                    <a:pt x="794483" y="754856"/>
                  </a:lnTo>
                  <a:lnTo>
                    <a:pt x="874255" y="716756"/>
                  </a:lnTo>
                  <a:lnTo>
                    <a:pt x="883780" y="617934"/>
                  </a:lnTo>
                  <a:lnTo>
                    <a:pt x="859968" y="586978"/>
                  </a:lnTo>
                  <a:lnTo>
                    <a:pt x="811152" y="521494"/>
                  </a:lnTo>
                  <a:lnTo>
                    <a:pt x="781387" y="464344"/>
                  </a:lnTo>
                  <a:lnTo>
                    <a:pt x="771862" y="397669"/>
                  </a:lnTo>
                  <a:lnTo>
                    <a:pt x="756383" y="364331"/>
                  </a:lnTo>
                  <a:lnTo>
                    <a:pt x="720665" y="265509"/>
                  </a:lnTo>
                  <a:lnTo>
                    <a:pt x="732571" y="191691"/>
                  </a:lnTo>
                  <a:lnTo>
                    <a:pt x="734952" y="96441"/>
                  </a:lnTo>
                  <a:lnTo>
                    <a:pt x="675421" y="48816"/>
                  </a:lnTo>
                  <a:lnTo>
                    <a:pt x="589696" y="0"/>
                  </a:lnTo>
                  <a:lnTo>
                    <a:pt x="569455" y="30956"/>
                  </a:lnTo>
                  <a:lnTo>
                    <a:pt x="488493" y="34528"/>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6" name="Freeform 231">
              <a:extLst>
                <a:ext uri="{FF2B5EF4-FFF2-40B4-BE49-F238E27FC236}">
                  <a16:creationId xmlns:a16="http://schemas.microsoft.com/office/drawing/2014/main" id="{1AB0502D-22AB-E380-0095-F39699249ED5}"/>
                </a:ext>
              </a:extLst>
            </p:cNvPr>
            <p:cNvSpPr>
              <a:spLocks/>
            </p:cNvSpPr>
            <p:nvPr/>
          </p:nvSpPr>
          <p:spPr bwMode="auto">
            <a:xfrm>
              <a:off x="8903634" y="5090512"/>
              <a:ext cx="143425" cy="228171"/>
            </a:xfrm>
            <a:custGeom>
              <a:avLst/>
              <a:gdLst>
                <a:gd name="T0" fmla="*/ 41 w 594000"/>
                <a:gd name="T1" fmla="*/ 132 h 922950"/>
                <a:gd name="T2" fmla="*/ 47 w 594000"/>
                <a:gd name="T3" fmla="*/ 127 h 922950"/>
                <a:gd name="T4" fmla="*/ 56 w 594000"/>
                <a:gd name="T5" fmla="*/ 113 h 922950"/>
                <a:gd name="T6" fmla="*/ 66 w 594000"/>
                <a:gd name="T7" fmla="*/ 98 h 922950"/>
                <a:gd name="T8" fmla="*/ 63 w 594000"/>
                <a:gd name="T9" fmla="*/ 88 h 922950"/>
                <a:gd name="T10" fmla="*/ 73 w 594000"/>
                <a:gd name="T11" fmla="*/ 88 h 922950"/>
                <a:gd name="T12" fmla="*/ 81 w 594000"/>
                <a:gd name="T13" fmla="*/ 77 h 922950"/>
                <a:gd name="T14" fmla="*/ 87 w 594000"/>
                <a:gd name="T15" fmla="*/ 67 h 922950"/>
                <a:gd name="T16" fmla="*/ 87 w 594000"/>
                <a:gd name="T17" fmla="*/ 54 h 922950"/>
                <a:gd name="T18" fmla="*/ 74 w 594000"/>
                <a:gd name="T19" fmla="*/ 57 h 922950"/>
                <a:gd name="T20" fmla="*/ 69 w 594000"/>
                <a:gd name="T21" fmla="*/ 67 h 922950"/>
                <a:gd name="T22" fmla="*/ 53 w 594000"/>
                <a:gd name="T23" fmla="*/ 57 h 922950"/>
                <a:gd name="T24" fmla="*/ 45 w 594000"/>
                <a:gd name="T25" fmla="*/ 34 h 922950"/>
                <a:gd name="T26" fmla="*/ 37 w 594000"/>
                <a:gd name="T27" fmla="*/ 41 h 922950"/>
                <a:gd name="T28" fmla="*/ 31 w 594000"/>
                <a:gd name="T29" fmla="*/ 31 h 922950"/>
                <a:gd name="T30" fmla="*/ 26 w 594000"/>
                <a:gd name="T31" fmla="*/ 23 h 922950"/>
                <a:gd name="T32" fmla="*/ 24 w 594000"/>
                <a:gd name="T33" fmla="*/ 10 h 922950"/>
                <a:gd name="T34" fmla="*/ 8 w 594000"/>
                <a:gd name="T35" fmla="*/ 0 h 922950"/>
                <a:gd name="T36" fmla="*/ 0 w 594000"/>
                <a:gd name="T37" fmla="*/ 8 h 922950"/>
                <a:gd name="T38" fmla="*/ 5 w 594000"/>
                <a:gd name="T39" fmla="*/ 15 h 922950"/>
                <a:gd name="T40" fmla="*/ 11 w 594000"/>
                <a:gd name="T41" fmla="*/ 28 h 922950"/>
                <a:gd name="T42" fmla="*/ 18 w 594000"/>
                <a:gd name="T43" fmla="*/ 41 h 922950"/>
                <a:gd name="T44" fmla="*/ 29 w 594000"/>
                <a:gd name="T45" fmla="*/ 52 h 922950"/>
                <a:gd name="T46" fmla="*/ 26 w 594000"/>
                <a:gd name="T47" fmla="*/ 59 h 922950"/>
                <a:gd name="T48" fmla="*/ 26 w 594000"/>
                <a:gd name="T49" fmla="*/ 70 h 922950"/>
                <a:gd name="T50" fmla="*/ 24 w 594000"/>
                <a:gd name="T51" fmla="*/ 80 h 922950"/>
                <a:gd name="T52" fmla="*/ 13 w 594000"/>
                <a:gd name="T53" fmla="*/ 82 h 922950"/>
                <a:gd name="T54" fmla="*/ 11 w 594000"/>
                <a:gd name="T55" fmla="*/ 93 h 922950"/>
                <a:gd name="T56" fmla="*/ 19 w 594000"/>
                <a:gd name="T57" fmla="*/ 96 h 922950"/>
                <a:gd name="T58" fmla="*/ 26 w 594000"/>
                <a:gd name="T59" fmla="*/ 98 h 922950"/>
                <a:gd name="T60" fmla="*/ 32 w 594000"/>
                <a:gd name="T61" fmla="*/ 103 h 922950"/>
                <a:gd name="T62" fmla="*/ 34 w 594000"/>
                <a:gd name="T63" fmla="*/ 106 h 922950"/>
                <a:gd name="T64" fmla="*/ 33 w 594000"/>
                <a:gd name="T65" fmla="*/ 116 h 922950"/>
                <a:gd name="T66" fmla="*/ 29 w 594000"/>
                <a:gd name="T67" fmla="*/ 121 h 922950"/>
                <a:gd name="T68" fmla="*/ 29 w 594000"/>
                <a:gd name="T69" fmla="*/ 126 h 922950"/>
                <a:gd name="T70" fmla="*/ 31 w 594000"/>
                <a:gd name="T71" fmla="*/ 132 h 922950"/>
                <a:gd name="T72" fmla="*/ 41 w 594000"/>
                <a:gd name="T73" fmla="*/ 132 h 9229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94000"/>
                <a:gd name="T112" fmla="*/ 0 h 922950"/>
                <a:gd name="T113" fmla="*/ 594000 w 594000"/>
                <a:gd name="T114" fmla="*/ 922950 h 9229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94000" h="922950">
                  <a:moveTo>
                    <a:pt x="279900" y="922950"/>
                  </a:moveTo>
                  <a:lnTo>
                    <a:pt x="320381" y="889613"/>
                  </a:lnTo>
                  <a:lnTo>
                    <a:pt x="379913" y="789600"/>
                  </a:lnTo>
                  <a:lnTo>
                    <a:pt x="450000" y="684000"/>
                  </a:lnTo>
                  <a:lnTo>
                    <a:pt x="432000" y="612000"/>
                  </a:lnTo>
                  <a:lnTo>
                    <a:pt x="498975" y="615769"/>
                  </a:lnTo>
                  <a:lnTo>
                    <a:pt x="556125" y="539569"/>
                  </a:lnTo>
                  <a:lnTo>
                    <a:pt x="591844" y="468131"/>
                  </a:lnTo>
                  <a:lnTo>
                    <a:pt x="594000" y="378000"/>
                  </a:lnTo>
                  <a:lnTo>
                    <a:pt x="504000" y="396000"/>
                  </a:lnTo>
                  <a:lnTo>
                    <a:pt x="468000" y="468000"/>
                  </a:lnTo>
                  <a:lnTo>
                    <a:pt x="360000" y="396000"/>
                  </a:lnTo>
                  <a:lnTo>
                    <a:pt x="306000" y="234000"/>
                  </a:lnTo>
                  <a:lnTo>
                    <a:pt x="252000" y="288000"/>
                  </a:lnTo>
                  <a:lnTo>
                    <a:pt x="213225" y="218100"/>
                  </a:lnTo>
                  <a:lnTo>
                    <a:pt x="180000" y="162000"/>
                  </a:lnTo>
                  <a:lnTo>
                    <a:pt x="162000" y="72000"/>
                  </a:lnTo>
                  <a:lnTo>
                    <a:pt x="54000" y="0"/>
                  </a:lnTo>
                  <a:lnTo>
                    <a:pt x="0" y="54000"/>
                  </a:lnTo>
                  <a:lnTo>
                    <a:pt x="36000" y="108000"/>
                  </a:lnTo>
                  <a:lnTo>
                    <a:pt x="72000" y="198000"/>
                  </a:lnTo>
                  <a:lnTo>
                    <a:pt x="126000" y="288000"/>
                  </a:lnTo>
                  <a:lnTo>
                    <a:pt x="198000" y="360000"/>
                  </a:lnTo>
                  <a:lnTo>
                    <a:pt x="180000" y="414000"/>
                  </a:lnTo>
                  <a:lnTo>
                    <a:pt x="180000" y="486000"/>
                  </a:lnTo>
                  <a:lnTo>
                    <a:pt x="162000" y="558000"/>
                  </a:lnTo>
                  <a:lnTo>
                    <a:pt x="90000" y="576000"/>
                  </a:lnTo>
                  <a:lnTo>
                    <a:pt x="72000" y="648000"/>
                  </a:lnTo>
                  <a:lnTo>
                    <a:pt x="127500" y="670538"/>
                  </a:lnTo>
                  <a:lnTo>
                    <a:pt x="180000" y="684000"/>
                  </a:lnTo>
                  <a:lnTo>
                    <a:pt x="216000" y="720000"/>
                  </a:lnTo>
                  <a:lnTo>
                    <a:pt x="234000" y="738000"/>
                  </a:lnTo>
                  <a:lnTo>
                    <a:pt x="227513" y="813413"/>
                  </a:lnTo>
                  <a:lnTo>
                    <a:pt x="198000" y="846000"/>
                  </a:lnTo>
                  <a:lnTo>
                    <a:pt x="198000" y="882000"/>
                  </a:lnTo>
                  <a:lnTo>
                    <a:pt x="213225" y="920569"/>
                  </a:lnTo>
                  <a:lnTo>
                    <a:pt x="279900" y="92295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7" name="Freeform 232">
              <a:extLst>
                <a:ext uri="{FF2B5EF4-FFF2-40B4-BE49-F238E27FC236}">
                  <a16:creationId xmlns:a16="http://schemas.microsoft.com/office/drawing/2014/main" id="{D7358302-9F29-A4A5-26D2-300890C15589}"/>
                </a:ext>
              </a:extLst>
            </p:cNvPr>
            <p:cNvSpPr>
              <a:spLocks/>
            </p:cNvSpPr>
            <p:nvPr/>
          </p:nvSpPr>
          <p:spPr bwMode="auto">
            <a:xfrm>
              <a:off x="4766731" y="2338623"/>
              <a:ext cx="47061" cy="78363"/>
            </a:xfrm>
            <a:custGeom>
              <a:avLst/>
              <a:gdLst>
                <a:gd name="T0" fmla="*/ 27 w 195263"/>
                <a:gd name="T1" fmla="*/ 27 h 309563"/>
                <a:gd name="T2" fmla="*/ 23 w 195263"/>
                <a:gd name="T3" fmla="*/ 31 h 309563"/>
                <a:gd name="T4" fmla="*/ 18 w 195263"/>
                <a:gd name="T5" fmla="*/ 33 h 309563"/>
                <a:gd name="T6" fmla="*/ 18 w 195263"/>
                <a:gd name="T7" fmla="*/ 38 h 309563"/>
                <a:gd name="T8" fmla="*/ 13 w 195263"/>
                <a:gd name="T9" fmla="*/ 47 h 309563"/>
                <a:gd name="T10" fmla="*/ 7 w 195263"/>
                <a:gd name="T11" fmla="*/ 50 h 309563"/>
                <a:gd name="T12" fmla="*/ 4 w 195263"/>
                <a:gd name="T13" fmla="*/ 50 h 309563"/>
                <a:gd name="T14" fmla="*/ 0 w 195263"/>
                <a:gd name="T15" fmla="*/ 44 h 309563"/>
                <a:gd name="T16" fmla="*/ 1 w 195263"/>
                <a:gd name="T17" fmla="*/ 39 h 309563"/>
                <a:gd name="T18" fmla="*/ 4 w 195263"/>
                <a:gd name="T19" fmla="*/ 40 h 309563"/>
                <a:gd name="T20" fmla="*/ 11 w 195263"/>
                <a:gd name="T21" fmla="*/ 37 h 309563"/>
                <a:gd name="T22" fmla="*/ 12 w 195263"/>
                <a:gd name="T23" fmla="*/ 31 h 309563"/>
                <a:gd name="T24" fmla="*/ 9 w 195263"/>
                <a:gd name="T25" fmla="*/ 23 h 309563"/>
                <a:gd name="T26" fmla="*/ 2 w 195263"/>
                <a:gd name="T27" fmla="*/ 18 h 309563"/>
                <a:gd name="T28" fmla="*/ 4 w 195263"/>
                <a:gd name="T29" fmla="*/ 12 h 309563"/>
                <a:gd name="T30" fmla="*/ 10 w 195263"/>
                <a:gd name="T31" fmla="*/ 13 h 309563"/>
                <a:gd name="T32" fmla="*/ 17 w 195263"/>
                <a:gd name="T33" fmla="*/ 9 h 309563"/>
                <a:gd name="T34" fmla="*/ 20 w 195263"/>
                <a:gd name="T35" fmla="*/ 0 h 309563"/>
                <a:gd name="T36" fmla="*/ 25 w 195263"/>
                <a:gd name="T37" fmla="*/ 6 h 309563"/>
                <a:gd name="T38" fmla="*/ 28 w 195263"/>
                <a:gd name="T39" fmla="*/ 15 h 309563"/>
                <a:gd name="T40" fmla="*/ 27 w 195263"/>
                <a:gd name="T41" fmla="*/ 27 h 3095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5263"/>
                <a:gd name="T64" fmla="*/ 0 h 309563"/>
                <a:gd name="T65" fmla="*/ 195263 w 195263"/>
                <a:gd name="T66" fmla="*/ 309563 h 3095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5263" h="309563">
                  <a:moveTo>
                    <a:pt x="187425" y="169219"/>
                  </a:moveTo>
                  <a:lnTo>
                    <a:pt x="157163" y="190500"/>
                  </a:lnTo>
                  <a:lnTo>
                    <a:pt x="121444" y="204788"/>
                  </a:lnTo>
                  <a:lnTo>
                    <a:pt x="121444" y="238125"/>
                  </a:lnTo>
                  <a:lnTo>
                    <a:pt x="88106" y="292894"/>
                  </a:lnTo>
                  <a:lnTo>
                    <a:pt x="50006" y="309563"/>
                  </a:lnTo>
                  <a:lnTo>
                    <a:pt x="26194" y="309563"/>
                  </a:lnTo>
                  <a:lnTo>
                    <a:pt x="0" y="273844"/>
                  </a:lnTo>
                  <a:lnTo>
                    <a:pt x="4763" y="242888"/>
                  </a:lnTo>
                  <a:lnTo>
                    <a:pt x="30956" y="245269"/>
                  </a:lnTo>
                  <a:lnTo>
                    <a:pt x="76200" y="230982"/>
                  </a:lnTo>
                  <a:lnTo>
                    <a:pt x="80963" y="195263"/>
                  </a:lnTo>
                  <a:lnTo>
                    <a:pt x="59531" y="145257"/>
                  </a:lnTo>
                  <a:lnTo>
                    <a:pt x="16669" y="111919"/>
                  </a:lnTo>
                  <a:lnTo>
                    <a:pt x="28575" y="71438"/>
                  </a:lnTo>
                  <a:lnTo>
                    <a:pt x="66675" y="78582"/>
                  </a:lnTo>
                  <a:lnTo>
                    <a:pt x="114300" y="54769"/>
                  </a:lnTo>
                  <a:lnTo>
                    <a:pt x="135731" y="0"/>
                  </a:lnTo>
                  <a:lnTo>
                    <a:pt x="171450" y="35719"/>
                  </a:lnTo>
                  <a:lnTo>
                    <a:pt x="195263" y="95250"/>
                  </a:lnTo>
                  <a:lnTo>
                    <a:pt x="187425" y="16921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8" name="Freeform 233">
              <a:extLst>
                <a:ext uri="{FF2B5EF4-FFF2-40B4-BE49-F238E27FC236}">
                  <a16:creationId xmlns:a16="http://schemas.microsoft.com/office/drawing/2014/main" id="{5AA88B0D-A6D9-366D-B60C-9F8CA18164FA}"/>
                </a:ext>
              </a:extLst>
            </p:cNvPr>
            <p:cNvSpPr>
              <a:spLocks/>
            </p:cNvSpPr>
            <p:nvPr/>
          </p:nvSpPr>
          <p:spPr bwMode="auto">
            <a:xfrm>
              <a:off x="531223" y="2225689"/>
              <a:ext cx="73954" cy="82972"/>
            </a:xfrm>
            <a:custGeom>
              <a:avLst/>
              <a:gdLst>
                <a:gd name="T0" fmla="*/ 19 w 305812"/>
                <a:gd name="T1" fmla="*/ 45 h 342000"/>
                <a:gd name="T2" fmla="*/ 30 w 305812"/>
                <a:gd name="T3" fmla="*/ 30 h 342000"/>
                <a:gd name="T4" fmla="*/ 42 w 305812"/>
                <a:gd name="T5" fmla="*/ 28 h 342000"/>
                <a:gd name="T6" fmla="*/ 39 w 305812"/>
                <a:gd name="T7" fmla="*/ 15 h 342000"/>
                <a:gd name="T8" fmla="*/ 45 w 305812"/>
                <a:gd name="T9" fmla="*/ 2 h 342000"/>
                <a:gd name="T10" fmla="*/ 37 w 305812"/>
                <a:gd name="T11" fmla="*/ 0 h 342000"/>
                <a:gd name="T12" fmla="*/ 29 w 305812"/>
                <a:gd name="T13" fmla="*/ 4 h 342000"/>
                <a:gd name="T14" fmla="*/ 24 w 305812"/>
                <a:gd name="T15" fmla="*/ 13 h 342000"/>
                <a:gd name="T16" fmla="*/ 16 w 305812"/>
                <a:gd name="T17" fmla="*/ 14 h 342000"/>
                <a:gd name="T18" fmla="*/ 3 w 305812"/>
                <a:gd name="T19" fmla="*/ 26 h 342000"/>
                <a:gd name="T20" fmla="*/ 0 w 305812"/>
                <a:gd name="T21" fmla="*/ 31 h 342000"/>
                <a:gd name="T22" fmla="*/ 3 w 305812"/>
                <a:gd name="T23" fmla="*/ 35 h 342000"/>
                <a:gd name="T24" fmla="*/ 8 w 305812"/>
                <a:gd name="T25" fmla="*/ 40 h 342000"/>
                <a:gd name="T26" fmla="*/ 19 w 305812"/>
                <a:gd name="T27" fmla="*/ 45 h 3420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5812"/>
                <a:gd name="T43" fmla="*/ 0 h 342000"/>
                <a:gd name="T44" fmla="*/ 305812 w 305812"/>
                <a:gd name="T45" fmla="*/ 342000 h 3420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5812" h="342000">
                  <a:moveTo>
                    <a:pt x="125812" y="342000"/>
                  </a:moveTo>
                  <a:lnTo>
                    <a:pt x="204787" y="232181"/>
                  </a:lnTo>
                  <a:lnTo>
                    <a:pt x="287812" y="216000"/>
                  </a:lnTo>
                  <a:lnTo>
                    <a:pt x="261937" y="115500"/>
                  </a:lnTo>
                  <a:lnTo>
                    <a:pt x="305812" y="18000"/>
                  </a:lnTo>
                  <a:lnTo>
                    <a:pt x="251812" y="0"/>
                  </a:lnTo>
                  <a:lnTo>
                    <a:pt x="197643" y="32156"/>
                  </a:lnTo>
                  <a:lnTo>
                    <a:pt x="164306" y="101213"/>
                  </a:lnTo>
                  <a:lnTo>
                    <a:pt x="107812" y="108000"/>
                  </a:lnTo>
                  <a:lnTo>
                    <a:pt x="17812" y="198000"/>
                  </a:lnTo>
                  <a:lnTo>
                    <a:pt x="0" y="236944"/>
                  </a:lnTo>
                  <a:lnTo>
                    <a:pt x="17812" y="270000"/>
                  </a:lnTo>
                  <a:lnTo>
                    <a:pt x="52387" y="308381"/>
                  </a:lnTo>
                  <a:lnTo>
                    <a:pt x="125812" y="34200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29" name="Freeform 234">
              <a:extLst>
                <a:ext uri="{FF2B5EF4-FFF2-40B4-BE49-F238E27FC236}">
                  <a16:creationId xmlns:a16="http://schemas.microsoft.com/office/drawing/2014/main" id="{B261D231-4510-0A18-A377-0D8B081D44DA}"/>
                </a:ext>
              </a:extLst>
            </p:cNvPr>
            <p:cNvSpPr>
              <a:spLocks/>
            </p:cNvSpPr>
            <p:nvPr/>
          </p:nvSpPr>
          <p:spPr bwMode="auto">
            <a:xfrm>
              <a:off x="4636753" y="2605975"/>
              <a:ext cx="11206" cy="16133"/>
            </a:xfrm>
            <a:custGeom>
              <a:avLst/>
              <a:gdLst>
                <a:gd name="T0" fmla="*/ 10 w 41671"/>
                <a:gd name="T1" fmla="*/ 7 h 61913"/>
                <a:gd name="T2" fmla="*/ 7 w 41671"/>
                <a:gd name="T3" fmla="*/ 11 h 61913"/>
                <a:gd name="T4" fmla="*/ 3 w 41671"/>
                <a:gd name="T5" fmla="*/ 11 h 61913"/>
                <a:gd name="T6" fmla="*/ 0 w 41671"/>
                <a:gd name="T7" fmla="*/ 10 h 61913"/>
                <a:gd name="T8" fmla="*/ 0 w 41671"/>
                <a:gd name="T9" fmla="*/ 7 h 61913"/>
                <a:gd name="T10" fmla="*/ 0 w 41671"/>
                <a:gd name="T11" fmla="*/ 5 h 61913"/>
                <a:gd name="T12" fmla="*/ 2 w 41671"/>
                <a:gd name="T13" fmla="*/ 1 h 61913"/>
                <a:gd name="T14" fmla="*/ 5 w 41671"/>
                <a:gd name="T15" fmla="*/ 0 h 61913"/>
                <a:gd name="T16" fmla="*/ 7 w 41671"/>
                <a:gd name="T17" fmla="*/ 4 h 61913"/>
                <a:gd name="T18" fmla="*/ 10 w 41671"/>
                <a:gd name="T19" fmla="*/ 7 h 619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671"/>
                <a:gd name="T31" fmla="*/ 0 h 61913"/>
                <a:gd name="T32" fmla="*/ 41671 w 41671"/>
                <a:gd name="T33" fmla="*/ 61913 h 619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671" h="61913">
                  <a:moveTo>
                    <a:pt x="41671" y="38100"/>
                  </a:moveTo>
                  <a:lnTo>
                    <a:pt x="27384" y="58341"/>
                  </a:lnTo>
                  <a:lnTo>
                    <a:pt x="13096" y="61913"/>
                  </a:lnTo>
                  <a:lnTo>
                    <a:pt x="1190" y="53579"/>
                  </a:lnTo>
                  <a:lnTo>
                    <a:pt x="1190" y="39291"/>
                  </a:lnTo>
                  <a:lnTo>
                    <a:pt x="0" y="26194"/>
                  </a:lnTo>
                  <a:lnTo>
                    <a:pt x="7143" y="3572"/>
                  </a:lnTo>
                  <a:lnTo>
                    <a:pt x="21431" y="0"/>
                  </a:lnTo>
                  <a:lnTo>
                    <a:pt x="28575" y="23813"/>
                  </a:lnTo>
                  <a:lnTo>
                    <a:pt x="41671" y="3810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30" name="Freeform 239">
              <a:extLst>
                <a:ext uri="{FF2B5EF4-FFF2-40B4-BE49-F238E27FC236}">
                  <a16:creationId xmlns:a16="http://schemas.microsoft.com/office/drawing/2014/main" id="{D9DC5079-EDB7-106D-D8A1-CE099F1BFB86}"/>
                </a:ext>
              </a:extLst>
            </p:cNvPr>
            <p:cNvSpPr>
              <a:spLocks/>
            </p:cNvSpPr>
            <p:nvPr/>
          </p:nvSpPr>
          <p:spPr bwMode="auto">
            <a:xfrm>
              <a:off x="5811041" y="3456433"/>
              <a:ext cx="24651" cy="25353"/>
            </a:xfrm>
            <a:custGeom>
              <a:avLst/>
              <a:gdLst>
                <a:gd name="T0" fmla="*/ 2147483647 w 65"/>
                <a:gd name="T1" fmla="*/ 2147483647 h 64"/>
                <a:gd name="T2" fmla="*/ 2147483647 w 65"/>
                <a:gd name="T3" fmla="*/ 2147483647 h 64"/>
                <a:gd name="T4" fmla="*/ 2147483647 w 65"/>
                <a:gd name="T5" fmla="*/ 0 h 64"/>
                <a:gd name="T6" fmla="*/ 2147483647 w 65"/>
                <a:gd name="T7" fmla="*/ 0 h 64"/>
                <a:gd name="T8" fmla="*/ 2147483647 w 65"/>
                <a:gd name="T9" fmla="*/ 2147483647 h 64"/>
                <a:gd name="T10" fmla="*/ 2147483647 w 65"/>
                <a:gd name="T11" fmla="*/ 2147483647 h 64"/>
                <a:gd name="T12" fmla="*/ 2147483647 w 65"/>
                <a:gd name="T13" fmla="*/ 2147483647 h 64"/>
                <a:gd name="T14" fmla="*/ 2147483647 w 65"/>
                <a:gd name="T15" fmla="*/ 2147483647 h 64"/>
                <a:gd name="T16" fmla="*/ 0 w 65"/>
                <a:gd name="T17" fmla="*/ 2147483647 h 64"/>
                <a:gd name="T18" fmla="*/ 2147483647 w 65"/>
                <a:gd name="T19" fmla="*/ 2147483647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64"/>
                <a:gd name="T32" fmla="*/ 65 w 65"/>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64">
                  <a:moveTo>
                    <a:pt x="13" y="19"/>
                  </a:moveTo>
                  <a:lnTo>
                    <a:pt x="33" y="19"/>
                  </a:lnTo>
                  <a:lnTo>
                    <a:pt x="33" y="0"/>
                  </a:lnTo>
                  <a:lnTo>
                    <a:pt x="52" y="0"/>
                  </a:lnTo>
                  <a:lnTo>
                    <a:pt x="65" y="23"/>
                  </a:lnTo>
                  <a:lnTo>
                    <a:pt x="62" y="39"/>
                  </a:lnTo>
                  <a:lnTo>
                    <a:pt x="54" y="53"/>
                  </a:lnTo>
                  <a:lnTo>
                    <a:pt x="3" y="64"/>
                  </a:lnTo>
                  <a:lnTo>
                    <a:pt x="0" y="46"/>
                  </a:lnTo>
                  <a:lnTo>
                    <a:pt x="13" y="19"/>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31" name="Freeform 240">
              <a:extLst>
                <a:ext uri="{FF2B5EF4-FFF2-40B4-BE49-F238E27FC236}">
                  <a16:creationId xmlns:a16="http://schemas.microsoft.com/office/drawing/2014/main" id="{D247FDAD-3C71-ABEF-3F9C-5DF54FFB0754}"/>
                </a:ext>
              </a:extLst>
            </p:cNvPr>
            <p:cNvSpPr>
              <a:spLocks/>
            </p:cNvSpPr>
            <p:nvPr/>
          </p:nvSpPr>
          <p:spPr bwMode="auto">
            <a:xfrm>
              <a:off x="4540389" y="2866413"/>
              <a:ext cx="11204" cy="6915"/>
            </a:xfrm>
            <a:custGeom>
              <a:avLst/>
              <a:gdLst>
                <a:gd name="T0" fmla="*/ 0 w 23"/>
                <a:gd name="T1" fmla="*/ 2147483647 h 16"/>
                <a:gd name="T2" fmla="*/ 2147483647 w 23"/>
                <a:gd name="T3" fmla="*/ 0 h 16"/>
                <a:gd name="T4" fmla="*/ 2147483647 w 23"/>
                <a:gd name="T5" fmla="*/ 2147483647 h 16"/>
                <a:gd name="T6" fmla="*/ 2147483647 w 23"/>
                <a:gd name="T7" fmla="*/ 2147483647 h 16"/>
                <a:gd name="T8" fmla="*/ 2147483647 w 23"/>
                <a:gd name="T9" fmla="*/ 2147483647 h 16"/>
                <a:gd name="T10" fmla="*/ 0 w 23"/>
                <a:gd name="T11" fmla="*/ 2147483647 h 16"/>
                <a:gd name="T12" fmla="*/ 0 60000 65536"/>
                <a:gd name="T13" fmla="*/ 0 60000 65536"/>
                <a:gd name="T14" fmla="*/ 0 60000 65536"/>
                <a:gd name="T15" fmla="*/ 0 60000 65536"/>
                <a:gd name="T16" fmla="*/ 0 60000 65536"/>
                <a:gd name="T17" fmla="*/ 0 60000 65536"/>
                <a:gd name="T18" fmla="*/ 0 w 23"/>
                <a:gd name="T19" fmla="*/ 0 h 16"/>
                <a:gd name="T20" fmla="*/ 23 w 2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3" h="16">
                  <a:moveTo>
                    <a:pt x="0" y="4"/>
                  </a:moveTo>
                  <a:lnTo>
                    <a:pt x="12" y="0"/>
                  </a:lnTo>
                  <a:lnTo>
                    <a:pt x="23" y="4"/>
                  </a:lnTo>
                  <a:lnTo>
                    <a:pt x="12" y="13"/>
                  </a:lnTo>
                  <a:lnTo>
                    <a:pt x="3" y="16"/>
                  </a:lnTo>
                  <a:lnTo>
                    <a:pt x="0" y="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32" name="Freeform 241">
              <a:extLst>
                <a:ext uri="{FF2B5EF4-FFF2-40B4-BE49-F238E27FC236}">
                  <a16:creationId xmlns:a16="http://schemas.microsoft.com/office/drawing/2014/main" id="{DACAE23E-4A72-D35D-D2D9-B289E1203CF8}"/>
                </a:ext>
              </a:extLst>
            </p:cNvPr>
            <p:cNvSpPr>
              <a:spLocks/>
            </p:cNvSpPr>
            <p:nvPr/>
          </p:nvSpPr>
          <p:spPr bwMode="auto">
            <a:xfrm>
              <a:off x="5358356" y="3246699"/>
              <a:ext cx="17928" cy="18438"/>
            </a:xfrm>
            <a:custGeom>
              <a:avLst/>
              <a:gdLst>
                <a:gd name="T0" fmla="*/ 2147483647 w 36"/>
                <a:gd name="T1" fmla="*/ 0 h 42"/>
                <a:gd name="T2" fmla="*/ 2147483647 w 36"/>
                <a:gd name="T3" fmla="*/ 2147483647 h 42"/>
                <a:gd name="T4" fmla="*/ 2147483647 w 36"/>
                <a:gd name="T5" fmla="*/ 2147483647 h 42"/>
                <a:gd name="T6" fmla="*/ 2147483647 w 36"/>
                <a:gd name="T7" fmla="*/ 2147483647 h 42"/>
                <a:gd name="T8" fmla="*/ 0 w 36"/>
                <a:gd name="T9" fmla="*/ 2147483647 h 42"/>
                <a:gd name="T10" fmla="*/ 2147483647 w 36"/>
                <a:gd name="T11" fmla="*/ 0 h 42"/>
                <a:gd name="T12" fmla="*/ 0 60000 65536"/>
                <a:gd name="T13" fmla="*/ 0 60000 65536"/>
                <a:gd name="T14" fmla="*/ 0 60000 65536"/>
                <a:gd name="T15" fmla="*/ 0 60000 65536"/>
                <a:gd name="T16" fmla="*/ 0 60000 65536"/>
                <a:gd name="T17" fmla="*/ 0 60000 65536"/>
                <a:gd name="T18" fmla="*/ 0 w 36"/>
                <a:gd name="T19" fmla="*/ 0 h 42"/>
                <a:gd name="T20" fmla="*/ 36 w 36"/>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36" h="42">
                  <a:moveTo>
                    <a:pt x="25" y="0"/>
                  </a:moveTo>
                  <a:lnTo>
                    <a:pt x="36" y="11"/>
                  </a:lnTo>
                  <a:lnTo>
                    <a:pt x="21" y="26"/>
                  </a:lnTo>
                  <a:lnTo>
                    <a:pt x="10" y="42"/>
                  </a:lnTo>
                  <a:lnTo>
                    <a:pt x="0" y="29"/>
                  </a:lnTo>
                  <a:lnTo>
                    <a:pt x="25"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nvGrpSpPr>
            <p:cNvPr id="233" name="Group 242">
              <a:extLst>
                <a:ext uri="{FF2B5EF4-FFF2-40B4-BE49-F238E27FC236}">
                  <a16:creationId xmlns:a16="http://schemas.microsoft.com/office/drawing/2014/main" id="{FAB795D1-0576-C6B5-4285-E730A6B01CC6}"/>
                </a:ext>
              </a:extLst>
            </p:cNvPr>
            <p:cNvGrpSpPr>
              <a:grpSpLocks noChangeAspect="1"/>
            </p:cNvGrpSpPr>
            <p:nvPr/>
          </p:nvGrpSpPr>
          <p:grpSpPr bwMode="auto">
            <a:xfrm>
              <a:off x="9002237" y="4479748"/>
              <a:ext cx="121015" cy="103715"/>
              <a:chOff x="2864" y="2525"/>
              <a:chExt cx="248" cy="206"/>
            </a:xfrm>
            <a:solidFill>
              <a:srgbClr val="E0E0E0"/>
            </a:solidFill>
          </p:grpSpPr>
          <p:sp>
            <p:nvSpPr>
              <p:cNvPr id="298" name="Freeform 243">
                <a:extLst>
                  <a:ext uri="{FF2B5EF4-FFF2-40B4-BE49-F238E27FC236}">
                    <a16:creationId xmlns:a16="http://schemas.microsoft.com/office/drawing/2014/main" id="{2F4FBAAA-3E22-87FD-FD3C-B36A29CC892B}"/>
                  </a:ext>
                </a:extLst>
              </p:cNvPr>
              <p:cNvSpPr>
                <a:spLocks noChangeAspect="1"/>
              </p:cNvSpPr>
              <p:nvPr/>
            </p:nvSpPr>
            <p:spPr bwMode="auto">
              <a:xfrm>
                <a:off x="2864" y="2632"/>
                <a:ext cx="131" cy="99"/>
              </a:xfrm>
              <a:custGeom>
                <a:avLst/>
                <a:gdLst>
                  <a:gd name="T0" fmla="*/ 0 w 656"/>
                  <a:gd name="T1" fmla="*/ 0 h 499"/>
                  <a:gd name="T2" fmla="*/ 0 w 656"/>
                  <a:gd name="T3" fmla="*/ 0 h 499"/>
                  <a:gd name="T4" fmla="*/ 0 w 656"/>
                  <a:gd name="T5" fmla="*/ 0 h 499"/>
                  <a:gd name="T6" fmla="*/ 0 w 656"/>
                  <a:gd name="T7" fmla="*/ 0 h 499"/>
                  <a:gd name="T8" fmla="*/ 0 w 656"/>
                  <a:gd name="T9" fmla="*/ 0 h 499"/>
                  <a:gd name="T10" fmla="*/ 0 w 656"/>
                  <a:gd name="T11" fmla="*/ 0 h 499"/>
                  <a:gd name="T12" fmla="*/ 0 w 656"/>
                  <a:gd name="T13" fmla="*/ 0 h 499"/>
                  <a:gd name="T14" fmla="*/ 0 w 656"/>
                  <a:gd name="T15" fmla="*/ 0 h 499"/>
                  <a:gd name="T16" fmla="*/ 0 w 656"/>
                  <a:gd name="T17" fmla="*/ 0 h 499"/>
                  <a:gd name="T18" fmla="*/ 0 w 656"/>
                  <a:gd name="T19" fmla="*/ 0 h 499"/>
                  <a:gd name="T20" fmla="*/ 0 w 656"/>
                  <a:gd name="T21" fmla="*/ 0 h 499"/>
                  <a:gd name="T22" fmla="*/ 0 w 656"/>
                  <a:gd name="T23" fmla="*/ 0 h 499"/>
                  <a:gd name="T24" fmla="*/ 0 w 656"/>
                  <a:gd name="T25" fmla="*/ 0 h 499"/>
                  <a:gd name="T26" fmla="*/ 0 w 656"/>
                  <a:gd name="T27" fmla="*/ 0 h 499"/>
                  <a:gd name="T28" fmla="*/ 0 w 656"/>
                  <a:gd name="T29" fmla="*/ 0 h 499"/>
                  <a:gd name="T30" fmla="*/ 0 w 656"/>
                  <a:gd name="T31" fmla="*/ 0 h 499"/>
                  <a:gd name="T32" fmla="*/ 0 w 656"/>
                  <a:gd name="T33" fmla="*/ 0 h 499"/>
                  <a:gd name="T34" fmla="*/ 0 w 656"/>
                  <a:gd name="T35" fmla="*/ 0 h 499"/>
                  <a:gd name="T36" fmla="*/ 0 w 656"/>
                  <a:gd name="T37" fmla="*/ 0 h 4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56"/>
                  <a:gd name="T58" fmla="*/ 0 h 499"/>
                  <a:gd name="T59" fmla="*/ 656 w 656"/>
                  <a:gd name="T60" fmla="*/ 499 h 49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56" h="499">
                    <a:moveTo>
                      <a:pt x="354" y="499"/>
                    </a:moveTo>
                    <a:lnTo>
                      <a:pt x="224" y="480"/>
                    </a:lnTo>
                    <a:lnTo>
                      <a:pt x="104" y="432"/>
                    </a:lnTo>
                    <a:lnTo>
                      <a:pt x="0" y="384"/>
                    </a:lnTo>
                    <a:lnTo>
                      <a:pt x="8" y="272"/>
                    </a:lnTo>
                    <a:lnTo>
                      <a:pt x="80" y="216"/>
                    </a:lnTo>
                    <a:lnTo>
                      <a:pt x="80" y="136"/>
                    </a:lnTo>
                    <a:lnTo>
                      <a:pt x="173" y="91"/>
                    </a:lnTo>
                    <a:lnTo>
                      <a:pt x="224" y="16"/>
                    </a:lnTo>
                    <a:lnTo>
                      <a:pt x="336" y="24"/>
                    </a:lnTo>
                    <a:lnTo>
                      <a:pt x="445" y="0"/>
                    </a:lnTo>
                    <a:lnTo>
                      <a:pt x="512" y="88"/>
                    </a:lnTo>
                    <a:lnTo>
                      <a:pt x="608" y="176"/>
                    </a:lnTo>
                    <a:lnTo>
                      <a:pt x="624" y="272"/>
                    </a:lnTo>
                    <a:lnTo>
                      <a:pt x="656" y="360"/>
                    </a:lnTo>
                    <a:lnTo>
                      <a:pt x="592" y="392"/>
                    </a:lnTo>
                    <a:lnTo>
                      <a:pt x="520" y="424"/>
                    </a:lnTo>
                    <a:lnTo>
                      <a:pt x="424" y="472"/>
                    </a:lnTo>
                    <a:lnTo>
                      <a:pt x="354" y="499"/>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99" name="Freeform 244">
                <a:extLst>
                  <a:ext uri="{FF2B5EF4-FFF2-40B4-BE49-F238E27FC236}">
                    <a16:creationId xmlns:a16="http://schemas.microsoft.com/office/drawing/2014/main" id="{A825F3FC-FAD3-306D-07E6-DFDA57649F62}"/>
                  </a:ext>
                </a:extLst>
              </p:cNvPr>
              <p:cNvSpPr>
                <a:spLocks noChangeAspect="1"/>
              </p:cNvSpPr>
              <p:nvPr/>
            </p:nvSpPr>
            <p:spPr bwMode="auto">
              <a:xfrm>
                <a:off x="2980" y="2525"/>
                <a:ext cx="132" cy="83"/>
              </a:xfrm>
              <a:custGeom>
                <a:avLst/>
                <a:gdLst>
                  <a:gd name="T0" fmla="*/ 0 w 661"/>
                  <a:gd name="T1" fmla="*/ 0 h 413"/>
                  <a:gd name="T2" fmla="*/ 0 w 661"/>
                  <a:gd name="T3" fmla="*/ 0 h 413"/>
                  <a:gd name="T4" fmla="*/ 0 w 661"/>
                  <a:gd name="T5" fmla="*/ 0 h 413"/>
                  <a:gd name="T6" fmla="*/ 0 w 661"/>
                  <a:gd name="T7" fmla="*/ 0 h 413"/>
                  <a:gd name="T8" fmla="*/ 0 w 661"/>
                  <a:gd name="T9" fmla="*/ 0 h 413"/>
                  <a:gd name="T10" fmla="*/ 0 w 661"/>
                  <a:gd name="T11" fmla="*/ 0 h 413"/>
                  <a:gd name="T12" fmla="*/ 0 w 661"/>
                  <a:gd name="T13" fmla="*/ 0 h 413"/>
                  <a:gd name="T14" fmla="*/ 0 w 661"/>
                  <a:gd name="T15" fmla="*/ 0 h 413"/>
                  <a:gd name="T16" fmla="*/ 0 w 661"/>
                  <a:gd name="T17" fmla="*/ 0 h 413"/>
                  <a:gd name="T18" fmla="*/ 0 w 661"/>
                  <a:gd name="T19" fmla="*/ 0 h 413"/>
                  <a:gd name="T20" fmla="*/ 0 w 661"/>
                  <a:gd name="T21" fmla="*/ 0 h 413"/>
                  <a:gd name="T22" fmla="*/ 0 w 661"/>
                  <a:gd name="T23" fmla="*/ 0 h 413"/>
                  <a:gd name="T24" fmla="*/ 0 w 661"/>
                  <a:gd name="T25" fmla="*/ 0 h 413"/>
                  <a:gd name="T26" fmla="*/ 0 w 661"/>
                  <a:gd name="T27" fmla="*/ 0 h 413"/>
                  <a:gd name="T28" fmla="*/ 0 w 661"/>
                  <a:gd name="T29" fmla="*/ 0 h 413"/>
                  <a:gd name="T30" fmla="*/ 0 w 661"/>
                  <a:gd name="T31" fmla="*/ 0 h 413"/>
                  <a:gd name="T32" fmla="*/ 0 w 661"/>
                  <a:gd name="T33" fmla="*/ 0 h 413"/>
                  <a:gd name="T34" fmla="*/ 0 w 661"/>
                  <a:gd name="T35" fmla="*/ 0 h 413"/>
                  <a:gd name="T36" fmla="*/ 0 w 661"/>
                  <a:gd name="T37" fmla="*/ 0 h 413"/>
                  <a:gd name="T38" fmla="*/ 0 w 661"/>
                  <a:gd name="T39" fmla="*/ 0 h 413"/>
                  <a:gd name="T40" fmla="*/ 0 w 661"/>
                  <a:gd name="T41" fmla="*/ 0 h 413"/>
                  <a:gd name="T42" fmla="*/ 0 w 661"/>
                  <a:gd name="T43" fmla="*/ 0 h 413"/>
                  <a:gd name="T44" fmla="*/ 0 w 661"/>
                  <a:gd name="T45" fmla="*/ 0 h 413"/>
                  <a:gd name="T46" fmla="*/ 0 w 661"/>
                  <a:gd name="T47" fmla="*/ 0 h 413"/>
                  <a:gd name="T48" fmla="*/ 0 w 661"/>
                  <a:gd name="T49" fmla="*/ 0 h 413"/>
                  <a:gd name="T50" fmla="*/ 0 w 661"/>
                  <a:gd name="T51" fmla="*/ 0 h 413"/>
                  <a:gd name="T52" fmla="*/ 0 w 661"/>
                  <a:gd name="T53" fmla="*/ 0 h 413"/>
                  <a:gd name="T54" fmla="*/ 0 w 661"/>
                  <a:gd name="T55" fmla="*/ 0 h 413"/>
                  <a:gd name="T56" fmla="*/ 0 w 661"/>
                  <a:gd name="T57" fmla="*/ 0 h 413"/>
                  <a:gd name="T58" fmla="*/ 0 w 661"/>
                  <a:gd name="T59" fmla="*/ 0 h 413"/>
                  <a:gd name="T60" fmla="*/ 0 w 661"/>
                  <a:gd name="T61" fmla="*/ 0 h 413"/>
                  <a:gd name="T62" fmla="*/ 0 w 661"/>
                  <a:gd name="T63" fmla="*/ 0 h 413"/>
                  <a:gd name="T64" fmla="*/ 0 w 661"/>
                  <a:gd name="T65" fmla="*/ 0 h 413"/>
                  <a:gd name="T66" fmla="*/ 0 w 661"/>
                  <a:gd name="T67" fmla="*/ 0 h 413"/>
                  <a:gd name="T68" fmla="*/ 0 w 661"/>
                  <a:gd name="T69" fmla="*/ 0 h 413"/>
                  <a:gd name="T70" fmla="*/ 0 w 661"/>
                  <a:gd name="T71" fmla="*/ 0 h 413"/>
                  <a:gd name="T72" fmla="*/ 0 w 661"/>
                  <a:gd name="T73" fmla="*/ 0 h 413"/>
                  <a:gd name="T74" fmla="*/ 0 w 661"/>
                  <a:gd name="T75" fmla="*/ 0 h 4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413"/>
                  <a:gd name="T116" fmla="*/ 661 w 661"/>
                  <a:gd name="T117" fmla="*/ 413 h 4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413">
                    <a:moveTo>
                      <a:pt x="109" y="413"/>
                    </a:moveTo>
                    <a:lnTo>
                      <a:pt x="61" y="379"/>
                    </a:lnTo>
                    <a:lnTo>
                      <a:pt x="27" y="326"/>
                    </a:lnTo>
                    <a:lnTo>
                      <a:pt x="0" y="304"/>
                    </a:lnTo>
                    <a:lnTo>
                      <a:pt x="45" y="214"/>
                    </a:lnTo>
                    <a:lnTo>
                      <a:pt x="85" y="221"/>
                    </a:lnTo>
                    <a:lnTo>
                      <a:pt x="133" y="187"/>
                    </a:lnTo>
                    <a:lnTo>
                      <a:pt x="176" y="163"/>
                    </a:lnTo>
                    <a:lnTo>
                      <a:pt x="272" y="123"/>
                    </a:lnTo>
                    <a:lnTo>
                      <a:pt x="320" y="115"/>
                    </a:lnTo>
                    <a:lnTo>
                      <a:pt x="373" y="96"/>
                    </a:lnTo>
                    <a:lnTo>
                      <a:pt x="430" y="62"/>
                    </a:lnTo>
                    <a:lnTo>
                      <a:pt x="499" y="32"/>
                    </a:lnTo>
                    <a:lnTo>
                      <a:pt x="541" y="19"/>
                    </a:lnTo>
                    <a:lnTo>
                      <a:pt x="613" y="0"/>
                    </a:lnTo>
                    <a:lnTo>
                      <a:pt x="661" y="0"/>
                    </a:lnTo>
                    <a:lnTo>
                      <a:pt x="613" y="62"/>
                    </a:lnTo>
                    <a:lnTo>
                      <a:pt x="544" y="123"/>
                    </a:lnTo>
                    <a:lnTo>
                      <a:pt x="493" y="187"/>
                    </a:lnTo>
                    <a:lnTo>
                      <a:pt x="445" y="235"/>
                    </a:lnTo>
                    <a:lnTo>
                      <a:pt x="440" y="283"/>
                    </a:lnTo>
                    <a:lnTo>
                      <a:pt x="497" y="269"/>
                    </a:lnTo>
                    <a:lnTo>
                      <a:pt x="536" y="225"/>
                    </a:lnTo>
                    <a:lnTo>
                      <a:pt x="598" y="187"/>
                    </a:lnTo>
                    <a:lnTo>
                      <a:pt x="637" y="158"/>
                    </a:lnTo>
                    <a:lnTo>
                      <a:pt x="641" y="187"/>
                    </a:lnTo>
                    <a:lnTo>
                      <a:pt x="584" y="245"/>
                    </a:lnTo>
                    <a:lnTo>
                      <a:pt x="541" y="273"/>
                    </a:lnTo>
                    <a:lnTo>
                      <a:pt x="502" y="293"/>
                    </a:lnTo>
                    <a:lnTo>
                      <a:pt x="445" y="321"/>
                    </a:lnTo>
                    <a:lnTo>
                      <a:pt x="377" y="317"/>
                    </a:lnTo>
                    <a:lnTo>
                      <a:pt x="353" y="264"/>
                    </a:lnTo>
                    <a:lnTo>
                      <a:pt x="305" y="264"/>
                    </a:lnTo>
                    <a:lnTo>
                      <a:pt x="243" y="302"/>
                    </a:lnTo>
                    <a:lnTo>
                      <a:pt x="227" y="350"/>
                    </a:lnTo>
                    <a:lnTo>
                      <a:pt x="161" y="326"/>
                    </a:lnTo>
                    <a:lnTo>
                      <a:pt x="104" y="374"/>
                    </a:lnTo>
                    <a:lnTo>
                      <a:pt x="109" y="413"/>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grpSp>
          <p:nvGrpSpPr>
            <p:cNvPr id="234" name="Group 245">
              <a:extLst>
                <a:ext uri="{FF2B5EF4-FFF2-40B4-BE49-F238E27FC236}">
                  <a16:creationId xmlns:a16="http://schemas.microsoft.com/office/drawing/2014/main" id="{4F9DB8BC-AEA5-DE29-BDC3-0AF196DA165C}"/>
                </a:ext>
              </a:extLst>
            </p:cNvPr>
            <p:cNvGrpSpPr>
              <a:grpSpLocks noChangeAspect="1"/>
            </p:cNvGrpSpPr>
            <p:nvPr/>
          </p:nvGrpSpPr>
          <p:grpSpPr bwMode="auto">
            <a:xfrm>
              <a:off x="4833969" y="3115314"/>
              <a:ext cx="17929" cy="16133"/>
              <a:chOff x="9952" y="13024"/>
              <a:chExt cx="1640" cy="1406"/>
            </a:xfrm>
            <a:solidFill>
              <a:srgbClr val="E0E0E0"/>
            </a:solidFill>
          </p:grpSpPr>
          <p:sp>
            <p:nvSpPr>
              <p:cNvPr id="296" name="Freeform 246">
                <a:extLst>
                  <a:ext uri="{FF2B5EF4-FFF2-40B4-BE49-F238E27FC236}">
                    <a16:creationId xmlns:a16="http://schemas.microsoft.com/office/drawing/2014/main" id="{6A901B4D-8098-17CA-1646-C766CABD4839}"/>
                  </a:ext>
                </a:extLst>
              </p:cNvPr>
              <p:cNvSpPr>
                <a:spLocks noChangeAspect="1"/>
              </p:cNvSpPr>
              <p:nvPr/>
            </p:nvSpPr>
            <p:spPr bwMode="auto">
              <a:xfrm>
                <a:off x="10536" y="13424"/>
                <a:ext cx="1056" cy="1006"/>
              </a:xfrm>
              <a:custGeom>
                <a:avLst/>
                <a:gdLst>
                  <a:gd name="T0" fmla="*/ 600 w 1056"/>
                  <a:gd name="T1" fmla="*/ 961 h 1006"/>
                  <a:gd name="T2" fmla="*/ 512 w 1056"/>
                  <a:gd name="T3" fmla="*/ 992 h 1006"/>
                  <a:gd name="T4" fmla="*/ 456 w 1056"/>
                  <a:gd name="T5" fmla="*/ 912 h 1006"/>
                  <a:gd name="T6" fmla="*/ 384 w 1056"/>
                  <a:gd name="T7" fmla="*/ 848 h 1006"/>
                  <a:gd name="T8" fmla="*/ 208 w 1056"/>
                  <a:gd name="T9" fmla="*/ 744 h 1006"/>
                  <a:gd name="T10" fmla="*/ 64 w 1056"/>
                  <a:gd name="T11" fmla="*/ 672 h 1006"/>
                  <a:gd name="T12" fmla="*/ 32 w 1056"/>
                  <a:gd name="T13" fmla="*/ 496 h 1006"/>
                  <a:gd name="T14" fmla="*/ 48 w 1056"/>
                  <a:gd name="T15" fmla="*/ 368 h 1006"/>
                  <a:gd name="T16" fmla="*/ 56 w 1056"/>
                  <a:gd name="T17" fmla="*/ 200 h 1006"/>
                  <a:gd name="T18" fmla="*/ 0 w 1056"/>
                  <a:gd name="T19" fmla="*/ 104 h 1006"/>
                  <a:gd name="T20" fmla="*/ 64 w 1056"/>
                  <a:gd name="T21" fmla="*/ 48 h 1006"/>
                  <a:gd name="T22" fmla="*/ 176 w 1056"/>
                  <a:gd name="T23" fmla="*/ 0 h 1006"/>
                  <a:gd name="T24" fmla="*/ 248 w 1056"/>
                  <a:gd name="T25" fmla="*/ 64 h 1006"/>
                  <a:gd name="T26" fmla="*/ 128 w 1056"/>
                  <a:gd name="T27" fmla="*/ 144 h 1006"/>
                  <a:gd name="T28" fmla="*/ 232 w 1056"/>
                  <a:gd name="T29" fmla="*/ 176 h 1006"/>
                  <a:gd name="T30" fmla="*/ 320 w 1056"/>
                  <a:gd name="T31" fmla="*/ 176 h 1006"/>
                  <a:gd name="T32" fmla="*/ 416 w 1056"/>
                  <a:gd name="T33" fmla="*/ 176 h 1006"/>
                  <a:gd name="T34" fmla="*/ 472 w 1056"/>
                  <a:gd name="T35" fmla="*/ 216 h 1006"/>
                  <a:gd name="T36" fmla="*/ 536 w 1056"/>
                  <a:gd name="T37" fmla="*/ 280 h 1006"/>
                  <a:gd name="T38" fmla="*/ 616 w 1056"/>
                  <a:gd name="T39" fmla="*/ 328 h 1006"/>
                  <a:gd name="T40" fmla="*/ 680 w 1056"/>
                  <a:gd name="T41" fmla="*/ 344 h 1006"/>
                  <a:gd name="T42" fmla="*/ 760 w 1056"/>
                  <a:gd name="T43" fmla="*/ 440 h 1006"/>
                  <a:gd name="T44" fmla="*/ 864 w 1056"/>
                  <a:gd name="T45" fmla="*/ 512 h 1006"/>
                  <a:gd name="T46" fmla="*/ 936 w 1056"/>
                  <a:gd name="T47" fmla="*/ 560 h 1006"/>
                  <a:gd name="T48" fmla="*/ 992 w 1056"/>
                  <a:gd name="T49" fmla="*/ 608 h 1006"/>
                  <a:gd name="T50" fmla="*/ 1056 w 1056"/>
                  <a:gd name="T51" fmla="*/ 720 h 1006"/>
                  <a:gd name="T52" fmla="*/ 1056 w 1056"/>
                  <a:gd name="T53" fmla="*/ 840 h 1006"/>
                  <a:gd name="T54" fmla="*/ 992 w 1056"/>
                  <a:gd name="T55" fmla="*/ 944 h 1006"/>
                  <a:gd name="T56" fmla="*/ 918 w 1056"/>
                  <a:gd name="T57" fmla="*/ 1006 h 1006"/>
                  <a:gd name="T58" fmla="*/ 720 w 1056"/>
                  <a:gd name="T59" fmla="*/ 968 h 1006"/>
                  <a:gd name="T60" fmla="*/ 600 w 1056"/>
                  <a:gd name="T61" fmla="*/ 961 h 10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6"/>
                  <a:gd name="T94" fmla="*/ 0 h 1006"/>
                  <a:gd name="T95" fmla="*/ 1056 w 1056"/>
                  <a:gd name="T96" fmla="*/ 1006 h 10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6" h="1006">
                    <a:moveTo>
                      <a:pt x="600" y="961"/>
                    </a:moveTo>
                    <a:lnTo>
                      <a:pt x="512" y="992"/>
                    </a:lnTo>
                    <a:lnTo>
                      <a:pt x="456" y="912"/>
                    </a:lnTo>
                    <a:lnTo>
                      <a:pt x="384" y="848"/>
                    </a:lnTo>
                    <a:lnTo>
                      <a:pt x="208" y="744"/>
                    </a:lnTo>
                    <a:lnTo>
                      <a:pt x="64" y="672"/>
                    </a:lnTo>
                    <a:lnTo>
                      <a:pt x="32" y="496"/>
                    </a:lnTo>
                    <a:lnTo>
                      <a:pt x="48" y="368"/>
                    </a:lnTo>
                    <a:lnTo>
                      <a:pt x="56" y="200"/>
                    </a:lnTo>
                    <a:lnTo>
                      <a:pt x="0" y="104"/>
                    </a:lnTo>
                    <a:lnTo>
                      <a:pt x="64" y="48"/>
                    </a:lnTo>
                    <a:lnTo>
                      <a:pt x="176" y="0"/>
                    </a:lnTo>
                    <a:lnTo>
                      <a:pt x="248" y="64"/>
                    </a:lnTo>
                    <a:lnTo>
                      <a:pt x="128" y="144"/>
                    </a:lnTo>
                    <a:lnTo>
                      <a:pt x="232" y="176"/>
                    </a:lnTo>
                    <a:lnTo>
                      <a:pt x="320" y="176"/>
                    </a:lnTo>
                    <a:lnTo>
                      <a:pt x="416" y="176"/>
                    </a:lnTo>
                    <a:lnTo>
                      <a:pt x="472" y="216"/>
                    </a:lnTo>
                    <a:lnTo>
                      <a:pt x="536" y="280"/>
                    </a:lnTo>
                    <a:lnTo>
                      <a:pt x="616" y="328"/>
                    </a:lnTo>
                    <a:lnTo>
                      <a:pt x="680" y="344"/>
                    </a:lnTo>
                    <a:lnTo>
                      <a:pt x="760" y="440"/>
                    </a:lnTo>
                    <a:lnTo>
                      <a:pt x="864" y="512"/>
                    </a:lnTo>
                    <a:lnTo>
                      <a:pt x="936" y="560"/>
                    </a:lnTo>
                    <a:lnTo>
                      <a:pt x="992" y="608"/>
                    </a:lnTo>
                    <a:lnTo>
                      <a:pt x="1056" y="720"/>
                    </a:lnTo>
                    <a:lnTo>
                      <a:pt x="1056" y="840"/>
                    </a:lnTo>
                    <a:lnTo>
                      <a:pt x="992" y="944"/>
                    </a:lnTo>
                    <a:lnTo>
                      <a:pt x="918" y="1006"/>
                    </a:lnTo>
                    <a:lnTo>
                      <a:pt x="720" y="968"/>
                    </a:lnTo>
                    <a:lnTo>
                      <a:pt x="600" y="961"/>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97" name="Freeform 247">
                <a:extLst>
                  <a:ext uri="{FF2B5EF4-FFF2-40B4-BE49-F238E27FC236}">
                    <a16:creationId xmlns:a16="http://schemas.microsoft.com/office/drawing/2014/main" id="{3EEA9465-96BB-80FA-C74E-0A43C96B2C92}"/>
                  </a:ext>
                </a:extLst>
              </p:cNvPr>
              <p:cNvSpPr>
                <a:spLocks noChangeAspect="1"/>
              </p:cNvSpPr>
              <p:nvPr/>
            </p:nvSpPr>
            <p:spPr bwMode="auto">
              <a:xfrm>
                <a:off x="9952" y="13024"/>
                <a:ext cx="656" cy="328"/>
              </a:xfrm>
              <a:custGeom>
                <a:avLst/>
                <a:gdLst>
                  <a:gd name="T0" fmla="*/ 168 w 656"/>
                  <a:gd name="T1" fmla="*/ 288 h 328"/>
                  <a:gd name="T2" fmla="*/ 80 w 656"/>
                  <a:gd name="T3" fmla="*/ 224 h 328"/>
                  <a:gd name="T4" fmla="*/ 64 w 656"/>
                  <a:gd name="T5" fmla="*/ 144 h 328"/>
                  <a:gd name="T6" fmla="*/ 0 w 656"/>
                  <a:gd name="T7" fmla="*/ 40 h 328"/>
                  <a:gd name="T8" fmla="*/ 96 w 656"/>
                  <a:gd name="T9" fmla="*/ 8 h 328"/>
                  <a:gd name="T10" fmla="*/ 277 w 656"/>
                  <a:gd name="T11" fmla="*/ 0 h 328"/>
                  <a:gd name="T12" fmla="*/ 384 w 656"/>
                  <a:gd name="T13" fmla="*/ 64 h 328"/>
                  <a:gd name="T14" fmla="*/ 456 w 656"/>
                  <a:gd name="T15" fmla="*/ 96 h 328"/>
                  <a:gd name="T16" fmla="*/ 560 w 656"/>
                  <a:gd name="T17" fmla="*/ 96 h 328"/>
                  <a:gd name="T18" fmla="*/ 656 w 656"/>
                  <a:gd name="T19" fmla="*/ 200 h 328"/>
                  <a:gd name="T20" fmla="*/ 552 w 656"/>
                  <a:gd name="T21" fmla="*/ 288 h 328"/>
                  <a:gd name="T22" fmla="*/ 456 w 656"/>
                  <a:gd name="T23" fmla="*/ 320 h 328"/>
                  <a:gd name="T24" fmla="*/ 352 w 656"/>
                  <a:gd name="T25" fmla="*/ 328 h 328"/>
                  <a:gd name="T26" fmla="*/ 272 w 656"/>
                  <a:gd name="T27" fmla="*/ 296 h 328"/>
                  <a:gd name="T28" fmla="*/ 168 w 656"/>
                  <a:gd name="T29" fmla="*/ 288 h 3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6"/>
                  <a:gd name="T46" fmla="*/ 0 h 328"/>
                  <a:gd name="T47" fmla="*/ 656 w 656"/>
                  <a:gd name="T48" fmla="*/ 328 h 3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6" h="328">
                    <a:moveTo>
                      <a:pt x="168" y="288"/>
                    </a:moveTo>
                    <a:lnTo>
                      <a:pt x="80" y="224"/>
                    </a:lnTo>
                    <a:lnTo>
                      <a:pt x="64" y="144"/>
                    </a:lnTo>
                    <a:lnTo>
                      <a:pt x="0" y="40"/>
                    </a:lnTo>
                    <a:lnTo>
                      <a:pt x="96" y="8"/>
                    </a:lnTo>
                    <a:lnTo>
                      <a:pt x="277" y="0"/>
                    </a:lnTo>
                    <a:lnTo>
                      <a:pt x="384" y="64"/>
                    </a:lnTo>
                    <a:lnTo>
                      <a:pt x="456" y="96"/>
                    </a:lnTo>
                    <a:lnTo>
                      <a:pt x="560" y="96"/>
                    </a:lnTo>
                    <a:lnTo>
                      <a:pt x="656" y="200"/>
                    </a:lnTo>
                    <a:lnTo>
                      <a:pt x="552" y="288"/>
                    </a:lnTo>
                    <a:lnTo>
                      <a:pt x="456" y="320"/>
                    </a:lnTo>
                    <a:lnTo>
                      <a:pt x="352" y="328"/>
                    </a:lnTo>
                    <a:lnTo>
                      <a:pt x="272" y="296"/>
                    </a:lnTo>
                    <a:lnTo>
                      <a:pt x="168" y="288"/>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235" name="Freeform 248">
              <a:extLst>
                <a:ext uri="{FF2B5EF4-FFF2-40B4-BE49-F238E27FC236}">
                  <a16:creationId xmlns:a16="http://schemas.microsoft.com/office/drawing/2014/main" id="{56EA1116-F93F-D524-905B-BFAE196E0A8C}"/>
                </a:ext>
              </a:extLst>
            </p:cNvPr>
            <p:cNvSpPr>
              <a:spLocks/>
            </p:cNvSpPr>
            <p:nvPr/>
          </p:nvSpPr>
          <p:spPr bwMode="auto">
            <a:xfrm>
              <a:off x="5046857" y="3534795"/>
              <a:ext cx="425792" cy="359544"/>
            </a:xfrm>
            <a:custGeom>
              <a:avLst/>
              <a:gdLst>
                <a:gd name="T0" fmla="*/ 2147483647 w 950"/>
                <a:gd name="T1" fmla="*/ 2147483647 h 781"/>
                <a:gd name="T2" fmla="*/ 2147483647 w 950"/>
                <a:gd name="T3" fmla="*/ 2147483647 h 781"/>
                <a:gd name="T4" fmla="*/ 2147483647 w 950"/>
                <a:gd name="T5" fmla="*/ 2147483647 h 781"/>
                <a:gd name="T6" fmla="*/ 2147483647 w 950"/>
                <a:gd name="T7" fmla="*/ 2147483647 h 781"/>
                <a:gd name="T8" fmla="*/ 2147483647 w 950"/>
                <a:gd name="T9" fmla="*/ 2147483647 h 781"/>
                <a:gd name="T10" fmla="*/ 2147483647 w 950"/>
                <a:gd name="T11" fmla="*/ 2147483647 h 781"/>
                <a:gd name="T12" fmla="*/ 2147483647 w 950"/>
                <a:gd name="T13" fmla="*/ 2147483647 h 781"/>
                <a:gd name="T14" fmla="*/ 2147483647 w 950"/>
                <a:gd name="T15" fmla="*/ 2147483647 h 781"/>
                <a:gd name="T16" fmla="*/ 2147483647 w 950"/>
                <a:gd name="T17" fmla="*/ 2147483647 h 781"/>
                <a:gd name="T18" fmla="*/ 2147483647 w 950"/>
                <a:gd name="T19" fmla="*/ 2147483647 h 781"/>
                <a:gd name="T20" fmla="*/ 2147483647 w 950"/>
                <a:gd name="T21" fmla="*/ 2147483647 h 781"/>
                <a:gd name="T22" fmla="*/ 2147483647 w 950"/>
                <a:gd name="T23" fmla="*/ 2147483647 h 781"/>
                <a:gd name="T24" fmla="*/ 2147483647 w 950"/>
                <a:gd name="T25" fmla="*/ 2147483647 h 781"/>
                <a:gd name="T26" fmla="*/ 2147483647 w 950"/>
                <a:gd name="T27" fmla="*/ 2147483647 h 781"/>
                <a:gd name="T28" fmla="*/ 2147483647 w 950"/>
                <a:gd name="T29" fmla="*/ 2147483647 h 781"/>
                <a:gd name="T30" fmla="*/ 2147483647 w 950"/>
                <a:gd name="T31" fmla="*/ 2147483647 h 781"/>
                <a:gd name="T32" fmla="*/ 2147483647 w 950"/>
                <a:gd name="T33" fmla="*/ 2147483647 h 781"/>
                <a:gd name="T34" fmla="*/ 2147483647 w 950"/>
                <a:gd name="T35" fmla="*/ 2147483647 h 781"/>
                <a:gd name="T36" fmla="*/ 2147483647 w 950"/>
                <a:gd name="T37" fmla="*/ 2147483647 h 781"/>
                <a:gd name="T38" fmla="*/ 2147483647 w 950"/>
                <a:gd name="T39" fmla="*/ 2147483647 h 781"/>
                <a:gd name="T40" fmla="*/ 2147483647 w 950"/>
                <a:gd name="T41" fmla="*/ 2147483647 h 781"/>
                <a:gd name="T42" fmla="*/ 2147483647 w 950"/>
                <a:gd name="T43" fmla="*/ 2147483647 h 781"/>
                <a:gd name="T44" fmla="*/ 2147483647 w 950"/>
                <a:gd name="T45" fmla="*/ 2147483647 h 781"/>
                <a:gd name="T46" fmla="*/ 2147483647 w 950"/>
                <a:gd name="T47" fmla="*/ 2147483647 h 781"/>
                <a:gd name="T48" fmla="*/ 2147483647 w 950"/>
                <a:gd name="T49" fmla="*/ 2147483647 h 781"/>
                <a:gd name="T50" fmla="*/ 2147483647 w 950"/>
                <a:gd name="T51" fmla="*/ 2147483647 h 781"/>
                <a:gd name="T52" fmla="*/ 2147483647 w 950"/>
                <a:gd name="T53" fmla="*/ 2147483647 h 781"/>
                <a:gd name="T54" fmla="*/ 2147483647 w 950"/>
                <a:gd name="T55" fmla="*/ 2147483647 h 781"/>
                <a:gd name="T56" fmla="*/ 2147483647 w 950"/>
                <a:gd name="T57" fmla="*/ 2147483647 h 781"/>
                <a:gd name="T58" fmla="*/ 2147483647 w 950"/>
                <a:gd name="T59" fmla="*/ 2147483647 h 781"/>
                <a:gd name="T60" fmla="*/ 2147483647 w 950"/>
                <a:gd name="T61" fmla="*/ 2147483647 h 781"/>
                <a:gd name="T62" fmla="*/ 2147483647 w 950"/>
                <a:gd name="T63" fmla="*/ 2147483647 h 781"/>
                <a:gd name="T64" fmla="*/ 0 w 950"/>
                <a:gd name="T65" fmla="*/ 2147483647 h 781"/>
                <a:gd name="T66" fmla="*/ 2147483647 w 950"/>
                <a:gd name="T67" fmla="*/ 2147483647 h 781"/>
                <a:gd name="T68" fmla="*/ 2147483647 w 950"/>
                <a:gd name="T69" fmla="*/ 2147483647 h 781"/>
                <a:gd name="T70" fmla="*/ 2147483647 w 950"/>
                <a:gd name="T71" fmla="*/ 2147483647 h 781"/>
                <a:gd name="T72" fmla="*/ 2147483647 w 950"/>
                <a:gd name="T73" fmla="*/ 2147483647 h 7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50"/>
                <a:gd name="T112" fmla="*/ 0 h 781"/>
                <a:gd name="T113" fmla="*/ 950 w 950"/>
                <a:gd name="T114" fmla="*/ 781 h 7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50" h="781">
                  <a:moveTo>
                    <a:pt x="686" y="1"/>
                  </a:moveTo>
                  <a:lnTo>
                    <a:pt x="768" y="5"/>
                  </a:lnTo>
                  <a:lnTo>
                    <a:pt x="839" y="0"/>
                  </a:lnTo>
                  <a:lnTo>
                    <a:pt x="859" y="36"/>
                  </a:lnTo>
                  <a:lnTo>
                    <a:pt x="876" y="74"/>
                  </a:lnTo>
                  <a:lnTo>
                    <a:pt x="880" y="115"/>
                  </a:lnTo>
                  <a:lnTo>
                    <a:pt x="885" y="143"/>
                  </a:lnTo>
                  <a:lnTo>
                    <a:pt x="890" y="169"/>
                  </a:lnTo>
                  <a:lnTo>
                    <a:pt x="922" y="218"/>
                  </a:lnTo>
                  <a:lnTo>
                    <a:pt x="950" y="247"/>
                  </a:lnTo>
                  <a:lnTo>
                    <a:pt x="896" y="278"/>
                  </a:lnTo>
                  <a:lnTo>
                    <a:pt x="853" y="319"/>
                  </a:lnTo>
                  <a:lnTo>
                    <a:pt x="842" y="362"/>
                  </a:lnTo>
                  <a:lnTo>
                    <a:pt x="832" y="438"/>
                  </a:lnTo>
                  <a:lnTo>
                    <a:pt x="821" y="499"/>
                  </a:lnTo>
                  <a:lnTo>
                    <a:pt x="800" y="536"/>
                  </a:lnTo>
                  <a:lnTo>
                    <a:pt x="775" y="588"/>
                  </a:lnTo>
                  <a:lnTo>
                    <a:pt x="749" y="640"/>
                  </a:lnTo>
                  <a:lnTo>
                    <a:pt x="723" y="670"/>
                  </a:lnTo>
                  <a:lnTo>
                    <a:pt x="696" y="680"/>
                  </a:lnTo>
                  <a:lnTo>
                    <a:pt x="659" y="677"/>
                  </a:lnTo>
                  <a:lnTo>
                    <a:pt x="635" y="692"/>
                  </a:lnTo>
                  <a:lnTo>
                    <a:pt x="616" y="671"/>
                  </a:lnTo>
                  <a:lnTo>
                    <a:pt x="590" y="655"/>
                  </a:lnTo>
                  <a:lnTo>
                    <a:pt x="596" y="637"/>
                  </a:lnTo>
                  <a:lnTo>
                    <a:pt x="598" y="608"/>
                  </a:lnTo>
                  <a:lnTo>
                    <a:pt x="598" y="583"/>
                  </a:lnTo>
                  <a:lnTo>
                    <a:pt x="580" y="581"/>
                  </a:lnTo>
                  <a:lnTo>
                    <a:pt x="569" y="595"/>
                  </a:lnTo>
                  <a:lnTo>
                    <a:pt x="556" y="602"/>
                  </a:lnTo>
                  <a:lnTo>
                    <a:pt x="556" y="616"/>
                  </a:lnTo>
                  <a:lnTo>
                    <a:pt x="557" y="632"/>
                  </a:lnTo>
                  <a:lnTo>
                    <a:pt x="550" y="652"/>
                  </a:lnTo>
                  <a:lnTo>
                    <a:pt x="541" y="664"/>
                  </a:lnTo>
                  <a:lnTo>
                    <a:pt x="527" y="676"/>
                  </a:lnTo>
                  <a:lnTo>
                    <a:pt x="523" y="697"/>
                  </a:lnTo>
                  <a:lnTo>
                    <a:pt x="509" y="704"/>
                  </a:lnTo>
                  <a:lnTo>
                    <a:pt x="488" y="710"/>
                  </a:lnTo>
                  <a:lnTo>
                    <a:pt x="467" y="709"/>
                  </a:lnTo>
                  <a:lnTo>
                    <a:pt x="443" y="692"/>
                  </a:lnTo>
                  <a:lnTo>
                    <a:pt x="425" y="691"/>
                  </a:lnTo>
                  <a:lnTo>
                    <a:pt x="409" y="700"/>
                  </a:lnTo>
                  <a:lnTo>
                    <a:pt x="398" y="713"/>
                  </a:lnTo>
                  <a:lnTo>
                    <a:pt x="377" y="725"/>
                  </a:lnTo>
                  <a:lnTo>
                    <a:pt x="374" y="739"/>
                  </a:lnTo>
                  <a:lnTo>
                    <a:pt x="331" y="733"/>
                  </a:lnTo>
                  <a:lnTo>
                    <a:pt x="311" y="715"/>
                  </a:lnTo>
                  <a:lnTo>
                    <a:pt x="283" y="725"/>
                  </a:lnTo>
                  <a:lnTo>
                    <a:pt x="248" y="724"/>
                  </a:lnTo>
                  <a:lnTo>
                    <a:pt x="236" y="704"/>
                  </a:lnTo>
                  <a:lnTo>
                    <a:pt x="229" y="685"/>
                  </a:lnTo>
                  <a:lnTo>
                    <a:pt x="209" y="679"/>
                  </a:lnTo>
                  <a:lnTo>
                    <a:pt x="187" y="683"/>
                  </a:lnTo>
                  <a:lnTo>
                    <a:pt x="179" y="695"/>
                  </a:lnTo>
                  <a:lnTo>
                    <a:pt x="170" y="712"/>
                  </a:lnTo>
                  <a:lnTo>
                    <a:pt x="161" y="734"/>
                  </a:lnTo>
                  <a:lnTo>
                    <a:pt x="154" y="746"/>
                  </a:lnTo>
                  <a:lnTo>
                    <a:pt x="157" y="763"/>
                  </a:lnTo>
                  <a:lnTo>
                    <a:pt x="148" y="773"/>
                  </a:lnTo>
                  <a:lnTo>
                    <a:pt x="128" y="781"/>
                  </a:lnTo>
                  <a:lnTo>
                    <a:pt x="88" y="780"/>
                  </a:lnTo>
                  <a:lnTo>
                    <a:pt x="96" y="725"/>
                  </a:lnTo>
                  <a:lnTo>
                    <a:pt x="83" y="693"/>
                  </a:lnTo>
                  <a:lnTo>
                    <a:pt x="44" y="643"/>
                  </a:lnTo>
                  <a:lnTo>
                    <a:pt x="44" y="574"/>
                  </a:lnTo>
                  <a:lnTo>
                    <a:pt x="0" y="540"/>
                  </a:lnTo>
                  <a:lnTo>
                    <a:pt x="10" y="493"/>
                  </a:lnTo>
                  <a:lnTo>
                    <a:pt x="32" y="451"/>
                  </a:lnTo>
                  <a:lnTo>
                    <a:pt x="63" y="399"/>
                  </a:lnTo>
                  <a:lnTo>
                    <a:pt x="114" y="369"/>
                  </a:lnTo>
                  <a:lnTo>
                    <a:pt x="110" y="134"/>
                  </a:lnTo>
                  <a:lnTo>
                    <a:pt x="170" y="129"/>
                  </a:lnTo>
                  <a:lnTo>
                    <a:pt x="163" y="8"/>
                  </a:lnTo>
                  <a:lnTo>
                    <a:pt x="686" y="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36" name="Freeform 249">
              <a:extLst>
                <a:ext uri="{FF2B5EF4-FFF2-40B4-BE49-F238E27FC236}">
                  <a16:creationId xmlns:a16="http://schemas.microsoft.com/office/drawing/2014/main" id="{E2E3B6C5-76EA-12D8-1364-CC30B3FF800D}"/>
                </a:ext>
              </a:extLst>
            </p:cNvPr>
            <p:cNvSpPr>
              <a:spLocks/>
            </p:cNvSpPr>
            <p:nvPr/>
          </p:nvSpPr>
          <p:spPr bwMode="auto">
            <a:xfrm>
              <a:off x="5087196" y="3802148"/>
              <a:ext cx="302536" cy="230476"/>
            </a:xfrm>
            <a:custGeom>
              <a:avLst/>
              <a:gdLst>
                <a:gd name="T0" fmla="*/ 0 w 673"/>
                <a:gd name="T1" fmla="*/ 2147483647 h 504"/>
                <a:gd name="T2" fmla="*/ 2147483647 w 673"/>
                <a:gd name="T3" fmla="*/ 2147483647 h 504"/>
                <a:gd name="T4" fmla="*/ 2147483647 w 673"/>
                <a:gd name="T5" fmla="*/ 2147483647 h 504"/>
                <a:gd name="T6" fmla="*/ 2147483647 w 673"/>
                <a:gd name="T7" fmla="*/ 2147483647 h 504"/>
                <a:gd name="T8" fmla="*/ 2147483647 w 673"/>
                <a:gd name="T9" fmla="*/ 2147483647 h 504"/>
                <a:gd name="T10" fmla="*/ 2147483647 w 673"/>
                <a:gd name="T11" fmla="*/ 2147483647 h 504"/>
                <a:gd name="T12" fmla="*/ 2147483647 w 673"/>
                <a:gd name="T13" fmla="*/ 2147483647 h 504"/>
                <a:gd name="T14" fmla="*/ 2147483647 w 673"/>
                <a:gd name="T15" fmla="*/ 2147483647 h 504"/>
                <a:gd name="T16" fmla="*/ 2147483647 w 673"/>
                <a:gd name="T17" fmla="*/ 2147483647 h 504"/>
                <a:gd name="T18" fmla="*/ 2147483647 w 673"/>
                <a:gd name="T19" fmla="*/ 2147483647 h 504"/>
                <a:gd name="T20" fmla="*/ 2147483647 w 673"/>
                <a:gd name="T21" fmla="*/ 2147483647 h 504"/>
                <a:gd name="T22" fmla="*/ 2147483647 w 673"/>
                <a:gd name="T23" fmla="*/ 2147483647 h 504"/>
                <a:gd name="T24" fmla="*/ 2147483647 w 673"/>
                <a:gd name="T25" fmla="*/ 2147483647 h 504"/>
                <a:gd name="T26" fmla="*/ 2147483647 w 673"/>
                <a:gd name="T27" fmla="*/ 2147483647 h 504"/>
                <a:gd name="T28" fmla="*/ 2147483647 w 673"/>
                <a:gd name="T29" fmla="*/ 2147483647 h 504"/>
                <a:gd name="T30" fmla="*/ 2147483647 w 673"/>
                <a:gd name="T31" fmla="*/ 2147483647 h 504"/>
                <a:gd name="T32" fmla="*/ 2147483647 w 673"/>
                <a:gd name="T33" fmla="*/ 2147483647 h 504"/>
                <a:gd name="T34" fmla="*/ 2147483647 w 673"/>
                <a:gd name="T35" fmla="*/ 2147483647 h 504"/>
                <a:gd name="T36" fmla="*/ 2147483647 w 673"/>
                <a:gd name="T37" fmla="*/ 2147483647 h 504"/>
                <a:gd name="T38" fmla="*/ 2147483647 w 673"/>
                <a:gd name="T39" fmla="*/ 2147483647 h 504"/>
                <a:gd name="T40" fmla="*/ 2147483647 w 673"/>
                <a:gd name="T41" fmla="*/ 2147483647 h 504"/>
                <a:gd name="T42" fmla="*/ 2147483647 w 673"/>
                <a:gd name="T43" fmla="*/ 2147483647 h 504"/>
                <a:gd name="T44" fmla="*/ 2147483647 w 673"/>
                <a:gd name="T45" fmla="*/ 2147483647 h 504"/>
                <a:gd name="T46" fmla="*/ 2147483647 w 673"/>
                <a:gd name="T47" fmla="*/ 2147483647 h 504"/>
                <a:gd name="T48" fmla="*/ 2147483647 w 673"/>
                <a:gd name="T49" fmla="*/ 2147483647 h 504"/>
                <a:gd name="T50" fmla="*/ 2147483647 w 673"/>
                <a:gd name="T51" fmla="*/ 2147483647 h 504"/>
                <a:gd name="T52" fmla="*/ 2147483647 w 673"/>
                <a:gd name="T53" fmla="*/ 2147483647 h 504"/>
                <a:gd name="T54" fmla="*/ 2147483647 w 673"/>
                <a:gd name="T55" fmla="*/ 2147483647 h 504"/>
                <a:gd name="T56" fmla="*/ 2147483647 w 673"/>
                <a:gd name="T57" fmla="*/ 2147483647 h 504"/>
                <a:gd name="T58" fmla="*/ 2147483647 w 673"/>
                <a:gd name="T59" fmla="*/ 2147483647 h 504"/>
                <a:gd name="T60" fmla="*/ 2147483647 w 673"/>
                <a:gd name="T61" fmla="*/ 2147483647 h 504"/>
                <a:gd name="T62" fmla="*/ 2147483647 w 673"/>
                <a:gd name="T63" fmla="*/ 2147483647 h 504"/>
                <a:gd name="T64" fmla="*/ 2147483647 w 673"/>
                <a:gd name="T65" fmla="*/ 2147483647 h 504"/>
                <a:gd name="T66" fmla="*/ 2147483647 w 673"/>
                <a:gd name="T67" fmla="*/ 2147483647 h 504"/>
                <a:gd name="T68" fmla="*/ 2147483647 w 673"/>
                <a:gd name="T69" fmla="*/ 2147483647 h 504"/>
                <a:gd name="T70" fmla="*/ 2147483647 w 673"/>
                <a:gd name="T71" fmla="*/ 2147483647 h 504"/>
                <a:gd name="T72" fmla="*/ 2147483647 w 673"/>
                <a:gd name="T73" fmla="*/ 2147483647 h 504"/>
                <a:gd name="T74" fmla="*/ 2147483647 w 673"/>
                <a:gd name="T75" fmla="*/ 2147483647 h 50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73"/>
                <a:gd name="T115" fmla="*/ 0 h 504"/>
                <a:gd name="T116" fmla="*/ 673 w 673"/>
                <a:gd name="T117" fmla="*/ 504 h 50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73" h="504">
                  <a:moveTo>
                    <a:pt x="38" y="200"/>
                  </a:moveTo>
                  <a:lnTo>
                    <a:pt x="0" y="204"/>
                  </a:lnTo>
                  <a:lnTo>
                    <a:pt x="33" y="234"/>
                  </a:lnTo>
                  <a:lnTo>
                    <a:pt x="95" y="258"/>
                  </a:lnTo>
                  <a:lnTo>
                    <a:pt x="119" y="292"/>
                  </a:lnTo>
                  <a:lnTo>
                    <a:pt x="137" y="310"/>
                  </a:lnTo>
                  <a:lnTo>
                    <a:pt x="154" y="336"/>
                  </a:lnTo>
                  <a:lnTo>
                    <a:pt x="194" y="387"/>
                  </a:lnTo>
                  <a:lnTo>
                    <a:pt x="211" y="422"/>
                  </a:lnTo>
                  <a:lnTo>
                    <a:pt x="225" y="444"/>
                  </a:lnTo>
                  <a:lnTo>
                    <a:pt x="253" y="450"/>
                  </a:lnTo>
                  <a:lnTo>
                    <a:pt x="275" y="436"/>
                  </a:lnTo>
                  <a:lnTo>
                    <a:pt x="309" y="452"/>
                  </a:lnTo>
                  <a:lnTo>
                    <a:pt x="341" y="454"/>
                  </a:lnTo>
                  <a:lnTo>
                    <a:pt x="365" y="440"/>
                  </a:lnTo>
                  <a:lnTo>
                    <a:pt x="403" y="476"/>
                  </a:lnTo>
                  <a:lnTo>
                    <a:pt x="425" y="504"/>
                  </a:lnTo>
                  <a:lnTo>
                    <a:pt x="459" y="492"/>
                  </a:lnTo>
                  <a:lnTo>
                    <a:pt x="515" y="478"/>
                  </a:lnTo>
                  <a:lnTo>
                    <a:pt x="575" y="466"/>
                  </a:lnTo>
                  <a:lnTo>
                    <a:pt x="609" y="446"/>
                  </a:lnTo>
                  <a:lnTo>
                    <a:pt x="635" y="434"/>
                  </a:lnTo>
                  <a:lnTo>
                    <a:pt x="673" y="428"/>
                  </a:lnTo>
                  <a:lnTo>
                    <a:pt x="673" y="376"/>
                  </a:lnTo>
                  <a:lnTo>
                    <a:pt x="649" y="374"/>
                  </a:lnTo>
                  <a:lnTo>
                    <a:pt x="631" y="352"/>
                  </a:lnTo>
                  <a:lnTo>
                    <a:pt x="617" y="316"/>
                  </a:lnTo>
                  <a:lnTo>
                    <a:pt x="587" y="276"/>
                  </a:lnTo>
                  <a:lnTo>
                    <a:pt x="555" y="236"/>
                  </a:lnTo>
                  <a:lnTo>
                    <a:pt x="513" y="218"/>
                  </a:lnTo>
                  <a:lnTo>
                    <a:pt x="515" y="194"/>
                  </a:lnTo>
                  <a:lnTo>
                    <a:pt x="507" y="176"/>
                  </a:lnTo>
                  <a:lnTo>
                    <a:pt x="533" y="156"/>
                  </a:lnTo>
                  <a:lnTo>
                    <a:pt x="531" y="128"/>
                  </a:lnTo>
                  <a:lnTo>
                    <a:pt x="545" y="112"/>
                  </a:lnTo>
                  <a:lnTo>
                    <a:pt x="518" y="89"/>
                  </a:lnTo>
                  <a:lnTo>
                    <a:pt x="500" y="78"/>
                  </a:lnTo>
                  <a:lnTo>
                    <a:pt x="504" y="56"/>
                  </a:lnTo>
                  <a:lnTo>
                    <a:pt x="504" y="28"/>
                  </a:lnTo>
                  <a:lnTo>
                    <a:pt x="504" y="4"/>
                  </a:lnTo>
                  <a:lnTo>
                    <a:pt x="488" y="0"/>
                  </a:lnTo>
                  <a:lnTo>
                    <a:pt x="477" y="17"/>
                  </a:lnTo>
                  <a:lnTo>
                    <a:pt x="463" y="24"/>
                  </a:lnTo>
                  <a:lnTo>
                    <a:pt x="465" y="37"/>
                  </a:lnTo>
                  <a:lnTo>
                    <a:pt x="463" y="52"/>
                  </a:lnTo>
                  <a:lnTo>
                    <a:pt x="461" y="65"/>
                  </a:lnTo>
                  <a:lnTo>
                    <a:pt x="453" y="80"/>
                  </a:lnTo>
                  <a:lnTo>
                    <a:pt x="439" y="95"/>
                  </a:lnTo>
                  <a:lnTo>
                    <a:pt x="431" y="115"/>
                  </a:lnTo>
                  <a:lnTo>
                    <a:pt x="416" y="125"/>
                  </a:lnTo>
                  <a:lnTo>
                    <a:pt x="394" y="134"/>
                  </a:lnTo>
                  <a:lnTo>
                    <a:pt x="374" y="130"/>
                  </a:lnTo>
                  <a:lnTo>
                    <a:pt x="356" y="119"/>
                  </a:lnTo>
                  <a:lnTo>
                    <a:pt x="335" y="110"/>
                  </a:lnTo>
                  <a:lnTo>
                    <a:pt x="317" y="121"/>
                  </a:lnTo>
                  <a:lnTo>
                    <a:pt x="305" y="134"/>
                  </a:lnTo>
                  <a:lnTo>
                    <a:pt x="288" y="145"/>
                  </a:lnTo>
                  <a:lnTo>
                    <a:pt x="280" y="158"/>
                  </a:lnTo>
                  <a:lnTo>
                    <a:pt x="256" y="158"/>
                  </a:lnTo>
                  <a:lnTo>
                    <a:pt x="238" y="156"/>
                  </a:lnTo>
                  <a:lnTo>
                    <a:pt x="221" y="138"/>
                  </a:lnTo>
                  <a:lnTo>
                    <a:pt x="193" y="147"/>
                  </a:lnTo>
                  <a:lnTo>
                    <a:pt x="175" y="147"/>
                  </a:lnTo>
                  <a:lnTo>
                    <a:pt x="154" y="143"/>
                  </a:lnTo>
                  <a:lnTo>
                    <a:pt x="146" y="130"/>
                  </a:lnTo>
                  <a:lnTo>
                    <a:pt x="142" y="119"/>
                  </a:lnTo>
                  <a:lnTo>
                    <a:pt x="136" y="104"/>
                  </a:lnTo>
                  <a:lnTo>
                    <a:pt x="118" y="102"/>
                  </a:lnTo>
                  <a:lnTo>
                    <a:pt x="97" y="104"/>
                  </a:lnTo>
                  <a:lnTo>
                    <a:pt x="87" y="119"/>
                  </a:lnTo>
                  <a:lnTo>
                    <a:pt x="79" y="134"/>
                  </a:lnTo>
                  <a:lnTo>
                    <a:pt x="73" y="149"/>
                  </a:lnTo>
                  <a:lnTo>
                    <a:pt x="63" y="167"/>
                  </a:lnTo>
                  <a:lnTo>
                    <a:pt x="63" y="184"/>
                  </a:lnTo>
                  <a:lnTo>
                    <a:pt x="55" y="195"/>
                  </a:lnTo>
                  <a:lnTo>
                    <a:pt x="38" y="20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37" name="Freeform 251">
              <a:extLst>
                <a:ext uri="{FF2B5EF4-FFF2-40B4-BE49-F238E27FC236}">
                  <a16:creationId xmlns:a16="http://schemas.microsoft.com/office/drawing/2014/main" id="{7B821ECA-8218-55D2-E90C-80DF2DF17402}"/>
                </a:ext>
              </a:extLst>
            </p:cNvPr>
            <p:cNvSpPr>
              <a:spLocks/>
            </p:cNvSpPr>
            <p:nvPr/>
          </p:nvSpPr>
          <p:spPr bwMode="auto">
            <a:xfrm>
              <a:off x="5598146" y="2937861"/>
              <a:ext cx="94122" cy="71448"/>
            </a:xfrm>
            <a:custGeom>
              <a:avLst/>
              <a:gdLst>
                <a:gd name="T0" fmla="*/ 2147483647 w 209"/>
                <a:gd name="T1" fmla="*/ 2147483647 h 153"/>
                <a:gd name="T2" fmla="*/ 2147483647 w 209"/>
                <a:gd name="T3" fmla="*/ 2147483647 h 153"/>
                <a:gd name="T4" fmla="*/ 2147483647 w 209"/>
                <a:gd name="T5" fmla="*/ 2147483647 h 153"/>
                <a:gd name="T6" fmla="*/ 2147483647 w 209"/>
                <a:gd name="T7" fmla="*/ 2147483647 h 153"/>
                <a:gd name="T8" fmla="*/ 2147483647 w 209"/>
                <a:gd name="T9" fmla="*/ 2147483647 h 153"/>
                <a:gd name="T10" fmla="*/ 2147483647 w 209"/>
                <a:gd name="T11" fmla="*/ 2147483647 h 153"/>
                <a:gd name="T12" fmla="*/ 2147483647 w 209"/>
                <a:gd name="T13" fmla="*/ 2147483647 h 153"/>
                <a:gd name="T14" fmla="*/ 2147483647 w 209"/>
                <a:gd name="T15" fmla="*/ 2147483647 h 153"/>
                <a:gd name="T16" fmla="*/ 2147483647 w 209"/>
                <a:gd name="T17" fmla="*/ 2147483647 h 153"/>
                <a:gd name="T18" fmla="*/ 2147483647 w 209"/>
                <a:gd name="T19" fmla="*/ 2147483647 h 153"/>
                <a:gd name="T20" fmla="*/ 2147483647 w 209"/>
                <a:gd name="T21" fmla="*/ 2147483647 h 153"/>
                <a:gd name="T22" fmla="*/ 2147483647 w 209"/>
                <a:gd name="T23" fmla="*/ 2147483647 h 153"/>
                <a:gd name="T24" fmla="*/ 2147483647 w 209"/>
                <a:gd name="T25" fmla="*/ 2147483647 h 153"/>
                <a:gd name="T26" fmla="*/ 2147483647 w 209"/>
                <a:gd name="T27" fmla="*/ 2147483647 h 153"/>
                <a:gd name="T28" fmla="*/ 2147483647 w 209"/>
                <a:gd name="T29" fmla="*/ 2147483647 h 153"/>
                <a:gd name="T30" fmla="*/ 2147483647 w 209"/>
                <a:gd name="T31" fmla="*/ 2147483647 h 153"/>
                <a:gd name="T32" fmla="*/ 2147483647 w 209"/>
                <a:gd name="T33" fmla="*/ 2147483647 h 153"/>
                <a:gd name="T34" fmla="*/ 2147483647 w 209"/>
                <a:gd name="T35" fmla="*/ 2147483647 h 153"/>
                <a:gd name="T36" fmla="*/ 2147483647 w 209"/>
                <a:gd name="T37" fmla="*/ 2147483647 h 153"/>
                <a:gd name="T38" fmla="*/ 2147483647 w 209"/>
                <a:gd name="T39" fmla="*/ 2147483647 h 153"/>
                <a:gd name="T40" fmla="*/ 2147483647 w 209"/>
                <a:gd name="T41" fmla="*/ 2147483647 h 153"/>
                <a:gd name="T42" fmla="*/ 2147483647 w 209"/>
                <a:gd name="T43" fmla="*/ 2147483647 h 153"/>
                <a:gd name="T44" fmla="*/ 2147483647 w 209"/>
                <a:gd name="T45" fmla="*/ 2147483647 h 153"/>
                <a:gd name="T46" fmla="*/ 2147483647 w 209"/>
                <a:gd name="T47" fmla="*/ 2147483647 h 153"/>
                <a:gd name="T48" fmla="*/ 2147483647 w 209"/>
                <a:gd name="T49" fmla="*/ 2147483647 h 153"/>
                <a:gd name="T50" fmla="*/ 2147483647 w 209"/>
                <a:gd name="T51" fmla="*/ 2147483647 h 153"/>
                <a:gd name="T52" fmla="*/ 2147483647 w 209"/>
                <a:gd name="T53" fmla="*/ 2147483647 h 153"/>
                <a:gd name="T54" fmla="*/ 2147483647 w 209"/>
                <a:gd name="T55" fmla="*/ 2147483647 h 153"/>
                <a:gd name="T56" fmla="*/ 2147483647 w 209"/>
                <a:gd name="T57" fmla="*/ 0 h 153"/>
                <a:gd name="T58" fmla="*/ 2147483647 w 209"/>
                <a:gd name="T59" fmla="*/ 2147483647 h 153"/>
                <a:gd name="T60" fmla="*/ 2147483647 w 209"/>
                <a:gd name="T61" fmla="*/ 2147483647 h 153"/>
                <a:gd name="T62" fmla="*/ 0 w 209"/>
                <a:gd name="T63" fmla="*/ 2147483647 h 153"/>
                <a:gd name="T64" fmla="*/ 2147483647 w 209"/>
                <a:gd name="T65" fmla="*/ 2147483647 h 153"/>
                <a:gd name="T66" fmla="*/ 2147483647 w 209"/>
                <a:gd name="T67" fmla="*/ 2147483647 h 153"/>
                <a:gd name="T68" fmla="*/ 2147483647 w 209"/>
                <a:gd name="T69" fmla="*/ 2147483647 h 153"/>
                <a:gd name="T70" fmla="*/ 2147483647 w 209"/>
                <a:gd name="T71" fmla="*/ 2147483647 h 153"/>
                <a:gd name="T72" fmla="*/ 2147483647 w 209"/>
                <a:gd name="T73" fmla="*/ 2147483647 h 153"/>
                <a:gd name="T74" fmla="*/ 2147483647 w 209"/>
                <a:gd name="T75" fmla="*/ 2147483647 h 153"/>
                <a:gd name="T76" fmla="*/ 2147483647 w 209"/>
                <a:gd name="T77" fmla="*/ 2147483647 h 153"/>
                <a:gd name="T78" fmla="*/ 2147483647 w 209"/>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9"/>
                <a:gd name="T121" fmla="*/ 0 h 153"/>
                <a:gd name="T122" fmla="*/ 209 w 209"/>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9" h="153">
                  <a:moveTo>
                    <a:pt x="59" y="91"/>
                  </a:moveTo>
                  <a:lnTo>
                    <a:pt x="77" y="97"/>
                  </a:lnTo>
                  <a:lnTo>
                    <a:pt x="92" y="105"/>
                  </a:lnTo>
                  <a:lnTo>
                    <a:pt x="108" y="102"/>
                  </a:lnTo>
                  <a:lnTo>
                    <a:pt x="122" y="114"/>
                  </a:lnTo>
                  <a:lnTo>
                    <a:pt x="138" y="115"/>
                  </a:lnTo>
                  <a:lnTo>
                    <a:pt x="155" y="111"/>
                  </a:lnTo>
                  <a:lnTo>
                    <a:pt x="161" y="124"/>
                  </a:lnTo>
                  <a:lnTo>
                    <a:pt x="174" y="127"/>
                  </a:lnTo>
                  <a:lnTo>
                    <a:pt x="177" y="141"/>
                  </a:lnTo>
                  <a:lnTo>
                    <a:pt x="188" y="153"/>
                  </a:lnTo>
                  <a:lnTo>
                    <a:pt x="209" y="144"/>
                  </a:lnTo>
                  <a:lnTo>
                    <a:pt x="204" y="135"/>
                  </a:lnTo>
                  <a:lnTo>
                    <a:pt x="207" y="126"/>
                  </a:lnTo>
                  <a:lnTo>
                    <a:pt x="198" y="115"/>
                  </a:lnTo>
                  <a:lnTo>
                    <a:pt x="207" y="103"/>
                  </a:lnTo>
                  <a:lnTo>
                    <a:pt x="189" y="102"/>
                  </a:lnTo>
                  <a:lnTo>
                    <a:pt x="173" y="93"/>
                  </a:lnTo>
                  <a:lnTo>
                    <a:pt x="155" y="88"/>
                  </a:lnTo>
                  <a:lnTo>
                    <a:pt x="147" y="78"/>
                  </a:lnTo>
                  <a:lnTo>
                    <a:pt x="161" y="73"/>
                  </a:lnTo>
                  <a:lnTo>
                    <a:pt x="156" y="63"/>
                  </a:lnTo>
                  <a:lnTo>
                    <a:pt x="135" y="55"/>
                  </a:lnTo>
                  <a:lnTo>
                    <a:pt x="123" y="39"/>
                  </a:lnTo>
                  <a:lnTo>
                    <a:pt x="132" y="27"/>
                  </a:lnTo>
                  <a:lnTo>
                    <a:pt x="116" y="15"/>
                  </a:lnTo>
                  <a:lnTo>
                    <a:pt x="102" y="15"/>
                  </a:lnTo>
                  <a:lnTo>
                    <a:pt x="99" y="1"/>
                  </a:lnTo>
                  <a:lnTo>
                    <a:pt x="84" y="0"/>
                  </a:lnTo>
                  <a:lnTo>
                    <a:pt x="80" y="10"/>
                  </a:lnTo>
                  <a:lnTo>
                    <a:pt x="48" y="9"/>
                  </a:lnTo>
                  <a:lnTo>
                    <a:pt x="0" y="18"/>
                  </a:lnTo>
                  <a:lnTo>
                    <a:pt x="3" y="31"/>
                  </a:lnTo>
                  <a:lnTo>
                    <a:pt x="12" y="39"/>
                  </a:lnTo>
                  <a:lnTo>
                    <a:pt x="17" y="51"/>
                  </a:lnTo>
                  <a:lnTo>
                    <a:pt x="11" y="64"/>
                  </a:lnTo>
                  <a:lnTo>
                    <a:pt x="17" y="76"/>
                  </a:lnTo>
                  <a:lnTo>
                    <a:pt x="26" y="87"/>
                  </a:lnTo>
                  <a:lnTo>
                    <a:pt x="41" y="91"/>
                  </a:lnTo>
                  <a:lnTo>
                    <a:pt x="59" y="91"/>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38" name="Freeform 252">
              <a:extLst>
                <a:ext uri="{FF2B5EF4-FFF2-40B4-BE49-F238E27FC236}">
                  <a16:creationId xmlns:a16="http://schemas.microsoft.com/office/drawing/2014/main" id="{DDC4D793-A1D8-2879-A8DB-CF38269A4B94}"/>
                </a:ext>
              </a:extLst>
            </p:cNvPr>
            <p:cNvSpPr>
              <a:spLocks/>
            </p:cNvSpPr>
            <p:nvPr/>
          </p:nvSpPr>
          <p:spPr bwMode="auto">
            <a:xfrm>
              <a:off x="5638484" y="2983956"/>
              <a:ext cx="42579" cy="25353"/>
            </a:xfrm>
            <a:custGeom>
              <a:avLst/>
              <a:gdLst>
                <a:gd name="T0" fmla="*/ 2147483647 w 98"/>
                <a:gd name="T1" fmla="*/ 2147483647 h 51"/>
                <a:gd name="T2" fmla="*/ 0 w 98"/>
                <a:gd name="T3" fmla="*/ 2147483647 h 51"/>
                <a:gd name="T4" fmla="*/ 2147483647 w 98"/>
                <a:gd name="T5" fmla="*/ 0 h 51"/>
                <a:gd name="T6" fmla="*/ 2147483647 w 98"/>
                <a:gd name="T7" fmla="*/ 2147483647 h 51"/>
                <a:gd name="T8" fmla="*/ 2147483647 w 98"/>
                <a:gd name="T9" fmla="*/ 2147483647 h 51"/>
                <a:gd name="T10" fmla="*/ 2147483647 w 98"/>
                <a:gd name="T11" fmla="*/ 2147483647 h 51"/>
                <a:gd name="T12" fmla="*/ 2147483647 w 98"/>
                <a:gd name="T13" fmla="*/ 2147483647 h 51"/>
                <a:gd name="T14" fmla="*/ 2147483647 w 98"/>
                <a:gd name="T15" fmla="*/ 2147483647 h 51"/>
                <a:gd name="T16" fmla="*/ 2147483647 w 98"/>
                <a:gd name="T17" fmla="*/ 2147483647 h 51"/>
                <a:gd name="T18" fmla="*/ 2147483647 w 98"/>
                <a:gd name="T19" fmla="*/ 2147483647 h 51"/>
                <a:gd name="T20" fmla="*/ 2147483647 w 98"/>
                <a:gd name="T21" fmla="*/ 2147483647 h 51"/>
                <a:gd name="T22" fmla="*/ 2147483647 w 98"/>
                <a:gd name="T23" fmla="*/ 2147483647 h 51"/>
                <a:gd name="T24" fmla="*/ 2147483647 w 98"/>
                <a:gd name="T25" fmla="*/ 214748364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51"/>
                <a:gd name="T41" fmla="*/ 98 w 98"/>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51">
                  <a:moveTo>
                    <a:pt x="20" y="25"/>
                  </a:moveTo>
                  <a:lnTo>
                    <a:pt x="0" y="7"/>
                  </a:lnTo>
                  <a:lnTo>
                    <a:pt x="18" y="0"/>
                  </a:lnTo>
                  <a:lnTo>
                    <a:pt x="32" y="12"/>
                  </a:lnTo>
                  <a:lnTo>
                    <a:pt x="48" y="13"/>
                  </a:lnTo>
                  <a:lnTo>
                    <a:pt x="65" y="9"/>
                  </a:lnTo>
                  <a:lnTo>
                    <a:pt x="71" y="22"/>
                  </a:lnTo>
                  <a:lnTo>
                    <a:pt x="84" y="25"/>
                  </a:lnTo>
                  <a:lnTo>
                    <a:pt x="87" y="39"/>
                  </a:lnTo>
                  <a:lnTo>
                    <a:pt x="98" y="51"/>
                  </a:lnTo>
                  <a:lnTo>
                    <a:pt x="75" y="51"/>
                  </a:lnTo>
                  <a:lnTo>
                    <a:pt x="51" y="46"/>
                  </a:lnTo>
                  <a:lnTo>
                    <a:pt x="20" y="2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39" name="Freeform 43">
              <a:extLst>
                <a:ext uri="{FF2B5EF4-FFF2-40B4-BE49-F238E27FC236}">
                  <a16:creationId xmlns:a16="http://schemas.microsoft.com/office/drawing/2014/main" id="{A091E245-C791-0239-FF51-07E0A7842B08}"/>
                </a:ext>
              </a:extLst>
            </p:cNvPr>
            <p:cNvSpPr>
              <a:spLocks noChangeAspect="1"/>
            </p:cNvSpPr>
            <p:nvPr/>
          </p:nvSpPr>
          <p:spPr bwMode="auto">
            <a:xfrm rot="287104">
              <a:off x="4977386" y="2889461"/>
              <a:ext cx="42581" cy="106020"/>
            </a:xfrm>
            <a:custGeom>
              <a:avLst/>
              <a:gdLst>
                <a:gd name="T0" fmla="*/ 2147483647 w 456"/>
                <a:gd name="T1" fmla="*/ 2147483647 h 1107"/>
                <a:gd name="T2" fmla="*/ 2147483647 w 456"/>
                <a:gd name="T3" fmla="*/ 2147483647 h 1107"/>
                <a:gd name="T4" fmla="*/ 2147483647 w 456"/>
                <a:gd name="T5" fmla="*/ 2147483647 h 1107"/>
                <a:gd name="T6" fmla="*/ 2147483647 w 456"/>
                <a:gd name="T7" fmla="*/ 2147483647 h 1107"/>
                <a:gd name="T8" fmla="*/ 2147483647 w 456"/>
                <a:gd name="T9" fmla="*/ 2147483647 h 1107"/>
                <a:gd name="T10" fmla="*/ 2147483647 w 456"/>
                <a:gd name="T11" fmla="*/ 2147483647 h 1107"/>
                <a:gd name="T12" fmla="*/ 2147483647 w 456"/>
                <a:gd name="T13" fmla="*/ 2147483647 h 1107"/>
                <a:gd name="T14" fmla="*/ 2147483647 w 456"/>
                <a:gd name="T15" fmla="*/ 2147483647 h 1107"/>
                <a:gd name="T16" fmla="*/ 2147483647 w 456"/>
                <a:gd name="T17" fmla="*/ 2147483647 h 1107"/>
                <a:gd name="T18" fmla="*/ 2147483647 w 456"/>
                <a:gd name="T19" fmla="*/ 2147483647 h 1107"/>
                <a:gd name="T20" fmla="*/ 2147483647 w 456"/>
                <a:gd name="T21" fmla="*/ 2147483647 h 1107"/>
                <a:gd name="T22" fmla="*/ 2147483647 w 456"/>
                <a:gd name="T23" fmla="*/ 2147483647 h 1107"/>
                <a:gd name="T24" fmla="*/ 2147483647 w 456"/>
                <a:gd name="T25" fmla="*/ 0 h 1107"/>
                <a:gd name="T26" fmla="*/ 2147483647 w 456"/>
                <a:gd name="T27" fmla="*/ 2147483647 h 1107"/>
                <a:gd name="T28" fmla="*/ 2147483647 w 456"/>
                <a:gd name="T29" fmla="*/ 2147483647 h 1107"/>
                <a:gd name="T30" fmla="*/ 2147483647 w 456"/>
                <a:gd name="T31" fmla="*/ 2147483647 h 1107"/>
                <a:gd name="T32" fmla="*/ 2147483647 w 456"/>
                <a:gd name="T33" fmla="*/ 2147483647 h 1107"/>
                <a:gd name="T34" fmla="*/ 0 w 456"/>
                <a:gd name="T35" fmla="*/ 2147483647 h 1107"/>
                <a:gd name="T36" fmla="*/ 2147483647 w 456"/>
                <a:gd name="T37" fmla="*/ 2147483647 h 1107"/>
                <a:gd name="T38" fmla="*/ 2147483647 w 456"/>
                <a:gd name="T39" fmla="*/ 2147483647 h 1107"/>
                <a:gd name="T40" fmla="*/ 2147483647 w 456"/>
                <a:gd name="T41" fmla="*/ 2147483647 h 1107"/>
                <a:gd name="T42" fmla="*/ 2147483647 w 456"/>
                <a:gd name="T43" fmla="*/ 2147483647 h 1107"/>
                <a:gd name="T44" fmla="*/ 2147483647 w 456"/>
                <a:gd name="T45" fmla="*/ 2147483647 h 1107"/>
                <a:gd name="T46" fmla="*/ 2147483647 w 456"/>
                <a:gd name="T47" fmla="*/ 2147483647 h 1107"/>
                <a:gd name="T48" fmla="*/ 2147483647 w 456"/>
                <a:gd name="T49" fmla="*/ 2147483647 h 1107"/>
                <a:gd name="T50" fmla="*/ 2147483647 w 456"/>
                <a:gd name="T51" fmla="*/ 2147483647 h 1107"/>
                <a:gd name="T52" fmla="*/ 2147483647 w 456"/>
                <a:gd name="T53" fmla="*/ 2147483647 h 1107"/>
                <a:gd name="T54" fmla="*/ 2147483647 w 456"/>
                <a:gd name="T55" fmla="*/ 2147483647 h 1107"/>
                <a:gd name="T56" fmla="*/ 2147483647 w 456"/>
                <a:gd name="T57" fmla="*/ 2147483647 h 1107"/>
                <a:gd name="T58" fmla="*/ 2147483647 w 456"/>
                <a:gd name="T59" fmla="*/ 2147483647 h 1107"/>
                <a:gd name="T60" fmla="*/ 2147483647 w 456"/>
                <a:gd name="T61" fmla="*/ 2147483647 h 1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6"/>
                <a:gd name="T94" fmla="*/ 0 h 1107"/>
                <a:gd name="T95" fmla="*/ 620 w 456"/>
                <a:gd name="T96" fmla="*/ 1089 h 1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6" h="1107">
                  <a:moveTo>
                    <a:pt x="232" y="1107"/>
                  </a:moveTo>
                  <a:lnTo>
                    <a:pt x="310" y="1031"/>
                  </a:lnTo>
                  <a:lnTo>
                    <a:pt x="391" y="938"/>
                  </a:lnTo>
                  <a:lnTo>
                    <a:pt x="441" y="827"/>
                  </a:lnTo>
                  <a:lnTo>
                    <a:pt x="456" y="687"/>
                  </a:lnTo>
                  <a:lnTo>
                    <a:pt x="370" y="623"/>
                  </a:lnTo>
                  <a:lnTo>
                    <a:pt x="313" y="525"/>
                  </a:lnTo>
                  <a:lnTo>
                    <a:pt x="298" y="437"/>
                  </a:lnTo>
                  <a:lnTo>
                    <a:pt x="321" y="334"/>
                  </a:lnTo>
                  <a:lnTo>
                    <a:pt x="370" y="247"/>
                  </a:lnTo>
                  <a:lnTo>
                    <a:pt x="266" y="176"/>
                  </a:lnTo>
                  <a:lnTo>
                    <a:pt x="210" y="112"/>
                  </a:lnTo>
                  <a:lnTo>
                    <a:pt x="198" y="59"/>
                  </a:lnTo>
                  <a:lnTo>
                    <a:pt x="165" y="62"/>
                  </a:lnTo>
                  <a:lnTo>
                    <a:pt x="132" y="12"/>
                  </a:lnTo>
                  <a:lnTo>
                    <a:pt x="102" y="0"/>
                  </a:lnTo>
                  <a:lnTo>
                    <a:pt x="87" y="29"/>
                  </a:lnTo>
                  <a:lnTo>
                    <a:pt x="58" y="78"/>
                  </a:lnTo>
                  <a:lnTo>
                    <a:pt x="37" y="144"/>
                  </a:lnTo>
                  <a:lnTo>
                    <a:pt x="0" y="200"/>
                  </a:lnTo>
                  <a:lnTo>
                    <a:pt x="24" y="240"/>
                  </a:lnTo>
                  <a:lnTo>
                    <a:pt x="49" y="273"/>
                  </a:lnTo>
                  <a:lnTo>
                    <a:pt x="6" y="308"/>
                  </a:lnTo>
                  <a:lnTo>
                    <a:pt x="76" y="382"/>
                  </a:lnTo>
                  <a:lnTo>
                    <a:pt x="76" y="477"/>
                  </a:lnTo>
                  <a:lnTo>
                    <a:pt x="51" y="541"/>
                  </a:lnTo>
                  <a:lnTo>
                    <a:pt x="20" y="595"/>
                  </a:lnTo>
                  <a:lnTo>
                    <a:pt x="45" y="690"/>
                  </a:lnTo>
                  <a:lnTo>
                    <a:pt x="51" y="777"/>
                  </a:lnTo>
                  <a:lnTo>
                    <a:pt x="43" y="841"/>
                  </a:lnTo>
                  <a:lnTo>
                    <a:pt x="76" y="928"/>
                  </a:lnTo>
                  <a:lnTo>
                    <a:pt x="147" y="976"/>
                  </a:lnTo>
                  <a:lnTo>
                    <a:pt x="232" y="1107"/>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0" name="Freeform 42">
              <a:extLst>
                <a:ext uri="{FF2B5EF4-FFF2-40B4-BE49-F238E27FC236}">
                  <a16:creationId xmlns:a16="http://schemas.microsoft.com/office/drawing/2014/main" id="{059B16F0-DADD-AFBA-6C84-03623D608813}"/>
                </a:ext>
              </a:extLst>
            </p:cNvPr>
            <p:cNvSpPr>
              <a:spLocks noChangeAspect="1"/>
            </p:cNvSpPr>
            <p:nvPr/>
          </p:nvSpPr>
          <p:spPr bwMode="auto">
            <a:xfrm>
              <a:off x="4968421" y="2765003"/>
              <a:ext cx="105328" cy="149810"/>
            </a:xfrm>
            <a:custGeom>
              <a:avLst/>
              <a:gdLst>
                <a:gd name="T0" fmla="*/ 2147483647 w 237"/>
                <a:gd name="T1" fmla="*/ 2147483647 h 324"/>
                <a:gd name="T2" fmla="*/ 2147483647 w 237"/>
                <a:gd name="T3" fmla="*/ 2147483647 h 324"/>
                <a:gd name="T4" fmla="*/ 2147483647 w 237"/>
                <a:gd name="T5" fmla="*/ 2147483647 h 324"/>
                <a:gd name="T6" fmla="*/ 2147483647 w 237"/>
                <a:gd name="T7" fmla="*/ 2147483647 h 324"/>
                <a:gd name="T8" fmla="*/ 2147483647 w 237"/>
                <a:gd name="T9" fmla="*/ 2147483647 h 324"/>
                <a:gd name="T10" fmla="*/ 2147483647 w 237"/>
                <a:gd name="T11" fmla="*/ 2147483647 h 324"/>
                <a:gd name="T12" fmla="*/ 2147483647 w 237"/>
                <a:gd name="T13" fmla="*/ 2147483647 h 324"/>
                <a:gd name="T14" fmla="*/ 2147483647 w 237"/>
                <a:gd name="T15" fmla="*/ 2147483647 h 324"/>
                <a:gd name="T16" fmla="*/ 2147483647 w 237"/>
                <a:gd name="T17" fmla="*/ 2147483647 h 324"/>
                <a:gd name="T18" fmla="*/ 2147483647 w 237"/>
                <a:gd name="T19" fmla="*/ 2147483647 h 324"/>
                <a:gd name="T20" fmla="*/ 2147483647 w 237"/>
                <a:gd name="T21" fmla="*/ 2147483647 h 324"/>
                <a:gd name="T22" fmla="*/ 2147483647 w 237"/>
                <a:gd name="T23" fmla="*/ 2147483647 h 324"/>
                <a:gd name="T24" fmla="*/ 2147483647 w 237"/>
                <a:gd name="T25" fmla="*/ 2147483647 h 324"/>
                <a:gd name="T26" fmla="*/ 2147483647 w 237"/>
                <a:gd name="T27" fmla="*/ 2147483647 h 324"/>
                <a:gd name="T28" fmla="*/ 2147483647 w 237"/>
                <a:gd name="T29" fmla="*/ 2147483647 h 324"/>
                <a:gd name="T30" fmla="*/ 2147483647 w 237"/>
                <a:gd name="T31" fmla="*/ 2147483647 h 324"/>
                <a:gd name="T32" fmla="*/ 2147483647 w 237"/>
                <a:gd name="T33" fmla="*/ 2147483647 h 324"/>
                <a:gd name="T34" fmla="*/ 2147483647 w 237"/>
                <a:gd name="T35" fmla="*/ 2147483647 h 324"/>
                <a:gd name="T36" fmla="*/ 2147483647 w 237"/>
                <a:gd name="T37" fmla="*/ 2147483647 h 324"/>
                <a:gd name="T38" fmla="*/ 0 w 237"/>
                <a:gd name="T39" fmla="*/ 2147483647 h 324"/>
                <a:gd name="T40" fmla="*/ 2147483647 w 237"/>
                <a:gd name="T41" fmla="*/ 2147483647 h 324"/>
                <a:gd name="T42" fmla="*/ 2147483647 w 237"/>
                <a:gd name="T43" fmla="*/ 2147483647 h 324"/>
                <a:gd name="T44" fmla="*/ 2147483647 w 237"/>
                <a:gd name="T45" fmla="*/ 0 h 324"/>
                <a:gd name="T46" fmla="*/ 2147483647 w 237"/>
                <a:gd name="T47" fmla="*/ 2147483647 h 324"/>
                <a:gd name="T48" fmla="*/ 2147483647 w 237"/>
                <a:gd name="T49" fmla="*/ 2147483647 h 324"/>
                <a:gd name="T50" fmla="*/ 2147483647 w 237"/>
                <a:gd name="T51" fmla="*/ 2147483647 h 324"/>
                <a:gd name="T52" fmla="*/ 2147483647 w 237"/>
                <a:gd name="T53" fmla="*/ 2147483647 h 324"/>
                <a:gd name="T54" fmla="*/ 2147483647 w 237"/>
                <a:gd name="T55" fmla="*/ 2147483647 h 324"/>
                <a:gd name="T56" fmla="*/ 2147483647 w 237"/>
                <a:gd name="T57" fmla="*/ 2147483647 h 324"/>
                <a:gd name="T58" fmla="*/ 2147483647 w 237"/>
                <a:gd name="T59" fmla="*/ 2147483647 h 324"/>
                <a:gd name="T60" fmla="*/ 2147483647 w 237"/>
                <a:gd name="T61" fmla="*/ 2147483647 h 324"/>
                <a:gd name="T62" fmla="*/ 2147483647 w 237"/>
                <a:gd name="T63" fmla="*/ 2147483647 h 324"/>
                <a:gd name="T64" fmla="*/ 2147483647 w 237"/>
                <a:gd name="T65" fmla="*/ 2147483647 h 324"/>
                <a:gd name="T66" fmla="*/ 2147483647 w 237"/>
                <a:gd name="T67" fmla="*/ 2147483647 h 324"/>
                <a:gd name="T68" fmla="*/ 2147483647 w 237"/>
                <a:gd name="T69" fmla="*/ 2147483647 h 324"/>
                <a:gd name="T70" fmla="*/ 2147483647 w 237"/>
                <a:gd name="T71" fmla="*/ 2147483647 h 324"/>
                <a:gd name="T72" fmla="*/ 2147483647 w 237"/>
                <a:gd name="T73" fmla="*/ 2147483647 h 324"/>
                <a:gd name="T74" fmla="*/ 2147483647 w 237"/>
                <a:gd name="T75" fmla="*/ 2147483647 h 324"/>
                <a:gd name="T76" fmla="*/ 2147483647 w 237"/>
                <a:gd name="T77" fmla="*/ 2147483647 h 324"/>
                <a:gd name="T78" fmla="*/ 2147483647 w 237"/>
                <a:gd name="T79" fmla="*/ 2147483647 h 324"/>
                <a:gd name="T80" fmla="*/ 2147483647 w 237"/>
                <a:gd name="T81" fmla="*/ 2147483647 h 324"/>
                <a:gd name="T82" fmla="*/ 2147483647 w 237"/>
                <a:gd name="T83" fmla="*/ 2147483647 h 324"/>
                <a:gd name="T84" fmla="*/ 2147483647 w 237"/>
                <a:gd name="T85" fmla="*/ 2147483647 h 324"/>
                <a:gd name="T86" fmla="*/ 2147483647 w 237"/>
                <a:gd name="T87" fmla="*/ 2147483647 h 324"/>
                <a:gd name="T88" fmla="*/ 2147483647 w 237"/>
                <a:gd name="T89" fmla="*/ 2147483647 h 324"/>
                <a:gd name="T90" fmla="*/ 2147483647 w 237"/>
                <a:gd name="T91" fmla="*/ 2147483647 h 324"/>
                <a:gd name="T92" fmla="*/ 2147483647 w 237"/>
                <a:gd name="T93" fmla="*/ 2147483647 h 324"/>
                <a:gd name="T94" fmla="*/ 2147483647 w 237"/>
                <a:gd name="T95" fmla="*/ 2147483647 h 3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7"/>
                <a:gd name="T145" fmla="*/ 0 h 324"/>
                <a:gd name="T146" fmla="*/ 1162 w 237"/>
                <a:gd name="T147" fmla="*/ 1450 h 3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7" h="324">
                  <a:moveTo>
                    <a:pt x="84" y="252"/>
                  </a:moveTo>
                  <a:lnTo>
                    <a:pt x="69" y="243"/>
                  </a:lnTo>
                  <a:lnTo>
                    <a:pt x="56" y="242"/>
                  </a:lnTo>
                  <a:lnTo>
                    <a:pt x="49" y="238"/>
                  </a:lnTo>
                  <a:lnTo>
                    <a:pt x="36" y="219"/>
                  </a:lnTo>
                  <a:lnTo>
                    <a:pt x="31" y="213"/>
                  </a:lnTo>
                  <a:lnTo>
                    <a:pt x="22" y="200"/>
                  </a:lnTo>
                  <a:lnTo>
                    <a:pt x="33" y="200"/>
                  </a:lnTo>
                  <a:lnTo>
                    <a:pt x="33" y="186"/>
                  </a:lnTo>
                  <a:lnTo>
                    <a:pt x="24" y="181"/>
                  </a:lnTo>
                  <a:lnTo>
                    <a:pt x="24" y="166"/>
                  </a:lnTo>
                  <a:lnTo>
                    <a:pt x="41" y="171"/>
                  </a:lnTo>
                  <a:lnTo>
                    <a:pt x="41" y="158"/>
                  </a:lnTo>
                  <a:lnTo>
                    <a:pt x="36" y="145"/>
                  </a:lnTo>
                  <a:lnTo>
                    <a:pt x="26" y="150"/>
                  </a:lnTo>
                  <a:lnTo>
                    <a:pt x="18" y="133"/>
                  </a:lnTo>
                  <a:lnTo>
                    <a:pt x="25" y="120"/>
                  </a:lnTo>
                  <a:lnTo>
                    <a:pt x="19" y="93"/>
                  </a:lnTo>
                  <a:lnTo>
                    <a:pt x="23" y="77"/>
                  </a:lnTo>
                  <a:lnTo>
                    <a:pt x="8" y="39"/>
                  </a:lnTo>
                  <a:lnTo>
                    <a:pt x="0" y="21"/>
                  </a:lnTo>
                  <a:lnTo>
                    <a:pt x="23" y="9"/>
                  </a:lnTo>
                  <a:lnTo>
                    <a:pt x="54" y="10"/>
                  </a:lnTo>
                  <a:lnTo>
                    <a:pt x="83" y="0"/>
                  </a:lnTo>
                  <a:lnTo>
                    <a:pt x="100" y="12"/>
                  </a:lnTo>
                  <a:lnTo>
                    <a:pt x="113" y="23"/>
                  </a:lnTo>
                  <a:lnTo>
                    <a:pt x="122" y="32"/>
                  </a:lnTo>
                  <a:lnTo>
                    <a:pt x="140" y="51"/>
                  </a:lnTo>
                  <a:lnTo>
                    <a:pt x="165" y="89"/>
                  </a:lnTo>
                  <a:lnTo>
                    <a:pt x="198" y="105"/>
                  </a:lnTo>
                  <a:lnTo>
                    <a:pt x="215" y="129"/>
                  </a:lnTo>
                  <a:lnTo>
                    <a:pt x="228" y="155"/>
                  </a:lnTo>
                  <a:lnTo>
                    <a:pt x="206" y="179"/>
                  </a:lnTo>
                  <a:lnTo>
                    <a:pt x="212" y="189"/>
                  </a:lnTo>
                  <a:lnTo>
                    <a:pt x="216" y="201"/>
                  </a:lnTo>
                  <a:lnTo>
                    <a:pt x="228" y="203"/>
                  </a:lnTo>
                  <a:lnTo>
                    <a:pt x="237" y="224"/>
                  </a:lnTo>
                  <a:lnTo>
                    <a:pt x="227" y="245"/>
                  </a:lnTo>
                  <a:lnTo>
                    <a:pt x="207" y="270"/>
                  </a:lnTo>
                  <a:lnTo>
                    <a:pt x="194" y="288"/>
                  </a:lnTo>
                  <a:lnTo>
                    <a:pt x="192" y="312"/>
                  </a:lnTo>
                  <a:lnTo>
                    <a:pt x="169" y="309"/>
                  </a:lnTo>
                  <a:lnTo>
                    <a:pt x="158" y="317"/>
                  </a:lnTo>
                  <a:lnTo>
                    <a:pt x="142" y="313"/>
                  </a:lnTo>
                  <a:lnTo>
                    <a:pt x="125" y="314"/>
                  </a:lnTo>
                  <a:lnTo>
                    <a:pt x="112" y="322"/>
                  </a:lnTo>
                  <a:lnTo>
                    <a:pt x="101" y="324"/>
                  </a:lnTo>
                  <a:lnTo>
                    <a:pt x="80" y="308"/>
                  </a:lnTo>
                  <a:lnTo>
                    <a:pt x="71" y="293"/>
                  </a:lnTo>
                  <a:lnTo>
                    <a:pt x="70" y="282"/>
                  </a:lnTo>
                  <a:lnTo>
                    <a:pt x="69" y="270"/>
                  </a:lnTo>
                  <a:lnTo>
                    <a:pt x="70" y="261"/>
                  </a:lnTo>
                  <a:lnTo>
                    <a:pt x="79" y="260"/>
                  </a:lnTo>
                  <a:lnTo>
                    <a:pt x="84" y="25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1" name="Freeform 44">
              <a:extLst>
                <a:ext uri="{FF2B5EF4-FFF2-40B4-BE49-F238E27FC236}">
                  <a16:creationId xmlns:a16="http://schemas.microsoft.com/office/drawing/2014/main" id="{6DE21586-CB03-CD9C-74E0-82C7779B8FB5}"/>
                </a:ext>
              </a:extLst>
            </p:cNvPr>
            <p:cNvSpPr>
              <a:spLocks noChangeAspect="1"/>
            </p:cNvSpPr>
            <p:nvPr/>
          </p:nvSpPr>
          <p:spPr bwMode="auto">
            <a:xfrm rot="287104">
              <a:off x="4961699" y="2857193"/>
              <a:ext cx="44820" cy="59923"/>
            </a:xfrm>
            <a:custGeom>
              <a:avLst/>
              <a:gdLst>
                <a:gd name="T0" fmla="*/ 0 w 852"/>
                <a:gd name="T1" fmla="*/ 2147483647 h 1124"/>
                <a:gd name="T2" fmla="*/ 2147483647 w 852"/>
                <a:gd name="T3" fmla="*/ 2147483647 h 1124"/>
                <a:gd name="T4" fmla="*/ 2147483647 w 852"/>
                <a:gd name="T5" fmla="*/ 2147483647 h 1124"/>
                <a:gd name="T6" fmla="*/ 2147483647 w 852"/>
                <a:gd name="T7" fmla="*/ 2147483647 h 1124"/>
                <a:gd name="T8" fmla="*/ 2147483647 w 852"/>
                <a:gd name="T9" fmla="*/ 2147483647 h 1124"/>
                <a:gd name="T10" fmla="*/ 2147483647 w 852"/>
                <a:gd name="T11" fmla="*/ 2147483647 h 1124"/>
                <a:gd name="T12" fmla="*/ 2147483647 w 852"/>
                <a:gd name="T13" fmla="*/ 2147483647 h 1124"/>
                <a:gd name="T14" fmla="*/ 2147483647 w 852"/>
                <a:gd name="T15" fmla="*/ 2147483647 h 1124"/>
                <a:gd name="T16" fmla="*/ 2147483647 w 852"/>
                <a:gd name="T17" fmla="*/ 2147483647 h 1124"/>
                <a:gd name="T18" fmla="*/ 2147483647 w 852"/>
                <a:gd name="T19" fmla="*/ 2147483647 h 1124"/>
                <a:gd name="T20" fmla="*/ 2147483647 w 852"/>
                <a:gd name="T21" fmla="*/ 2147483647 h 1124"/>
                <a:gd name="T22" fmla="*/ 2147483647 w 852"/>
                <a:gd name="T23" fmla="*/ 2147483647 h 1124"/>
                <a:gd name="T24" fmla="*/ 2147483647 w 852"/>
                <a:gd name="T25" fmla="*/ 2147483647 h 1124"/>
                <a:gd name="T26" fmla="*/ 2147483647 w 852"/>
                <a:gd name="T27" fmla="*/ 0 h 1124"/>
                <a:gd name="T28" fmla="*/ 2147483647 w 852"/>
                <a:gd name="T29" fmla="*/ 2147483647 h 1124"/>
                <a:gd name="T30" fmla="*/ 2147483647 w 852"/>
                <a:gd name="T31" fmla="*/ 2147483647 h 1124"/>
                <a:gd name="T32" fmla="*/ 2147483647 w 852"/>
                <a:gd name="T33" fmla="*/ 2147483647 h 1124"/>
                <a:gd name="T34" fmla="*/ 0 w 852"/>
                <a:gd name="T35" fmla="*/ 2147483647 h 1124"/>
                <a:gd name="T36" fmla="*/ 2147483647 w 852"/>
                <a:gd name="T37" fmla="*/ 2147483647 h 1124"/>
                <a:gd name="T38" fmla="*/ 0 w 852"/>
                <a:gd name="T39" fmla="*/ 2147483647 h 1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52"/>
                <a:gd name="T61" fmla="*/ 0 h 1124"/>
                <a:gd name="T62" fmla="*/ 536 w 852"/>
                <a:gd name="T63" fmla="*/ 469 h 1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52" h="1124">
                  <a:moveTo>
                    <a:pt x="48" y="692"/>
                  </a:moveTo>
                  <a:lnTo>
                    <a:pt x="53" y="774"/>
                  </a:lnTo>
                  <a:lnTo>
                    <a:pt x="90" y="832"/>
                  </a:lnTo>
                  <a:lnTo>
                    <a:pt x="115" y="923"/>
                  </a:lnTo>
                  <a:lnTo>
                    <a:pt x="182" y="923"/>
                  </a:lnTo>
                  <a:lnTo>
                    <a:pt x="211" y="855"/>
                  </a:lnTo>
                  <a:lnTo>
                    <a:pt x="221" y="932"/>
                  </a:lnTo>
                  <a:lnTo>
                    <a:pt x="283" y="942"/>
                  </a:lnTo>
                  <a:lnTo>
                    <a:pt x="341" y="971"/>
                  </a:lnTo>
                  <a:lnTo>
                    <a:pt x="370" y="1023"/>
                  </a:lnTo>
                  <a:lnTo>
                    <a:pt x="403" y="1124"/>
                  </a:lnTo>
                  <a:lnTo>
                    <a:pt x="480" y="1057"/>
                  </a:lnTo>
                  <a:lnTo>
                    <a:pt x="432" y="995"/>
                  </a:lnTo>
                  <a:lnTo>
                    <a:pt x="394" y="927"/>
                  </a:lnTo>
                  <a:lnTo>
                    <a:pt x="456" y="836"/>
                  </a:lnTo>
                  <a:lnTo>
                    <a:pt x="499" y="702"/>
                  </a:lnTo>
                  <a:lnTo>
                    <a:pt x="547" y="630"/>
                  </a:lnTo>
                  <a:lnTo>
                    <a:pt x="571" y="572"/>
                  </a:lnTo>
                  <a:lnTo>
                    <a:pt x="624" y="591"/>
                  </a:lnTo>
                  <a:lnTo>
                    <a:pt x="682" y="678"/>
                  </a:lnTo>
                  <a:lnTo>
                    <a:pt x="749" y="673"/>
                  </a:lnTo>
                  <a:lnTo>
                    <a:pt x="740" y="577"/>
                  </a:lnTo>
                  <a:lnTo>
                    <a:pt x="739" y="495"/>
                  </a:lnTo>
                  <a:lnTo>
                    <a:pt x="816" y="476"/>
                  </a:lnTo>
                  <a:lnTo>
                    <a:pt x="852" y="403"/>
                  </a:lnTo>
                  <a:lnTo>
                    <a:pt x="715" y="332"/>
                  </a:lnTo>
                  <a:lnTo>
                    <a:pt x="624" y="332"/>
                  </a:lnTo>
                  <a:lnTo>
                    <a:pt x="552" y="313"/>
                  </a:lnTo>
                  <a:lnTo>
                    <a:pt x="499" y="251"/>
                  </a:lnTo>
                  <a:lnTo>
                    <a:pt x="427" y="159"/>
                  </a:lnTo>
                  <a:lnTo>
                    <a:pt x="360" y="92"/>
                  </a:lnTo>
                  <a:lnTo>
                    <a:pt x="288" y="0"/>
                  </a:lnTo>
                  <a:lnTo>
                    <a:pt x="187" y="30"/>
                  </a:lnTo>
                  <a:lnTo>
                    <a:pt x="226" y="131"/>
                  </a:lnTo>
                  <a:lnTo>
                    <a:pt x="274" y="198"/>
                  </a:lnTo>
                  <a:lnTo>
                    <a:pt x="259" y="279"/>
                  </a:lnTo>
                  <a:lnTo>
                    <a:pt x="187" y="265"/>
                  </a:lnTo>
                  <a:lnTo>
                    <a:pt x="139" y="198"/>
                  </a:lnTo>
                  <a:lnTo>
                    <a:pt x="50" y="232"/>
                  </a:lnTo>
                  <a:lnTo>
                    <a:pt x="67" y="366"/>
                  </a:lnTo>
                  <a:lnTo>
                    <a:pt x="0" y="452"/>
                  </a:lnTo>
                  <a:lnTo>
                    <a:pt x="29" y="563"/>
                  </a:lnTo>
                  <a:lnTo>
                    <a:pt x="48" y="69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2" name="Freeform 46">
              <a:extLst>
                <a:ext uri="{FF2B5EF4-FFF2-40B4-BE49-F238E27FC236}">
                  <a16:creationId xmlns:a16="http://schemas.microsoft.com/office/drawing/2014/main" id="{6EBB18E5-BC0E-8E54-F6C8-97907D0D0622}"/>
                </a:ext>
              </a:extLst>
            </p:cNvPr>
            <p:cNvSpPr>
              <a:spLocks noChangeAspect="1"/>
            </p:cNvSpPr>
            <p:nvPr/>
          </p:nvSpPr>
          <p:spPr bwMode="auto">
            <a:xfrm>
              <a:off x="5006519" y="2905595"/>
              <a:ext cx="64989" cy="50705"/>
            </a:xfrm>
            <a:custGeom>
              <a:avLst/>
              <a:gdLst>
                <a:gd name="T0" fmla="*/ 0 w 148"/>
                <a:gd name="T1" fmla="*/ 2147483647 h 113"/>
                <a:gd name="T2" fmla="*/ 2147483647 w 148"/>
                <a:gd name="T3" fmla="*/ 2147483647 h 113"/>
                <a:gd name="T4" fmla="*/ 2147483647 w 148"/>
                <a:gd name="T5" fmla="*/ 2147483647 h 113"/>
                <a:gd name="T6" fmla="*/ 2147483647 w 148"/>
                <a:gd name="T7" fmla="*/ 2147483647 h 113"/>
                <a:gd name="T8" fmla="*/ 2147483647 w 148"/>
                <a:gd name="T9" fmla="*/ 2147483647 h 113"/>
                <a:gd name="T10" fmla="*/ 2147483647 w 148"/>
                <a:gd name="T11" fmla="*/ 2147483647 h 113"/>
                <a:gd name="T12" fmla="*/ 2147483647 w 148"/>
                <a:gd name="T13" fmla="*/ 2147483647 h 113"/>
                <a:gd name="T14" fmla="*/ 2147483647 w 148"/>
                <a:gd name="T15" fmla="*/ 2147483647 h 113"/>
                <a:gd name="T16" fmla="*/ 2147483647 w 148"/>
                <a:gd name="T17" fmla="*/ 2147483647 h 113"/>
                <a:gd name="T18" fmla="*/ 2147483647 w 148"/>
                <a:gd name="T19" fmla="*/ 2147483647 h 113"/>
                <a:gd name="T20" fmla="*/ 2147483647 w 148"/>
                <a:gd name="T21" fmla="*/ 2147483647 h 113"/>
                <a:gd name="T22" fmla="*/ 2147483647 w 148"/>
                <a:gd name="T23" fmla="*/ 0 h 113"/>
                <a:gd name="T24" fmla="*/ 2147483647 w 148"/>
                <a:gd name="T25" fmla="*/ 2147483647 h 113"/>
                <a:gd name="T26" fmla="*/ 2147483647 w 148"/>
                <a:gd name="T27" fmla="*/ 2147483647 h 113"/>
                <a:gd name="T28" fmla="*/ 2147483647 w 148"/>
                <a:gd name="T29" fmla="*/ 2147483647 h 113"/>
                <a:gd name="T30" fmla="*/ 2147483647 w 148"/>
                <a:gd name="T31" fmla="*/ 2147483647 h 113"/>
                <a:gd name="T32" fmla="*/ 2147483647 w 148"/>
                <a:gd name="T33" fmla="*/ 2147483647 h 113"/>
                <a:gd name="T34" fmla="*/ 2147483647 w 148"/>
                <a:gd name="T35" fmla="*/ 2147483647 h 113"/>
                <a:gd name="T36" fmla="*/ 2147483647 w 148"/>
                <a:gd name="T37" fmla="*/ 2147483647 h 113"/>
                <a:gd name="T38" fmla="*/ 2147483647 w 148"/>
                <a:gd name="T39" fmla="*/ 2147483647 h 113"/>
                <a:gd name="T40" fmla="*/ 0 w 148"/>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13"/>
                <a:gd name="T65" fmla="*/ 689 w 148"/>
                <a:gd name="T66" fmla="*/ 584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13">
                  <a:moveTo>
                    <a:pt x="0" y="58"/>
                  </a:moveTo>
                  <a:lnTo>
                    <a:pt x="2" y="77"/>
                  </a:lnTo>
                  <a:lnTo>
                    <a:pt x="12" y="97"/>
                  </a:lnTo>
                  <a:lnTo>
                    <a:pt x="30" y="113"/>
                  </a:lnTo>
                  <a:lnTo>
                    <a:pt x="56" y="113"/>
                  </a:lnTo>
                  <a:lnTo>
                    <a:pt x="88" y="101"/>
                  </a:lnTo>
                  <a:lnTo>
                    <a:pt x="118" y="102"/>
                  </a:lnTo>
                  <a:lnTo>
                    <a:pt x="148" y="78"/>
                  </a:lnTo>
                  <a:lnTo>
                    <a:pt x="147" y="51"/>
                  </a:lnTo>
                  <a:lnTo>
                    <a:pt x="136" y="27"/>
                  </a:lnTo>
                  <a:lnTo>
                    <a:pt x="129" y="18"/>
                  </a:lnTo>
                  <a:lnTo>
                    <a:pt x="120" y="3"/>
                  </a:lnTo>
                  <a:lnTo>
                    <a:pt x="109" y="0"/>
                  </a:lnTo>
                  <a:lnTo>
                    <a:pt x="105" y="7"/>
                  </a:lnTo>
                  <a:lnTo>
                    <a:pt x="86" y="4"/>
                  </a:lnTo>
                  <a:lnTo>
                    <a:pt x="75" y="12"/>
                  </a:lnTo>
                  <a:lnTo>
                    <a:pt x="62" y="9"/>
                  </a:lnTo>
                  <a:lnTo>
                    <a:pt x="56" y="9"/>
                  </a:lnTo>
                  <a:lnTo>
                    <a:pt x="43" y="10"/>
                  </a:lnTo>
                  <a:lnTo>
                    <a:pt x="30" y="17"/>
                  </a:lnTo>
                  <a:lnTo>
                    <a:pt x="18" y="20"/>
                  </a:lnTo>
                  <a:lnTo>
                    <a:pt x="7" y="37"/>
                  </a:lnTo>
                  <a:lnTo>
                    <a:pt x="0" y="5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nvGrpSpPr>
            <p:cNvPr id="243" name="Group 249">
              <a:extLst>
                <a:ext uri="{FF2B5EF4-FFF2-40B4-BE49-F238E27FC236}">
                  <a16:creationId xmlns:a16="http://schemas.microsoft.com/office/drawing/2014/main" id="{2D296743-DCB1-1738-A3F6-7DDD28AF97C8}"/>
                </a:ext>
              </a:extLst>
            </p:cNvPr>
            <p:cNvGrpSpPr>
              <a:grpSpLocks/>
            </p:cNvGrpSpPr>
            <p:nvPr/>
          </p:nvGrpSpPr>
          <p:grpSpPr bwMode="auto">
            <a:xfrm>
              <a:off x="7402157" y="4011882"/>
              <a:ext cx="24653" cy="20743"/>
              <a:chOff x="9180" y="8079"/>
              <a:chExt cx="13266" cy="10828"/>
            </a:xfrm>
            <a:solidFill>
              <a:srgbClr val="E0E0E0"/>
            </a:solidFill>
          </p:grpSpPr>
          <p:sp>
            <p:nvSpPr>
              <p:cNvPr id="294" name="Freeform 250">
                <a:extLst>
                  <a:ext uri="{FF2B5EF4-FFF2-40B4-BE49-F238E27FC236}">
                    <a16:creationId xmlns:a16="http://schemas.microsoft.com/office/drawing/2014/main" id="{4D8996E4-30C2-1868-E741-CB734B07B69E}"/>
                  </a:ext>
                </a:extLst>
              </p:cNvPr>
              <p:cNvSpPr>
                <a:spLocks/>
              </p:cNvSpPr>
              <p:nvPr/>
            </p:nvSpPr>
            <p:spPr bwMode="auto">
              <a:xfrm>
                <a:off x="9180" y="8079"/>
                <a:ext cx="10856" cy="10828"/>
              </a:xfrm>
              <a:custGeom>
                <a:avLst/>
                <a:gdLst>
                  <a:gd name="T0" fmla="*/ 666 w 10856"/>
                  <a:gd name="T1" fmla="*/ 4863 h 10828"/>
                  <a:gd name="T2" fmla="*/ 1242 w 10856"/>
                  <a:gd name="T3" fmla="*/ 5313 h 10828"/>
                  <a:gd name="T4" fmla="*/ 1962 w 10856"/>
                  <a:gd name="T5" fmla="*/ 5889 h 10828"/>
                  <a:gd name="T6" fmla="*/ 2376 w 10856"/>
                  <a:gd name="T7" fmla="*/ 6591 h 10828"/>
                  <a:gd name="T8" fmla="*/ 2520 w 10856"/>
                  <a:gd name="T9" fmla="*/ 7185 h 10828"/>
                  <a:gd name="T10" fmla="*/ 2468 w 10856"/>
                  <a:gd name="T11" fmla="*/ 8095 h 10828"/>
                  <a:gd name="T12" fmla="*/ 3236 w 10856"/>
                  <a:gd name="T13" fmla="*/ 8122 h 10828"/>
                  <a:gd name="T14" fmla="*/ 3693 w 10856"/>
                  <a:gd name="T15" fmla="*/ 7994 h 10828"/>
                  <a:gd name="T16" fmla="*/ 3986 w 10856"/>
                  <a:gd name="T17" fmla="*/ 8662 h 10828"/>
                  <a:gd name="T18" fmla="*/ 4315 w 10856"/>
                  <a:gd name="T19" fmla="*/ 9356 h 10828"/>
                  <a:gd name="T20" fmla="*/ 4781 w 10856"/>
                  <a:gd name="T21" fmla="*/ 9704 h 10828"/>
                  <a:gd name="T22" fmla="*/ 5138 w 10856"/>
                  <a:gd name="T23" fmla="*/ 10179 h 10828"/>
                  <a:gd name="T24" fmla="*/ 5604 w 10856"/>
                  <a:gd name="T25" fmla="*/ 10545 h 10828"/>
                  <a:gd name="T26" fmla="*/ 6107 w 10856"/>
                  <a:gd name="T27" fmla="*/ 10682 h 10828"/>
                  <a:gd name="T28" fmla="*/ 6829 w 10856"/>
                  <a:gd name="T29" fmla="*/ 10088 h 10828"/>
                  <a:gd name="T30" fmla="*/ 7350 w 10856"/>
                  <a:gd name="T31" fmla="*/ 9558 h 10828"/>
                  <a:gd name="T32" fmla="*/ 7423 w 10856"/>
                  <a:gd name="T33" fmla="*/ 9009 h 10828"/>
                  <a:gd name="T34" fmla="*/ 7963 w 10856"/>
                  <a:gd name="T35" fmla="*/ 8159 h 10828"/>
                  <a:gd name="T36" fmla="*/ 7597 w 10856"/>
                  <a:gd name="T37" fmla="*/ 8232 h 10828"/>
                  <a:gd name="T38" fmla="*/ 7924 w 10856"/>
                  <a:gd name="T39" fmla="*/ 7745 h 10828"/>
                  <a:gd name="T40" fmla="*/ 8219 w 10856"/>
                  <a:gd name="T41" fmla="*/ 7153 h 10828"/>
                  <a:gd name="T42" fmla="*/ 8329 w 10856"/>
                  <a:gd name="T43" fmla="*/ 6550 h 10828"/>
                  <a:gd name="T44" fmla="*/ 7844 w 10856"/>
                  <a:gd name="T45" fmla="*/ 6449 h 10828"/>
                  <a:gd name="T46" fmla="*/ 7634 w 10856"/>
                  <a:gd name="T47" fmla="*/ 5937 h 10828"/>
                  <a:gd name="T48" fmla="*/ 7597 w 10856"/>
                  <a:gd name="T49" fmla="*/ 5260 h 10828"/>
                  <a:gd name="T50" fmla="*/ 7515 w 10856"/>
                  <a:gd name="T51" fmla="*/ 4630 h 10828"/>
                  <a:gd name="T52" fmla="*/ 7451 w 10856"/>
                  <a:gd name="T53" fmla="*/ 3926 h 10828"/>
                  <a:gd name="T54" fmla="*/ 7204 w 10856"/>
                  <a:gd name="T55" fmla="*/ 3670 h 10828"/>
                  <a:gd name="T56" fmla="*/ 7259 w 10856"/>
                  <a:gd name="T57" fmla="*/ 3249 h 10828"/>
                  <a:gd name="T58" fmla="*/ 7807 w 10856"/>
                  <a:gd name="T59" fmla="*/ 2966 h 10828"/>
                  <a:gd name="T60" fmla="*/ 8356 w 10856"/>
                  <a:gd name="T61" fmla="*/ 2399 h 10828"/>
                  <a:gd name="T62" fmla="*/ 9270 w 10856"/>
                  <a:gd name="T63" fmla="*/ 2271 h 10828"/>
                  <a:gd name="T64" fmla="*/ 9535 w 10856"/>
                  <a:gd name="T65" fmla="*/ 1640 h 10828"/>
                  <a:gd name="T66" fmla="*/ 9720 w 10856"/>
                  <a:gd name="T67" fmla="*/ 1343 h 10828"/>
                  <a:gd name="T68" fmla="*/ 9525 w 10856"/>
                  <a:gd name="T69" fmla="*/ 1509 h 10828"/>
                  <a:gd name="T70" fmla="*/ 9125 w 10856"/>
                  <a:gd name="T71" fmla="*/ 1806 h 10828"/>
                  <a:gd name="T72" fmla="*/ 8951 w 10856"/>
                  <a:gd name="T73" fmla="*/ 1823 h 10828"/>
                  <a:gd name="T74" fmla="*/ 8835 w 10856"/>
                  <a:gd name="T75" fmla="*/ 1737 h 10828"/>
                  <a:gd name="T76" fmla="*/ 8775 w 10856"/>
                  <a:gd name="T77" fmla="*/ 1691 h 10828"/>
                  <a:gd name="T78" fmla="*/ 9008 w 10856"/>
                  <a:gd name="T79" fmla="*/ 1716 h 10828"/>
                  <a:gd name="T80" fmla="*/ 9290 w 10856"/>
                  <a:gd name="T81" fmla="*/ 1557 h 10828"/>
                  <a:gd name="T82" fmla="*/ 9791 w 10856"/>
                  <a:gd name="T83" fmla="*/ 974 h 10828"/>
                  <a:gd name="T84" fmla="*/ 9917 w 10856"/>
                  <a:gd name="T85" fmla="*/ 567 h 10828"/>
                  <a:gd name="T86" fmla="*/ 10145 w 10856"/>
                  <a:gd name="T87" fmla="*/ 465 h 10828"/>
                  <a:gd name="T88" fmla="*/ 10460 w 10856"/>
                  <a:gd name="T89" fmla="*/ 513 h 10828"/>
                  <a:gd name="T90" fmla="*/ 10856 w 10856"/>
                  <a:gd name="T91" fmla="*/ 471 h 10828"/>
                  <a:gd name="T92" fmla="*/ 10515 w 10856"/>
                  <a:gd name="T93" fmla="*/ 368 h 10828"/>
                  <a:gd name="T94" fmla="*/ 10356 w 10856"/>
                  <a:gd name="T95" fmla="*/ 152 h 10828"/>
                  <a:gd name="T96" fmla="*/ 10754 w 10856"/>
                  <a:gd name="T97" fmla="*/ 17 h 10828"/>
                  <a:gd name="T98" fmla="*/ 10205 w 10856"/>
                  <a:gd name="T99" fmla="*/ 89 h 10828"/>
                  <a:gd name="T100" fmla="*/ 9302 w 10856"/>
                  <a:gd name="T101" fmla="*/ 272 h 10828"/>
                  <a:gd name="T102" fmla="*/ 8123 w 10856"/>
                  <a:gd name="T103" fmla="*/ 762 h 10828"/>
                  <a:gd name="T104" fmla="*/ 7566 w 10856"/>
                  <a:gd name="T105" fmla="*/ 1118 h 10828"/>
                  <a:gd name="T106" fmla="*/ 6195 w 10856"/>
                  <a:gd name="T107" fmla="*/ 2066 h 10828"/>
                  <a:gd name="T108" fmla="*/ 5610 w 10856"/>
                  <a:gd name="T109" fmla="*/ 2640 h 10828"/>
                  <a:gd name="T110" fmla="*/ 5502 w 10856"/>
                  <a:gd name="T111" fmla="*/ 2775 h 10828"/>
                  <a:gd name="T112" fmla="*/ 4470 w 10856"/>
                  <a:gd name="T113" fmla="*/ 3542 h 10828"/>
                  <a:gd name="T114" fmla="*/ 3171 w 10856"/>
                  <a:gd name="T115" fmla="*/ 4151 h 10828"/>
                  <a:gd name="T116" fmla="*/ 1559 w 10856"/>
                  <a:gd name="T117" fmla="*/ 4673 h 10828"/>
                  <a:gd name="T118" fmla="*/ 639 w 10856"/>
                  <a:gd name="T119" fmla="*/ 4731 h 108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856"/>
                  <a:gd name="T181" fmla="*/ 0 h 10828"/>
                  <a:gd name="T182" fmla="*/ 10856 w 10856"/>
                  <a:gd name="T183" fmla="*/ 10828 h 1082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856" h="10828">
                    <a:moveTo>
                      <a:pt x="0" y="4737"/>
                    </a:moveTo>
                    <a:lnTo>
                      <a:pt x="162" y="4863"/>
                    </a:lnTo>
                    <a:lnTo>
                      <a:pt x="432" y="4845"/>
                    </a:lnTo>
                    <a:lnTo>
                      <a:pt x="666" y="4863"/>
                    </a:lnTo>
                    <a:lnTo>
                      <a:pt x="936" y="4953"/>
                    </a:lnTo>
                    <a:lnTo>
                      <a:pt x="1044" y="5115"/>
                    </a:lnTo>
                    <a:lnTo>
                      <a:pt x="1152" y="5223"/>
                    </a:lnTo>
                    <a:lnTo>
                      <a:pt x="1242" y="5313"/>
                    </a:lnTo>
                    <a:lnTo>
                      <a:pt x="1422" y="5331"/>
                    </a:lnTo>
                    <a:lnTo>
                      <a:pt x="1656" y="5493"/>
                    </a:lnTo>
                    <a:lnTo>
                      <a:pt x="1890" y="5709"/>
                    </a:lnTo>
                    <a:lnTo>
                      <a:pt x="1962" y="5889"/>
                    </a:lnTo>
                    <a:lnTo>
                      <a:pt x="2124" y="6069"/>
                    </a:lnTo>
                    <a:lnTo>
                      <a:pt x="2196" y="6267"/>
                    </a:lnTo>
                    <a:lnTo>
                      <a:pt x="2286" y="6411"/>
                    </a:lnTo>
                    <a:lnTo>
                      <a:pt x="2376" y="6591"/>
                    </a:lnTo>
                    <a:lnTo>
                      <a:pt x="2394" y="6789"/>
                    </a:lnTo>
                    <a:lnTo>
                      <a:pt x="2376" y="6987"/>
                    </a:lnTo>
                    <a:lnTo>
                      <a:pt x="2394" y="7113"/>
                    </a:lnTo>
                    <a:lnTo>
                      <a:pt x="2520" y="7185"/>
                    </a:lnTo>
                    <a:lnTo>
                      <a:pt x="2628" y="7347"/>
                    </a:lnTo>
                    <a:lnTo>
                      <a:pt x="2556" y="7599"/>
                    </a:lnTo>
                    <a:lnTo>
                      <a:pt x="2484" y="7905"/>
                    </a:lnTo>
                    <a:lnTo>
                      <a:pt x="2468" y="8095"/>
                    </a:lnTo>
                    <a:lnTo>
                      <a:pt x="2523" y="8204"/>
                    </a:lnTo>
                    <a:lnTo>
                      <a:pt x="2724" y="8193"/>
                    </a:lnTo>
                    <a:lnTo>
                      <a:pt x="3060" y="8097"/>
                    </a:lnTo>
                    <a:lnTo>
                      <a:pt x="3236" y="8122"/>
                    </a:lnTo>
                    <a:lnTo>
                      <a:pt x="3373" y="8186"/>
                    </a:lnTo>
                    <a:lnTo>
                      <a:pt x="3510" y="8259"/>
                    </a:lnTo>
                    <a:lnTo>
                      <a:pt x="3565" y="8150"/>
                    </a:lnTo>
                    <a:lnTo>
                      <a:pt x="3693" y="7994"/>
                    </a:lnTo>
                    <a:lnTo>
                      <a:pt x="3867" y="8086"/>
                    </a:lnTo>
                    <a:lnTo>
                      <a:pt x="3858" y="8278"/>
                    </a:lnTo>
                    <a:lnTo>
                      <a:pt x="3922" y="8497"/>
                    </a:lnTo>
                    <a:lnTo>
                      <a:pt x="3986" y="8662"/>
                    </a:lnTo>
                    <a:lnTo>
                      <a:pt x="4086" y="8844"/>
                    </a:lnTo>
                    <a:lnTo>
                      <a:pt x="4132" y="9036"/>
                    </a:lnTo>
                    <a:lnTo>
                      <a:pt x="4196" y="9192"/>
                    </a:lnTo>
                    <a:lnTo>
                      <a:pt x="4315" y="9356"/>
                    </a:lnTo>
                    <a:lnTo>
                      <a:pt x="4507" y="9356"/>
                    </a:lnTo>
                    <a:lnTo>
                      <a:pt x="4662" y="9457"/>
                    </a:lnTo>
                    <a:lnTo>
                      <a:pt x="4781" y="9530"/>
                    </a:lnTo>
                    <a:lnTo>
                      <a:pt x="4781" y="9704"/>
                    </a:lnTo>
                    <a:lnTo>
                      <a:pt x="4854" y="9823"/>
                    </a:lnTo>
                    <a:lnTo>
                      <a:pt x="4891" y="9987"/>
                    </a:lnTo>
                    <a:lnTo>
                      <a:pt x="5065" y="10070"/>
                    </a:lnTo>
                    <a:lnTo>
                      <a:pt x="5138" y="10179"/>
                    </a:lnTo>
                    <a:lnTo>
                      <a:pt x="5183" y="10344"/>
                    </a:lnTo>
                    <a:lnTo>
                      <a:pt x="5375" y="10353"/>
                    </a:lnTo>
                    <a:lnTo>
                      <a:pt x="5549" y="10380"/>
                    </a:lnTo>
                    <a:lnTo>
                      <a:pt x="5604" y="10545"/>
                    </a:lnTo>
                    <a:lnTo>
                      <a:pt x="5494" y="10792"/>
                    </a:lnTo>
                    <a:lnTo>
                      <a:pt x="5622" y="10828"/>
                    </a:lnTo>
                    <a:lnTo>
                      <a:pt x="5860" y="10774"/>
                    </a:lnTo>
                    <a:lnTo>
                      <a:pt x="6107" y="10682"/>
                    </a:lnTo>
                    <a:lnTo>
                      <a:pt x="6262" y="10582"/>
                    </a:lnTo>
                    <a:lnTo>
                      <a:pt x="6427" y="10527"/>
                    </a:lnTo>
                    <a:lnTo>
                      <a:pt x="6628" y="10353"/>
                    </a:lnTo>
                    <a:lnTo>
                      <a:pt x="6829" y="10088"/>
                    </a:lnTo>
                    <a:lnTo>
                      <a:pt x="6966" y="9878"/>
                    </a:lnTo>
                    <a:lnTo>
                      <a:pt x="7140" y="9759"/>
                    </a:lnTo>
                    <a:lnTo>
                      <a:pt x="7204" y="9603"/>
                    </a:lnTo>
                    <a:lnTo>
                      <a:pt x="7350" y="9558"/>
                    </a:lnTo>
                    <a:lnTo>
                      <a:pt x="7451" y="9356"/>
                    </a:lnTo>
                    <a:lnTo>
                      <a:pt x="7506" y="9219"/>
                    </a:lnTo>
                    <a:lnTo>
                      <a:pt x="7396" y="9155"/>
                    </a:lnTo>
                    <a:lnTo>
                      <a:pt x="7423" y="9009"/>
                    </a:lnTo>
                    <a:lnTo>
                      <a:pt x="7561" y="8780"/>
                    </a:lnTo>
                    <a:lnTo>
                      <a:pt x="7707" y="8634"/>
                    </a:lnTo>
                    <a:lnTo>
                      <a:pt x="7835" y="8396"/>
                    </a:lnTo>
                    <a:lnTo>
                      <a:pt x="7963" y="8159"/>
                    </a:lnTo>
                    <a:lnTo>
                      <a:pt x="8027" y="8003"/>
                    </a:lnTo>
                    <a:lnTo>
                      <a:pt x="7881" y="8040"/>
                    </a:lnTo>
                    <a:lnTo>
                      <a:pt x="7734" y="8159"/>
                    </a:lnTo>
                    <a:lnTo>
                      <a:pt x="7597" y="8232"/>
                    </a:lnTo>
                    <a:lnTo>
                      <a:pt x="7588" y="8113"/>
                    </a:lnTo>
                    <a:lnTo>
                      <a:pt x="7689" y="8040"/>
                    </a:lnTo>
                    <a:lnTo>
                      <a:pt x="7789" y="7912"/>
                    </a:lnTo>
                    <a:lnTo>
                      <a:pt x="7924" y="7745"/>
                    </a:lnTo>
                    <a:lnTo>
                      <a:pt x="7992" y="7641"/>
                    </a:lnTo>
                    <a:lnTo>
                      <a:pt x="8091" y="7446"/>
                    </a:lnTo>
                    <a:lnTo>
                      <a:pt x="8201" y="7281"/>
                    </a:lnTo>
                    <a:lnTo>
                      <a:pt x="8219" y="7153"/>
                    </a:lnTo>
                    <a:lnTo>
                      <a:pt x="8274" y="7007"/>
                    </a:lnTo>
                    <a:lnTo>
                      <a:pt x="8274" y="6833"/>
                    </a:lnTo>
                    <a:lnTo>
                      <a:pt x="8301" y="6678"/>
                    </a:lnTo>
                    <a:lnTo>
                      <a:pt x="8329" y="6550"/>
                    </a:lnTo>
                    <a:lnTo>
                      <a:pt x="8292" y="6422"/>
                    </a:lnTo>
                    <a:lnTo>
                      <a:pt x="8137" y="6440"/>
                    </a:lnTo>
                    <a:lnTo>
                      <a:pt x="7972" y="6458"/>
                    </a:lnTo>
                    <a:lnTo>
                      <a:pt x="7844" y="6449"/>
                    </a:lnTo>
                    <a:lnTo>
                      <a:pt x="7753" y="6358"/>
                    </a:lnTo>
                    <a:lnTo>
                      <a:pt x="7707" y="6239"/>
                    </a:lnTo>
                    <a:lnTo>
                      <a:pt x="7679" y="6102"/>
                    </a:lnTo>
                    <a:lnTo>
                      <a:pt x="7634" y="5937"/>
                    </a:lnTo>
                    <a:lnTo>
                      <a:pt x="7625" y="5772"/>
                    </a:lnTo>
                    <a:lnTo>
                      <a:pt x="7634" y="5608"/>
                    </a:lnTo>
                    <a:lnTo>
                      <a:pt x="7625" y="5416"/>
                    </a:lnTo>
                    <a:lnTo>
                      <a:pt x="7597" y="5260"/>
                    </a:lnTo>
                    <a:lnTo>
                      <a:pt x="7643" y="5123"/>
                    </a:lnTo>
                    <a:lnTo>
                      <a:pt x="7625" y="4950"/>
                    </a:lnTo>
                    <a:lnTo>
                      <a:pt x="7588" y="4730"/>
                    </a:lnTo>
                    <a:lnTo>
                      <a:pt x="7515" y="4630"/>
                    </a:lnTo>
                    <a:lnTo>
                      <a:pt x="7497" y="4492"/>
                    </a:lnTo>
                    <a:lnTo>
                      <a:pt x="7469" y="4264"/>
                    </a:lnTo>
                    <a:lnTo>
                      <a:pt x="7433" y="4072"/>
                    </a:lnTo>
                    <a:lnTo>
                      <a:pt x="7451" y="3926"/>
                    </a:lnTo>
                    <a:lnTo>
                      <a:pt x="7460" y="3816"/>
                    </a:lnTo>
                    <a:lnTo>
                      <a:pt x="7359" y="3798"/>
                    </a:lnTo>
                    <a:lnTo>
                      <a:pt x="7286" y="3761"/>
                    </a:lnTo>
                    <a:lnTo>
                      <a:pt x="7204" y="3670"/>
                    </a:lnTo>
                    <a:lnTo>
                      <a:pt x="7277" y="3542"/>
                    </a:lnTo>
                    <a:lnTo>
                      <a:pt x="7286" y="3450"/>
                    </a:lnTo>
                    <a:lnTo>
                      <a:pt x="7204" y="3340"/>
                    </a:lnTo>
                    <a:lnTo>
                      <a:pt x="7259" y="3249"/>
                    </a:lnTo>
                    <a:lnTo>
                      <a:pt x="7405" y="3176"/>
                    </a:lnTo>
                    <a:lnTo>
                      <a:pt x="7606" y="3130"/>
                    </a:lnTo>
                    <a:lnTo>
                      <a:pt x="7743" y="3094"/>
                    </a:lnTo>
                    <a:lnTo>
                      <a:pt x="7807" y="2966"/>
                    </a:lnTo>
                    <a:lnTo>
                      <a:pt x="7871" y="2783"/>
                    </a:lnTo>
                    <a:lnTo>
                      <a:pt x="7935" y="2627"/>
                    </a:lnTo>
                    <a:lnTo>
                      <a:pt x="8100" y="2536"/>
                    </a:lnTo>
                    <a:lnTo>
                      <a:pt x="8356" y="2399"/>
                    </a:lnTo>
                    <a:lnTo>
                      <a:pt x="8594" y="2390"/>
                    </a:lnTo>
                    <a:lnTo>
                      <a:pt x="8859" y="2390"/>
                    </a:lnTo>
                    <a:lnTo>
                      <a:pt x="9204" y="2409"/>
                    </a:lnTo>
                    <a:lnTo>
                      <a:pt x="9270" y="2271"/>
                    </a:lnTo>
                    <a:lnTo>
                      <a:pt x="9396" y="2001"/>
                    </a:lnTo>
                    <a:lnTo>
                      <a:pt x="9398" y="1823"/>
                    </a:lnTo>
                    <a:lnTo>
                      <a:pt x="9444" y="1722"/>
                    </a:lnTo>
                    <a:lnTo>
                      <a:pt x="9535" y="1640"/>
                    </a:lnTo>
                    <a:lnTo>
                      <a:pt x="9609" y="1576"/>
                    </a:lnTo>
                    <a:lnTo>
                      <a:pt x="9761" y="1451"/>
                    </a:lnTo>
                    <a:lnTo>
                      <a:pt x="9756" y="1386"/>
                    </a:lnTo>
                    <a:lnTo>
                      <a:pt x="9720" y="1343"/>
                    </a:lnTo>
                    <a:lnTo>
                      <a:pt x="9683" y="1335"/>
                    </a:lnTo>
                    <a:lnTo>
                      <a:pt x="9626" y="1382"/>
                    </a:lnTo>
                    <a:lnTo>
                      <a:pt x="9593" y="1457"/>
                    </a:lnTo>
                    <a:lnTo>
                      <a:pt x="9525" y="1509"/>
                    </a:lnTo>
                    <a:lnTo>
                      <a:pt x="9440" y="1557"/>
                    </a:lnTo>
                    <a:lnTo>
                      <a:pt x="9320" y="1646"/>
                    </a:lnTo>
                    <a:lnTo>
                      <a:pt x="9210" y="1725"/>
                    </a:lnTo>
                    <a:lnTo>
                      <a:pt x="9125" y="1806"/>
                    </a:lnTo>
                    <a:lnTo>
                      <a:pt x="9069" y="1904"/>
                    </a:lnTo>
                    <a:lnTo>
                      <a:pt x="9059" y="1962"/>
                    </a:lnTo>
                    <a:lnTo>
                      <a:pt x="8966" y="1884"/>
                    </a:lnTo>
                    <a:lnTo>
                      <a:pt x="8951" y="1823"/>
                    </a:lnTo>
                    <a:lnTo>
                      <a:pt x="8955" y="1761"/>
                    </a:lnTo>
                    <a:lnTo>
                      <a:pt x="8913" y="1713"/>
                    </a:lnTo>
                    <a:lnTo>
                      <a:pt x="8871" y="1713"/>
                    </a:lnTo>
                    <a:lnTo>
                      <a:pt x="8835" y="1737"/>
                    </a:lnTo>
                    <a:lnTo>
                      <a:pt x="8796" y="1775"/>
                    </a:lnTo>
                    <a:lnTo>
                      <a:pt x="8757" y="1799"/>
                    </a:lnTo>
                    <a:lnTo>
                      <a:pt x="8738" y="1757"/>
                    </a:lnTo>
                    <a:lnTo>
                      <a:pt x="8775" y="1691"/>
                    </a:lnTo>
                    <a:lnTo>
                      <a:pt x="8855" y="1632"/>
                    </a:lnTo>
                    <a:lnTo>
                      <a:pt x="8925" y="1641"/>
                    </a:lnTo>
                    <a:lnTo>
                      <a:pt x="8969" y="1665"/>
                    </a:lnTo>
                    <a:lnTo>
                      <a:pt x="9008" y="1716"/>
                    </a:lnTo>
                    <a:lnTo>
                      <a:pt x="9026" y="1770"/>
                    </a:lnTo>
                    <a:lnTo>
                      <a:pt x="9090" y="1766"/>
                    </a:lnTo>
                    <a:lnTo>
                      <a:pt x="9201" y="1634"/>
                    </a:lnTo>
                    <a:lnTo>
                      <a:pt x="9290" y="1557"/>
                    </a:lnTo>
                    <a:lnTo>
                      <a:pt x="9474" y="1437"/>
                    </a:lnTo>
                    <a:lnTo>
                      <a:pt x="9602" y="1263"/>
                    </a:lnTo>
                    <a:lnTo>
                      <a:pt x="9686" y="1163"/>
                    </a:lnTo>
                    <a:lnTo>
                      <a:pt x="9791" y="974"/>
                    </a:lnTo>
                    <a:lnTo>
                      <a:pt x="9953" y="845"/>
                    </a:lnTo>
                    <a:lnTo>
                      <a:pt x="10002" y="768"/>
                    </a:lnTo>
                    <a:lnTo>
                      <a:pt x="9924" y="683"/>
                    </a:lnTo>
                    <a:lnTo>
                      <a:pt x="9917" y="567"/>
                    </a:lnTo>
                    <a:lnTo>
                      <a:pt x="9885" y="485"/>
                    </a:lnTo>
                    <a:lnTo>
                      <a:pt x="9909" y="434"/>
                    </a:lnTo>
                    <a:lnTo>
                      <a:pt x="10002" y="417"/>
                    </a:lnTo>
                    <a:lnTo>
                      <a:pt x="10145" y="465"/>
                    </a:lnTo>
                    <a:lnTo>
                      <a:pt x="10214" y="440"/>
                    </a:lnTo>
                    <a:lnTo>
                      <a:pt x="10299" y="387"/>
                    </a:lnTo>
                    <a:lnTo>
                      <a:pt x="10406" y="434"/>
                    </a:lnTo>
                    <a:lnTo>
                      <a:pt x="10460" y="513"/>
                    </a:lnTo>
                    <a:lnTo>
                      <a:pt x="10563" y="519"/>
                    </a:lnTo>
                    <a:lnTo>
                      <a:pt x="10668" y="512"/>
                    </a:lnTo>
                    <a:lnTo>
                      <a:pt x="10821" y="537"/>
                    </a:lnTo>
                    <a:lnTo>
                      <a:pt x="10856" y="471"/>
                    </a:lnTo>
                    <a:lnTo>
                      <a:pt x="10815" y="402"/>
                    </a:lnTo>
                    <a:lnTo>
                      <a:pt x="10736" y="353"/>
                    </a:lnTo>
                    <a:lnTo>
                      <a:pt x="10614" y="353"/>
                    </a:lnTo>
                    <a:lnTo>
                      <a:pt x="10515" y="368"/>
                    </a:lnTo>
                    <a:lnTo>
                      <a:pt x="10344" y="248"/>
                    </a:lnTo>
                    <a:lnTo>
                      <a:pt x="10236" y="272"/>
                    </a:lnTo>
                    <a:lnTo>
                      <a:pt x="10238" y="218"/>
                    </a:lnTo>
                    <a:lnTo>
                      <a:pt x="10356" y="152"/>
                    </a:lnTo>
                    <a:lnTo>
                      <a:pt x="10529" y="98"/>
                    </a:lnTo>
                    <a:lnTo>
                      <a:pt x="10637" y="96"/>
                    </a:lnTo>
                    <a:lnTo>
                      <a:pt x="10733" y="74"/>
                    </a:lnTo>
                    <a:lnTo>
                      <a:pt x="10754" y="17"/>
                    </a:lnTo>
                    <a:lnTo>
                      <a:pt x="10637" y="17"/>
                    </a:lnTo>
                    <a:lnTo>
                      <a:pt x="10524" y="44"/>
                    </a:lnTo>
                    <a:lnTo>
                      <a:pt x="10362" y="89"/>
                    </a:lnTo>
                    <a:lnTo>
                      <a:pt x="10205" y="89"/>
                    </a:lnTo>
                    <a:lnTo>
                      <a:pt x="10085" y="0"/>
                    </a:lnTo>
                    <a:lnTo>
                      <a:pt x="9813" y="63"/>
                    </a:lnTo>
                    <a:lnTo>
                      <a:pt x="9573" y="171"/>
                    </a:lnTo>
                    <a:lnTo>
                      <a:pt x="9302" y="272"/>
                    </a:lnTo>
                    <a:lnTo>
                      <a:pt x="9008" y="392"/>
                    </a:lnTo>
                    <a:lnTo>
                      <a:pt x="8780" y="459"/>
                    </a:lnTo>
                    <a:lnTo>
                      <a:pt x="8547" y="554"/>
                    </a:lnTo>
                    <a:lnTo>
                      <a:pt x="8123" y="762"/>
                    </a:lnTo>
                    <a:lnTo>
                      <a:pt x="7949" y="810"/>
                    </a:lnTo>
                    <a:lnTo>
                      <a:pt x="7803" y="929"/>
                    </a:lnTo>
                    <a:lnTo>
                      <a:pt x="7677" y="984"/>
                    </a:lnTo>
                    <a:lnTo>
                      <a:pt x="7566" y="1118"/>
                    </a:lnTo>
                    <a:lnTo>
                      <a:pt x="7410" y="1211"/>
                    </a:lnTo>
                    <a:lnTo>
                      <a:pt x="7175" y="1394"/>
                    </a:lnTo>
                    <a:lnTo>
                      <a:pt x="6846" y="1631"/>
                    </a:lnTo>
                    <a:lnTo>
                      <a:pt x="6195" y="2066"/>
                    </a:lnTo>
                    <a:lnTo>
                      <a:pt x="5957" y="2258"/>
                    </a:lnTo>
                    <a:lnTo>
                      <a:pt x="5741" y="2481"/>
                    </a:lnTo>
                    <a:lnTo>
                      <a:pt x="5571" y="2591"/>
                    </a:lnTo>
                    <a:lnTo>
                      <a:pt x="5610" y="2640"/>
                    </a:lnTo>
                    <a:lnTo>
                      <a:pt x="5723" y="2627"/>
                    </a:lnTo>
                    <a:lnTo>
                      <a:pt x="5667" y="2690"/>
                    </a:lnTo>
                    <a:lnTo>
                      <a:pt x="5549" y="2687"/>
                    </a:lnTo>
                    <a:lnTo>
                      <a:pt x="5502" y="2775"/>
                    </a:lnTo>
                    <a:lnTo>
                      <a:pt x="5393" y="2865"/>
                    </a:lnTo>
                    <a:lnTo>
                      <a:pt x="5253" y="2880"/>
                    </a:lnTo>
                    <a:lnTo>
                      <a:pt x="4595" y="3449"/>
                    </a:lnTo>
                    <a:lnTo>
                      <a:pt x="4470" y="3542"/>
                    </a:lnTo>
                    <a:lnTo>
                      <a:pt x="4053" y="3776"/>
                    </a:lnTo>
                    <a:lnTo>
                      <a:pt x="3831" y="3929"/>
                    </a:lnTo>
                    <a:lnTo>
                      <a:pt x="3387" y="4094"/>
                    </a:lnTo>
                    <a:lnTo>
                      <a:pt x="3171" y="4151"/>
                    </a:lnTo>
                    <a:lnTo>
                      <a:pt x="2928" y="4245"/>
                    </a:lnTo>
                    <a:lnTo>
                      <a:pt x="2651" y="4388"/>
                    </a:lnTo>
                    <a:lnTo>
                      <a:pt x="2075" y="4550"/>
                    </a:lnTo>
                    <a:lnTo>
                      <a:pt x="1559" y="4673"/>
                    </a:lnTo>
                    <a:lnTo>
                      <a:pt x="1199" y="4707"/>
                    </a:lnTo>
                    <a:lnTo>
                      <a:pt x="1041" y="4719"/>
                    </a:lnTo>
                    <a:lnTo>
                      <a:pt x="879" y="4707"/>
                    </a:lnTo>
                    <a:lnTo>
                      <a:pt x="639" y="4731"/>
                    </a:lnTo>
                    <a:lnTo>
                      <a:pt x="425" y="4749"/>
                    </a:lnTo>
                    <a:lnTo>
                      <a:pt x="0" y="4737"/>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95" name="Freeform 251">
                <a:extLst>
                  <a:ext uri="{FF2B5EF4-FFF2-40B4-BE49-F238E27FC236}">
                    <a16:creationId xmlns:a16="http://schemas.microsoft.com/office/drawing/2014/main" id="{24FF06AE-06A7-E126-D88C-08E4498773C6}"/>
                  </a:ext>
                </a:extLst>
              </p:cNvPr>
              <p:cNvSpPr>
                <a:spLocks/>
              </p:cNvSpPr>
              <p:nvPr/>
            </p:nvSpPr>
            <p:spPr bwMode="auto">
              <a:xfrm>
                <a:off x="18944" y="9490"/>
                <a:ext cx="3502" cy="6364"/>
              </a:xfrm>
              <a:custGeom>
                <a:avLst/>
                <a:gdLst>
                  <a:gd name="T0" fmla="*/ 238 w 3502"/>
                  <a:gd name="T1" fmla="*/ 1198 h 6364"/>
                  <a:gd name="T2" fmla="*/ 165 w 3502"/>
                  <a:gd name="T3" fmla="*/ 1353 h 6364"/>
                  <a:gd name="T4" fmla="*/ 0 w 3502"/>
                  <a:gd name="T5" fmla="*/ 1664 h 6364"/>
                  <a:gd name="T6" fmla="*/ 119 w 3502"/>
                  <a:gd name="T7" fmla="*/ 1792 h 6364"/>
                  <a:gd name="T8" fmla="*/ 128 w 3502"/>
                  <a:gd name="T9" fmla="*/ 2003 h 6364"/>
                  <a:gd name="T10" fmla="*/ 128 w 3502"/>
                  <a:gd name="T11" fmla="*/ 2295 h 6364"/>
                  <a:gd name="T12" fmla="*/ 155 w 3502"/>
                  <a:gd name="T13" fmla="*/ 2560 h 6364"/>
                  <a:gd name="T14" fmla="*/ 192 w 3502"/>
                  <a:gd name="T15" fmla="*/ 2899 h 6364"/>
                  <a:gd name="T16" fmla="*/ 393 w 3502"/>
                  <a:gd name="T17" fmla="*/ 3310 h 6364"/>
                  <a:gd name="T18" fmla="*/ 530 w 3502"/>
                  <a:gd name="T19" fmla="*/ 3776 h 6364"/>
                  <a:gd name="T20" fmla="*/ 585 w 3502"/>
                  <a:gd name="T21" fmla="*/ 4142 h 6364"/>
                  <a:gd name="T22" fmla="*/ 741 w 3502"/>
                  <a:gd name="T23" fmla="*/ 4572 h 6364"/>
                  <a:gd name="T24" fmla="*/ 704 w 3502"/>
                  <a:gd name="T25" fmla="*/ 4937 h 6364"/>
                  <a:gd name="T26" fmla="*/ 823 w 3502"/>
                  <a:gd name="T27" fmla="*/ 5166 h 6364"/>
                  <a:gd name="T28" fmla="*/ 712 w 3502"/>
                  <a:gd name="T29" fmla="*/ 5414 h 6364"/>
                  <a:gd name="T30" fmla="*/ 960 w 3502"/>
                  <a:gd name="T31" fmla="*/ 5623 h 6364"/>
                  <a:gd name="T32" fmla="*/ 1280 w 3502"/>
                  <a:gd name="T33" fmla="*/ 5486 h 6364"/>
                  <a:gd name="T34" fmla="*/ 1600 w 3502"/>
                  <a:gd name="T35" fmla="*/ 5623 h 6364"/>
                  <a:gd name="T36" fmla="*/ 1902 w 3502"/>
                  <a:gd name="T37" fmla="*/ 5724 h 6364"/>
                  <a:gd name="T38" fmla="*/ 2167 w 3502"/>
                  <a:gd name="T39" fmla="*/ 5632 h 6364"/>
                  <a:gd name="T40" fmla="*/ 2295 w 3502"/>
                  <a:gd name="T41" fmla="*/ 5824 h 6364"/>
                  <a:gd name="T42" fmla="*/ 2469 w 3502"/>
                  <a:gd name="T43" fmla="*/ 5952 h 6364"/>
                  <a:gd name="T44" fmla="*/ 2697 w 3502"/>
                  <a:gd name="T45" fmla="*/ 5952 h 6364"/>
                  <a:gd name="T46" fmla="*/ 2825 w 3502"/>
                  <a:gd name="T47" fmla="*/ 6080 h 6364"/>
                  <a:gd name="T48" fmla="*/ 2999 w 3502"/>
                  <a:gd name="T49" fmla="*/ 6263 h 6364"/>
                  <a:gd name="T50" fmla="*/ 3218 w 3502"/>
                  <a:gd name="T51" fmla="*/ 6318 h 6364"/>
                  <a:gd name="T52" fmla="*/ 3465 w 3502"/>
                  <a:gd name="T53" fmla="*/ 6025 h 6364"/>
                  <a:gd name="T54" fmla="*/ 3328 w 3502"/>
                  <a:gd name="T55" fmla="*/ 5687 h 6364"/>
                  <a:gd name="T56" fmla="*/ 3109 w 3502"/>
                  <a:gd name="T57" fmla="*/ 5404 h 6364"/>
                  <a:gd name="T58" fmla="*/ 2779 w 3502"/>
                  <a:gd name="T59" fmla="*/ 5111 h 6364"/>
                  <a:gd name="T60" fmla="*/ 2597 w 3502"/>
                  <a:gd name="T61" fmla="*/ 4745 h 6364"/>
                  <a:gd name="T62" fmla="*/ 2597 w 3502"/>
                  <a:gd name="T63" fmla="*/ 4380 h 6364"/>
                  <a:gd name="T64" fmla="*/ 2560 w 3502"/>
                  <a:gd name="T65" fmla="*/ 4133 h 6364"/>
                  <a:gd name="T66" fmla="*/ 2523 w 3502"/>
                  <a:gd name="T67" fmla="*/ 3785 h 6364"/>
                  <a:gd name="T68" fmla="*/ 2706 w 3502"/>
                  <a:gd name="T69" fmla="*/ 3337 h 6364"/>
                  <a:gd name="T70" fmla="*/ 2715 w 3502"/>
                  <a:gd name="T71" fmla="*/ 2871 h 6364"/>
                  <a:gd name="T72" fmla="*/ 2432 w 3502"/>
                  <a:gd name="T73" fmla="*/ 2633 h 6364"/>
                  <a:gd name="T74" fmla="*/ 2505 w 3502"/>
                  <a:gd name="T75" fmla="*/ 2286 h 6364"/>
                  <a:gd name="T76" fmla="*/ 2286 w 3502"/>
                  <a:gd name="T77" fmla="*/ 2121 h 6364"/>
                  <a:gd name="T78" fmla="*/ 2423 w 3502"/>
                  <a:gd name="T79" fmla="*/ 1902 h 6364"/>
                  <a:gd name="T80" fmla="*/ 2231 w 3502"/>
                  <a:gd name="T81" fmla="*/ 1673 h 6364"/>
                  <a:gd name="T82" fmla="*/ 2185 w 3502"/>
                  <a:gd name="T83" fmla="*/ 1171 h 6364"/>
                  <a:gd name="T84" fmla="*/ 1929 w 3502"/>
                  <a:gd name="T85" fmla="*/ 860 h 6364"/>
                  <a:gd name="T86" fmla="*/ 1655 w 3502"/>
                  <a:gd name="T87" fmla="*/ 585 h 6364"/>
                  <a:gd name="T88" fmla="*/ 1582 w 3502"/>
                  <a:gd name="T89" fmla="*/ 384 h 6364"/>
                  <a:gd name="T90" fmla="*/ 1335 w 3502"/>
                  <a:gd name="T91" fmla="*/ 320 h 6364"/>
                  <a:gd name="T92" fmla="*/ 1360 w 3502"/>
                  <a:gd name="T93" fmla="*/ 26 h 6364"/>
                  <a:gd name="T94" fmla="*/ 1079 w 3502"/>
                  <a:gd name="T95" fmla="*/ 37 h 6364"/>
                  <a:gd name="T96" fmla="*/ 841 w 3502"/>
                  <a:gd name="T97" fmla="*/ 110 h 6364"/>
                  <a:gd name="T98" fmla="*/ 786 w 3502"/>
                  <a:gd name="T99" fmla="*/ 293 h 6364"/>
                  <a:gd name="T100" fmla="*/ 923 w 3502"/>
                  <a:gd name="T101" fmla="*/ 412 h 6364"/>
                  <a:gd name="T102" fmla="*/ 933 w 3502"/>
                  <a:gd name="T103" fmla="*/ 613 h 6364"/>
                  <a:gd name="T104" fmla="*/ 741 w 3502"/>
                  <a:gd name="T105" fmla="*/ 732 h 6364"/>
                  <a:gd name="T106" fmla="*/ 558 w 3502"/>
                  <a:gd name="T107" fmla="*/ 695 h 6364"/>
                  <a:gd name="T108" fmla="*/ 357 w 3502"/>
                  <a:gd name="T109" fmla="*/ 969 h 6364"/>
                  <a:gd name="T110" fmla="*/ 357 w 3502"/>
                  <a:gd name="T111" fmla="*/ 1207 h 6364"/>
                  <a:gd name="T112" fmla="*/ 265 w 3502"/>
                  <a:gd name="T113" fmla="*/ 1006 h 6364"/>
                  <a:gd name="T114" fmla="*/ 137 w 3502"/>
                  <a:gd name="T115" fmla="*/ 1097 h 63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02"/>
                  <a:gd name="T175" fmla="*/ 0 h 6364"/>
                  <a:gd name="T176" fmla="*/ 3502 w 3502"/>
                  <a:gd name="T177" fmla="*/ 6364 h 63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02" h="6364">
                    <a:moveTo>
                      <a:pt x="112" y="1190"/>
                    </a:moveTo>
                    <a:lnTo>
                      <a:pt x="238" y="1198"/>
                    </a:lnTo>
                    <a:lnTo>
                      <a:pt x="320" y="1262"/>
                    </a:lnTo>
                    <a:lnTo>
                      <a:pt x="165" y="1353"/>
                    </a:lnTo>
                    <a:lnTo>
                      <a:pt x="55" y="1472"/>
                    </a:lnTo>
                    <a:lnTo>
                      <a:pt x="0" y="1664"/>
                    </a:lnTo>
                    <a:lnTo>
                      <a:pt x="27" y="1838"/>
                    </a:lnTo>
                    <a:lnTo>
                      <a:pt x="119" y="1792"/>
                    </a:lnTo>
                    <a:lnTo>
                      <a:pt x="174" y="1865"/>
                    </a:lnTo>
                    <a:lnTo>
                      <a:pt x="128" y="2003"/>
                    </a:lnTo>
                    <a:lnTo>
                      <a:pt x="82" y="2131"/>
                    </a:lnTo>
                    <a:lnTo>
                      <a:pt x="128" y="2295"/>
                    </a:lnTo>
                    <a:lnTo>
                      <a:pt x="210" y="2487"/>
                    </a:lnTo>
                    <a:lnTo>
                      <a:pt x="155" y="2560"/>
                    </a:lnTo>
                    <a:lnTo>
                      <a:pt x="229" y="2688"/>
                    </a:lnTo>
                    <a:lnTo>
                      <a:pt x="192" y="2899"/>
                    </a:lnTo>
                    <a:lnTo>
                      <a:pt x="210" y="3109"/>
                    </a:lnTo>
                    <a:lnTo>
                      <a:pt x="393" y="3310"/>
                    </a:lnTo>
                    <a:lnTo>
                      <a:pt x="475" y="3456"/>
                    </a:lnTo>
                    <a:lnTo>
                      <a:pt x="530" y="3776"/>
                    </a:lnTo>
                    <a:lnTo>
                      <a:pt x="603" y="3932"/>
                    </a:lnTo>
                    <a:lnTo>
                      <a:pt x="585" y="4142"/>
                    </a:lnTo>
                    <a:lnTo>
                      <a:pt x="695" y="4361"/>
                    </a:lnTo>
                    <a:lnTo>
                      <a:pt x="741" y="4572"/>
                    </a:lnTo>
                    <a:lnTo>
                      <a:pt x="704" y="4745"/>
                    </a:lnTo>
                    <a:lnTo>
                      <a:pt x="704" y="4937"/>
                    </a:lnTo>
                    <a:lnTo>
                      <a:pt x="759" y="5065"/>
                    </a:lnTo>
                    <a:lnTo>
                      <a:pt x="823" y="5166"/>
                    </a:lnTo>
                    <a:lnTo>
                      <a:pt x="759" y="5312"/>
                    </a:lnTo>
                    <a:lnTo>
                      <a:pt x="712" y="5414"/>
                    </a:lnTo>
                    <a:lnTo>
                      <a:pt x="805" y="5532"/>
                    </a:lnTo>
                    <a:lnTo>
                      <a:pt x="960" y="5623"/>
                    </a:lnTo>
                    <a:lnTo>
                      <a:pt x="1125" y="5587"/>
                    </a:lnTo>
                    <a:lnTo>
                      <a:pt x="1280" y="5486"/>
                    </a:lnTo>
                    <a:lnTo>
                      <a:pt x="1426" y="5577"/>
                    </a:lnTo>
                    <a:lnTo>
                      <a:pt x="1600" y="5623"/>
                    </a:lnTo>
                    <a:lnTo>
                      <a:pt x="1755" y="5678"/>
                    </a:lnTo>
                    <a:lnTo>
                      <a:pt x="1902" y="5724"/>
                    </a:lnTo>
                    <a:lnTo>
                      <a:pt x="2048" y="5724"/>
                    </a:lnTo>
                    <a:lnTo>
                      <a:pt x="2167" y="5632"/>
                    </a:lnTo>
                    <a:lnTo>
                      <a:pt x="2277" y="5715"/>
                    </a:lnTo>
                    <a:lnTo>
                      <a:pt x="2295" y="5824"/>
                    </a:lnTo>
                    <a:lnTo>
                      <a:pt x="2322" y="5934"/>
                    </a:lnTo>
                    <a:lnTo>
                      <a:pt x="2469" y="5952"/>
                    </a:lnTo>
                    <a:lnTo>
                      <a:pt x="2569" y="5888"/>
                    </a:lnTo>
                    <a:lnTo>
                      <a:pt x="2697" y="5952"/>
                    </a:lnTo>
                    <a:lnTo>
                      <a:pt x="2807" y="5989"/>
                    </a:lnTo>
                    <a:lnTo>
                      <a:pt x="2825" y="6080"/>
                    </a:lnTo>
                    <a:lnTo>
                      <a:pt x="2898" y="6172"/>
                    </a:lnTo>
                    <a:lnTo>
                      <a:pt x="2999" y="6263"/>
                    </a:lnTo>
                    <a:lnTo>
                      <a:pt x="3090" y="6364"/>
                    </a:lnTo>
                    <a:lnTo>
                      <a:pt x="3218" y="6318"/>
                    </a:lnTo>
                    <a:lnTo>
                      <a:pt x="3355" y="6181"/>
                    </a:lnTo>
                    <a:lnTo>
                      <a:pt x="3465" y="6025"/>
                    </a:lnTo>
                    <a:lnTo>
                      <a:pt x="3502" y="5879"/>
                    </a:lnTo>
                    <a:lnTo>
                      <a:pt x="3328" y="5687"/>
                    </a:lnTo>
                    <a:lnTo>
                      <a:pt x="3237" y="5513"/>
                    </a:lnTo>
                    <a:lnTo>
                      <a:pt x="3109" y="5404"/>
                    </a:lnTo>
                    <a:lnTo>
                      <a:pt x="2944" y="5312"/>
                    </a:lnTo>
                    <a:lnTo>
                      <a:pt x="2779" y="5111"/>
                    </a:lnTo>
                    <a:lnTo>
                      <a:pt x="2624" y="4919"/>
                    </a:lnTo>
                    <a:lnTo>
                      <a:pt x="2597" y="4745"/>
                    </a:lnTo>
                    <a:lnTo>
                      <a:pt x="2651" y="4572"/>
                    </a:lnTo>
                    <a:lnTo>
                      <a:pt x="2597" y="4380"/>
                    </a:lnTo>
                    <a:lnTo>
                      <a:pt x="2624" y="4233"/>
                    </a:lnTo>
                    <a:lnTo>
                      <a:pt x="2560" y="4133"/>
                    </a:lnTo>
                    <a:lnTo>
                      <a:pt x="2560" y="3932"/>
                    </a:lnTo>
                    <a:lnTo>
                      <a:pt x="2523" y="3785"/>
                    </a:lnTo>
                    <a:lnTo>
                      <a:pt x="2615" y="3593"/>
                    </a:lnTo>
                    <a:lnTo>
                      <a:pt x="2706" y="3337"/>
                    </a:lnTo>
                    <a:lnTo>
                      <a:pt x="2752" y="3173"/>
                    </a:lnTo>
                    <a:lnTo>
                      <a:pt x="2715" y="2871"/>
                    </a:lnTo>
                    <a:lnTo>
                      <a:pt x="2587" y="2771"/>
                    </a:lnTo>
                    <a:lnTo>
                      <a:pt x="2432" y="2633"/>
                    </a:lnTo>
                    <a:lnTo>
                      <a:pt x="2533" y="2478"/>
                    </a:lnTo>
                    <a:lnTo>
                      <a:pt x="2505" y="2286"/>
                    </a:lnTo>
                    <a:lnTo>
                      <a:pt x="2322" y="2231"/>
                    </a:lnTo>
                    <a:lnTo>
                      <a:pt x="2286" y="2121"/>
                    </a:lnTo>
                    <a:lnTo>
                      <a:pt x="2359" y="2057"/>
                    </a:lnTo>
                    <a:lnTo>
                      <a:pt x="2423" y="1902"/>
                    </a:lnTo>
                    <a:lnTo>
                      <a:pt x="2341" y="1792"/>
                    </a:lnTo>
                    <a:lnTo>
                      <a:pt x="2231" y="1673"/>
                    </a:lnTo>
                    <a:lnTo>
                      <a:pt x="2149" y="1463"/>
                    </a:lnTo>
                    <a:lnTo>
                      <a:pt x="2185" y="1171"/>
                    </a:lnTo>
                    <a:lnTo>
                      <a:pt x="2103" y="988"/>
                    </a:lnTo>
                    <a:lnTo>
                      <a:pt x="1929" y="860"/>
                    </a:lnTo>
                    <a:lnTo>
                      <a:pt x="1810" y="759"/>
                    </a:lnTo>
                    <a:lnTo>
                      <a:pt x="1655" y="585"/>
                    </a:lnTo>
                    <a:lnTo>
                      <a:pt x="1701" y="457"/>
                    </a:lnTo>
                    <a:lnTo>
                      <a:pt x="1582" y="384"/>
                    </a:lnTo>
                    <a:lnTo>
                      <a:pt x="1408" y="403"/>
                    </a:lnTo>
                    <a:lnTo>
                      <a:pt x="1335" y="320"/>
                    </a:lnTo>
                    <a:lnTo>
                      <a:pt x="1390" y="192"/>
                    </a:lnTo>
                    <a:lnTo>
                      <a:pt x="1360" y="26"/>
                    </a:lnTo>
                    <a:lnTo>
                      <a:pt x="1225" y="0"/>
                    </a:lnTo>
                    <a:lnTo>
                      <a:pt x="1079" y="37"/>
                    </a:lnTo>
                    <a:lnTo>
                      <a:pt x="933" y="37"/>
                    </a:lnTo>
                    <a:lnTo>
                      <a:pt x="841" y="110"/>
                    </a:lnTo>
                    <a:lnTo>
                      <a:pt x="759" y="192"/>
                    </a:lnTo>
                    <a:lnTo>
                      <a:pt x="786" y="293"/>
                    </a:lnTo>
                    <a:lnTo>
                      <a:pt x="841" y="366"/>
                    </a:lnTo>
                    <a:lnTo>
                      <a:pt x="923" y="412"/>
                    </a:lnTo>
                    <a:lnTo>
                      <a:pt x="960" y="494"/>
                    </a:lnTo>
                    <a:lnTo>
                      <a:pt x="933" y="613"/>
                    </a:lnTo>
                    <a:lnTo>
                      <a:pt x="814" y="631"/>
                    </a:lnTo>
                    <a:lnTo>
                      <a:pt x="741" y="732"/>
                    </a:lnTo>
                    <a:lnTo>
                      <a:pt x="713" y="668"/>
                    </a:lnTo>
                    <a:lnTo>
                      <a:pt x="558" y="695"/>
                    </a:lnTo>
                    <a:lnTo>
                      <a:pt x="347" y="851"/>
                    </a:lnTo>
                    <a:lnTo>
                      <a:pt x="357" y="969"/>
                    </a:lnTo>
                    <a:lnTo>
                      <a:pt x="357" y="1079"/>
                    </a:lnTo>
                    <a:lnTo>
                      <a:pt x="357" y="1207"/>
                    </a:lnTo>
                    <a:lnTo>
                      <a:pt x="274" y="1116"/>
                    </a:lnTo>
                    <a:lnTo>
                      <a:pt x="265" y="1006"/>
                    </a:lnTo>
                    <a:lnTo>
                      <a:pt x="137" y="997"/>
                    </a:lnTo>
                    <a:lnTo>
                      <a:pt x="137" y="1097"/>
                    </a:lnTo>
                    <a:lnTo>
                      <a:pt x="112" y="119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grpSp>
          <p:nvGrpSpPr>
            <p:cNvPr id="244" name="Group 252">
              <a:extLst>
                <a:ext uri="{FF2B5EF4-FFF2-40B4-BE49-F238E27FC236}">
                  <a16:creationId xmlns:a16="http://schemas.microsoft.com/office/drawing/2014/main" id="{F6ED54B1-C1DA-EA3C-62BB-6FA01A5754AC}"/>
                </a:ext>
              </a:extLst>
            </p:cNvPr>
            <p:cNvGrpSpPr>
              <a:grpSpLocks/>
            </p:cNvGrpSpPr>
            <p:nvPr/>
          </p:nvGrpSpPr>
          <p:grpSpPr bwMode="auto">
            <a:xfrm>
              <a:off x="6355607" y="3915057"/>
              <a:ext cx="24651" cy="188989"/>
              <a:chOff x="19779" y="16370"/>
              <a:chExt cx="147" cy="1105"/>
            </a:xfrm>
            <a:solidFill>
              <a:srgbClr val="E0E0E0"/>
            </a:solidFill>
          </p:grpSpPr>
          <p:sp>
            <p:nvSpPr>
              <p:cNvPr id="290" name="Freeform 77">
                <a:extLst>
                  <a:ext uri="{FF2B5EF4-FFF2-40B4-BE49-F238E27FC236}">
                    <a16:creationId xmlns:a16="http://schemas.microsoft.com/office/drawing/2014/main" id="{72D99478-F604-813C-71BB-20B0968BE4C7}"/>
                  </a:ext>
                </a:extLst>
              </p:cNvPr>
              <p:cNvSpPr>
                <a:spLocks/>
              </p:cNvSpPr>
              <p:nvPr/>
            </p:nvSpPr>
            <p:spPr bwMode="auto">
              <a:xfrm>
                <a:off x="19782" y="16370"/>
                <a:ext cx="110" cy="368"/>
              </a:xfrm>
              <a:custGeom>
                <a:avLst/>
                <a:gdLst>
                  <a:gd name="T0" fmla="*/ 2147479468 w 110"/>
                  <a:gd name="T1" fmla="*/ 2147479352 h 368"/>
                  <a:gd name="T2" fmla="*/ 0 w 110"/>
                  <a:gd name="T3" fmla="*/ 2147479352 h 368"/>
                  <a:gd name="T4" fmla="*/ 2147479468 w 110"/>
                  <a:gd name="T5" fmla="*/ 2147479352 h 368"/>
                  <a:gd name="T6" fmla="*/ 2147479468 w 110"/>
                  <a:gd name="T7" fmla="*/ 2147479352 h 368"/>
                  <a:gd name="T8" fmla="*/ 2147479468 w 110"/>
                  <a:gd name="T9" fmla="*/ 2147479352 h 368"/>
                  <a:gd name="T10" fmla="*/ 2147479468 w 110"/>
                  <a:gd name="T11" fmla="*/ 2147479352 h 368"/>
                  <a:gd name="T12" fmla="*/ 2147479468 w 110"/>
                  <a:gd name="T13" fmla="*/ 0 h 368"/>
                  <a:gd name="T14" fmla="*/ 2147479468 w 110"/>
                  <a:gd name="T15" fmla="*/ 2147479352 h 368"/>
                  <a:gd name="T16" fmla="*/ 0 60000 65536"/>
                  <a:gd name="T17" fmla="*/ 0 60000 65536"/>
                  <a:gd name="T18" fmla="*/ 0 60000 65536"/>
                  <a:gd name="T19" fmla="*/ 0 60000 65536"/>
                  <a:gd name="T20" fmla="*/ 0 60000 65536"/>
                  <a:gd name="T21" fmla="*/ 0 60000 65536"/>
                  <a:gd name="T22" fmla="*/ 0 60000 65536"/>
                  <a:gd name="T23" fmla="*/ 0 60000 65536"/>
                  <a:gd name="T24" fmla="*/ 0 w 110"/>
                  <a:gd name="T25" fmla="*/ 0 h 368"/>
                  <a:gd name="T26" fmla="*/ 34 w 110"/>
                  <a:gd name="T27" fmla="*/ 52 h 3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0" h="368">
                    <a:moveTo>
                      <a:pt x="16" y="72"/>
                    </a:moveTo>
                    <a:lnTo>
                      <a:pt x="18" y="116"/>
                    </a:lnTo>
                    <a:lnTo>
                      <a:pt x="0" y="164"/>
                    </a:lnTo>
                    <a:lnTo>
                      <a:pt x="12" y="224"/>
                    </a:lnTo>
                    <a:lnTo>
                      <a:pt x="22" y="288"/>
                    </a:lnTo>
                    <a:lnTo>
                      <a:pt x="14" y="338"/>
                    </a:lnTo>
                    <a:lnTo>
                      <a:pt x="32" y="368"/>
                    </a:lnTo>
                    <a:lnTo>
                      <a:pt x="66" y="330"/>
                    </a:lnTo>
                    <a:lnTo>
                      <a:pt x="95" y="330"/>
                    </a:lnTo>
                    <a:lnTo>
                      <a:pt x="110" y="276"/>
                    </a:lnTo>
                    <a:lnTo>
                      <a:pt x="80" y="240"/>
                    </a:lnTo>
                    <a:lnTo>
                      <a:pt x="82" y="148"/>
                    </a:lnTo>
                    <a:lnTo>
                      <a:pt x="62" y="82"/>
                    </a:lnTo>
                    <a:lnTo>
                      <a:pt x="44" y="0"/>
                    </a:lnTo>
                    <a:lnTo>
                      <a:pt x="14" y="20"/>
                    </a:lnTo>
                    <a:lnTo>
                      <a:pt x="16" y="72"/>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91" name="Freeform 77">
                <a:extLst>
                  <a:ext uri="{FF2B5EF4-FFF2-40B4-BE49-F238E27FC236}">
                    <a16:creationId xmlns:a16="http://schemas.microsoft.com/office/drawing/2014/main" id="{A3A17AE7-CDC7-5ECC-D7AE-7FE34805F301}"/>
                  </a:ext>
                </a:extLst>
              </p:cNvPr>
              <p:cNvSpPr>
                <a:spLocks/>
              </p:cNvSpPr>
              <p:nvPr/>
            </p:nvSpPr>
            <p:spPr bwMode="auto">
              <a:xfrm>
                <a:off x="19779" y="16791"/>
                <a:ext cx="147" cy="312"/>
              </a:xfrm>
              <a:custGeom>
                <a:avLst/>
                <a:gdLst>
                  <a:gd name="T0" fmla="*/ 2147479172 w 147"/>
                  <a:gd name="T1" fmla="*/ 2147479224 h 312"/>
                  <a:gd name="T2" fmla="*/ 0 w 147"/>
                  <a:gd name="T3" fmla="*/ 2147479224 h 312"/>
                  <a:gd name="T4" fmla="*/ 2147479172 w 147"/>
                  <a:gd name="T5" fmla="*/ 2147479224 h 312"/>
                  <a:gd name="T6" fmla="*/ 2147479172 w 147"/>
                  <a:gd name="T7" fmla="*/ 2147479224 h 312"/>
                  <a:gd name="T8" fmla="*/ 2147479172 w 147"/>
                  <a:gd name="T9" fmla="*/ 2147479224 h 312"/>
                  <a:gd name="T10" fmla="*/ 2147479172 w 147"/>
                  <a:gd name="T11" fmla="*/ 2147479224 h 312"/>
                  <a:gd name="T12" fmla="*/ 2147479172 w 147"/>
                  <a:gd name="T13" fmla="*/ 0 h 312"/>
                  <a:gd name="T14" fmla="*/ 2147479172 w 147"/>
                  <a:gd name="T15" fmla="*/ 2147479224 h 312"/>
                  <a:gd name="T16" fmla="*/ 0 60000 65536"/>
                  <a:gd name="T17" fmla="*/ 0 60000 65536"/>
                  <a:gd name="T18" fmla="*/ 0 60000 65536"/>
                  <a:gd name="T19" fmla="*/ 0 60000 65536"/>
                  <a:gd name="T20" fmla="*/ 0 60000 65536"/>
                  <a:gd name="T21" fmla="*/ 0 60000 65536"/>
                  <a:gd name="T22" fmla="*/ 0 60000 65536"/>
                  <a:gd name="T23" fmla="*/ 0 60000 65536"/>
                  <a:gd name="T24" fmla="*/ 0 w 147"/>
                  <a:gd name="T25" fmla="*/ 0 h 312"/>
                  <a:gd name="T26" fmla="*/ 34 w 147"/>
                  <a:gd name="T27" fmla="*/ 52 h 3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7" h="312">
                    <a:moveTo>
                      <a:pt x="0" y="66"/>
                    </a:moveTo>
                    <a:lnTo>
                      <a:pt x="5" y="99"/>
                    </a:lnTo>
                    <a:lnTo>
                      <a:pt x="15" y="137"/>
                    </a:lnTo>
                    <a:lnTo>
                      <a:pt x="27" y="197"/>
                    </a:lnTo>
                    <a:lnTo>
                      <a:pt x="47" y="236"/>
                    </a:lnTo>
                    <a:lnTo>
                      <a:pt x="72" y="263"/>
                    </a:lnTo>
                    <a:lnTo>
                      <a:pt x="87" y="294"/>
                    </a:lnTo>
                    <a:lnTo>
                      <a:pt x="105" y="312"/>
                    </a:lnTo>
                    <a:lnTo>
                      <a:pt x="134" y="312"/>
                    </a:lnTo>
                    <a:lnTo>
                      <a:pt x="147" y="275"/>
                    </a:lnTo>
                    <a:lnTo>
                      <a:pt x="125" y="249"/>
                    </a:lnTo>
                    <a:lnTo>
                      <a:pt x="84" y="216"/>
                    </a:lnTo>
                    <a:lnTo>
                      <a:pt x="59" y="171"/>
                    </a:lnTo>
                    <a:lnTo>
                      <a:pt x="50" y="119"/>
                    </a:lnTo>
                    <a:lnTo>
                      <a:pt x="65" y="71"/>
                    </a:lnTo>
                    <a:lnTo>
                      <a:pt x="92" y="81"/>
                    </a:lnTo>
                    <a:lnTo>
                      <a:pt x="117" y="122"/>
                    </a:lnTo>
                    <a:lnTo>
                      <a:pt x="131" y="83"/>
                    </a:lnTo>
                    <a:lnTo>
                      <a:pt x="105" y="29"/>
                    </a:lnTo>
                    <a:lnTo>
                      <a:pt x="84" y="0"/>
                    </a:lnTo>
                    <a:lnTo>
                      <a:pt x="53" y="6"/>
                    </a:lnTo>
                    <a:lnTo>
                      <a:pt x="20" y="21"/>
                    </a:lnTo>
                    <a:lnTo>
                      <a:pt x="0" y="66"/>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92" name="Freeform 255">
                <a:extLst>
                  <a:ext uri="{FF2B5EF4-FFF2-40B4-BE49-F238E27FC236}">
                    <a16:creationId xmlns:a16="http://schemas.microsoft.com/office/drawing/2014/main" id="{2245CB68-7EB8-9206-40E9-D221BE351735}"/>
                  </a:ext>
                </a:extLst>
              </p:cNvPr>
              <p:cNvSpPr>
                <a:spLocks/>
              </p:cNvSpPr>
              <p:nvPr/>
            </p:nvSpPr>
            <p:spPr bwMode="auto">
              <a:xfrm>
                <a:off x="19823" y="17244"/>
                <a:ext cx="48" cy="63"/>
              </a:xfrm>
              <a:custGeom>
                <a:avLst/>
                <a:gdLst>
                  <a:gd name="T0" fmla="*/ 0 w 48"/>
                  <a:gd name="T1" fmla="*/ 26 h 63"/>
                  <a:gd name="T2" fmla="*/ 12 w 48"/>
                  <a:gd name="T3" fmla="*/ 63 h 63"/>
                  <a:gd name="T4" fmla="*/ 48 w 48"/>
                  <a:gd name="T5" fmla="*/ 39 h 63"/>
                  <a:gd name="T6" fmla="*/ 48 w 48"/>
                  <a:gd name="T7" fmla="*/ 3 h 63"/>
                  <a:gd name="T8" fmla="*/ 7 w 48"/>
                  <a:gd name="T9" fmla="*/ 0 h 63"/>
                  <a:gd name="T10" fmla="*/ 0 w 48"/>
                  <a:gd name="T11" fmla="*/ 26 h 63"/>
                  <a:gd name="T12" fmla="*/ 0 60000 65536"/>
                  <a:gd name="T13" fmla="*/ 0 60000 65536"/>
                  <a:gd name="T14" fmla="*/ 0 60000 65536"/>
                  <a:gd name="T15" fmla="*/ 0 60000 65536"/>
                  <a:gd name="T16" fmla="*/ 0 60000 65536"/>
                  <a:gd name="T17" fmla="*/ 0 60000 65536"/>
                  <a:gd name="T18" fmla="*/ 0 w 48"/>
                  <a:gd name="T19" fmla="*/ 0 h 63"/>
                  <a:gd name="T20" fmla="*/ 48 w 48"/>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8" h="63">
                    <a:moveTo>
                      <a:pt x="0" y="26"/>
                    </a:moveTo>
                    <a:lnTo>
                      <a:pt x="12" y="63"/>
                    </a:lnTo>
                    <a:lnTo>
                      <a:pt x="48" y="39"/>
                    </a:lnTo>
                    <a:lnTo>
                      <a:pt x="48" y="3"/>
                    </a:lnTo>
                    <a:lnTo>
                      <a:pt x="7" y="0"/>
                    </a:lnTo>
                    <a:lnTo>
                      <a:pt x="0" y="26"/>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93" name="Freeform 256">
                <a:extLst>
                  <a:ext uri="{FF2B5EF4-FFF2-40B4-BE49-F238E27FC236}">
                    <a16:creationId xmlns:a16="http://schemas.microsoft.com/office/drawing/2014/main" id="{9F28AAD8-507F-F8BD-915A-29E849433821}"/>
                  </a:ext>
                </a:extLst>
              </p:cNvPr>
              <p:cNvSpPr>
                <a:spLocks/>
              </p:cNvSpPr>
              <p:nvPr/>
            </p:nvSpPr>
            <p:spPr bwMode="auto">
              <a:xfrm>
                <a:off x="19832" y="17426"/>
                <a:ext cx="42" cy="49"/>
              </a:xfrm>
              <a:custGeom>
                <a:avLst/>
                <a:gdLst>
                  <a:gd name="T0" fmla="*/ 3 w 42"/>
                  <a:gd name="T1" fmla="*/ 9 h 49"/>
                  <a:gd name="T2" fmla="*/ 0 w 42"/>
                  <a:gd name="T3" fmla="*/ 34 h 49"/>
                  <a:gd name="T4" fmla="*/ 15 w 42"/>
                  <a:gd name="T5" fmla="*/ 49 h 49"/>
                  <a:gd name="T6" fmla="*/ 36 w 42"/>
                  <a:gd name="T7" fmla="*/ 40 h 49"/>
                  <a:gd name="T8" fmla="*/ 42 w 42"/>
                  <a:gd name="T9" fmla="*/ 3 h 49"/>
                  <a:gd name="T10" fmla="*/ 21 w 42"/>
                  <a:gd name="T11" fmla="*/ 0 h 49"/>
                  <a:gd name="T12" fmla="*/ 3 w 42"/>
                  <a:gd name="T13" fmla="*/ 9 h 49"/>
                  <a:gd name="T14" fmla="*/ 0 60000 65536"/>
                  <a:gd name="T15" fmla="*/ 0 60000 65536"/>
                  <a:gd name="T16" fmla="*/ 0 60000 65536"/>
                  <a:gd name="T17" fmla="*/ 0 60000 65536"/>
                  <a:gd name="T18" fmla="*/ 0 60000 65536"/>
                  <a:gd name="T19" fmla="*/ 0 60000 65536"/>
                  <a:gd name="T20" fmla="*/ 0 60000 65536"/>
                  <a:gd name="T21" fmla="*/ 0 w 42"/>
                  <a:gd name="T22" fmla="*/ 0 h 49"/>
                  <a:gd name="T23" fmla="*/ 42 w 4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9">
                    <a:moveTo>
                      <a:pt x="3" y="9"/>
                    </a:moveTo>
                    <a:lnTo>
                      <a:pt x="0" y="34"/>
                    </a:lnTo>
                    <a:lnTo>
                      <a:pt x="15" y="49"/>
                    </a:lnTo>
                    <a:lnTo>
                      <a:pt x="36" y="40"/>
                    </a:lnTo>
                    <a:lnTo>
                      <a:pt x="42" y="3"/>
                    </a:lnTo>
                    <a:lnTo>
                      <a:pt x="21" y="0"/>
                    </a:lnTo>
                    <a:lnTo>
                      <a:pt x="3" y="9"/>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245" name="Freeform 32">
              <a:extLst>
                <a:ext uri="{FF2B5EF4-FFF2-40B4-BE49-F238E27FC236}">
                  <a16:creationId xmlns:a16="http://schemas.microsoft.com/office/drawing/2014/main" id="{FDE4B409-94EE-34AA-E7FD-F2D3CAE760A6}"/>
                </a:ext>
              </a:extLst>
            </p:cNvPr>
            <p:cNvSpPr>
              <a:spLocks/>
            </p:cNvSpPr>
            <p:nvPr/>
          </p:nvSpPr>
          <p:spPr bwMode="auto">
            <a:xfrm>
              <a:off x="4737599" y="2647462"/>
              <a:ext cx="201690" cy="101410"/>
            </a:xfrm>
            <a:custGeom>
              <a:avLst/>
              <a:gdLst>
                <a:gd name="T0" fmla="*/ 2147483647 w 451"/>
                <a:gd name="T1" fmla="*/ 2147483647 h 218"/>
                <a:gd name="T2" fmla="*/ 2147483647 w 451"/>
                <a:gd name="T3" fmla="*/ 2147483647 h 218"/>
                <a:gd name="T4" fmla="*/ 2147483647 w 451"/>
                <a:gd name="T5" fmla="*/ 0 h 218"/>
                <a:gd name="T6" fmla="*/ 2147483647 w 451"/>
                <a:gd name="T7" fmla="*/ 2147483647 h 218"/>
                <a:gd name="T8" fmla="*/ 2147483647 w 451"/>
                <a:gd name="T9" fmla="*/ 2147483647 h 218"/>
                <a:gd name="T10" fmla="*/ 2147483647 w 451"/>
                <a:gd name="T11" fmla="*/ 2147483647 h 218"/>
                <a:gd name="T12" fmla="*/ 2147483647 w 451"/>
                <a:gd name="T13" fmla="*/ 2147483647 h 218"/>
                <a:gd name="T14" fmla="*/ 2147483647 w 451"/>
                <a:gd name="T15" fmla="*/ 2147483647 h 218"/>
                <a:gd name="T16" fmla="*/ 2147483647 w 451"/>
                <a:gd name="T17" fmla="*/ 2147483647 h 218"/>
                <a:gd name="T18" fmla="*/ 2147483647 w 451"/>
                <a:gd name="T19" fmla="*/ 2147483647 h 218"/>
                <a:gd name="T20" fmla="*/ 2147483647 w 451"/>
                <a:gd name="T21" fmla="*/ 2147483647 h 218"/>
                <a:gd name="T22" fmla="*/ 2147483647 w 451"/>
                <a:gd name="T23" fmla="*/ 2147483647 h 218"/>
                <a:gd name="T24" fmla="*/ 2147483647 w 451"/>
                <a:gd name="T25" fmla="*/ 2147483647 h 218"/>
                <a:gd name="T26" fmla="*/ 2147483647 w 451"/>
                <a:gd name="T27" fmla="*/ 2147483647 h 218"/>
                <a:gd name="T28" fmla="*/ 2147483647 w 451"/>
                <a:gd name="T29" fmla="*/ 2147483647 h 218"/>
                <a:gd name="T30" fmla="*/ 2147483647 w 451"/>
                <a:gd name="T31" fmla="*/ 2147483647 h 218"/>
                <a:gd name="T32" fmla="*/ 0 w 451"/>
                <a:gd name="T33" fmla="*/ 2147483647 h 218"/>
                <a:gd name="T34" fmla="*/ 2147483647 w 451"/>
                <a:gd name="T35" fmla="*/ 2147483647 h 218"/>
                <a:gd name="T36" fmla="*/ 2147483647 w 451"/>
                <a:gd name="T37" fmla="*/ 2147483647 h 218"/>
                <a:gd name="T38" fmla="*/ 2147483647 w 451"/>
                <a:gd name="T39" fmla="*/ 2147483647 h 218"/>
                <a:gd name="T40" fmla="*/ 2147483647 w 451"/>
                <a:gd name="T41" fmla="*/ 2147483647 h 218"/>
                <a:gd name="T42" fmla="*/ 2147483647 w 451"/>
                <a:gd name="T43" fmla="*/ 2147483647 h 218"/>
                <a:gd name="T44" fmla="*/ 2147483647 w 451"/>
                <a:gd name="T45" fmla="*/ 2147483647 h 218"/>
                <a:gd name="T46" fmla="*/ 2147483647 w 451"/>
                <a:gd name="T47" fmla="*/ 2147483647 h 218"/>
                <a:gd name="T48" fmla="*/ 2147483647 w 451"/>
                <a:gd name="T49" fmla="*/ 2147483647 h 218"/>
                <a:gd name="T50" fmla="*/ 2147483647 w 451"/>
                <a:gd name="T51" fmla="*/ 2147483647 h 218"/>
                <a:gd name="T52" fmla="*/ 2147483647 w 451"/>
                <a:gd name="T53" fmla="*/ 2147483647 h 218"/>
                <a:gd name="T54" fmla="*/ 2147483647 w 451"/>
                <a:gd name="T55" fmla="*/ 2147483647 h 218"/>
                <a:gd name="T56" fmla="*/ 2147483647 w 451"/>
                <a:gd name="T57" fmla="*/ 2147483647 h 218"/>
                <a:gd name="T58" fmla="*/ 2147483647 w 451"/>
                <a:gd name="T59" fmla="*/ 2147483647 h 218"/>
                <a:gd name="T60" fmla="*/ 2147483647 w 451"/>
                <a:gd name="T61" fmla="*/ 2147483647 h 218"/>
                <a:gd name="T62" fmla="*/ 2147483647 w 451"/>
                <a:gd name="T63" fmla="*/ 2147483647 h 218"/>
                <a:gd name="T64" fmla="*/ 2147483647 w 451"/>
                <a:gd name="T65" fmla="*/ 2147483647 h 218"/>
                <a:gd name="T66" fmla="*/ 2147483647 w 451"/>
                <a:gd name="T67" fmla="*/ 2147483647 h 218"/>
                <a:gd name="T68" fmla="*/ 2147483647 w 451"/>
                <a:gd name="T69" fmla="*/ 2147483647 h 218"/>
                <a:gd name="T70" fmla="*/ 2147483647 w 451"/>
                <a:gd name="T71" fmla="*/ 2147483647 h 218"/>
                <a:gd name="T72" fmla="*/ 2147483647 w 451"/>
                <a:gd name="T73" fmla="*/ 2147483647 h 218"/>
                <a:gd name="T74" fmla="*/ 2147483647 w 451"/>
                <a:gd name="T75" fmla="*/ 2147483647 h 218"/>
                <a:gd name="T76" fmla="*/ 2147483647 w 451"/>
                <a:gd name="T77" fmla="*/ 2147483647 h 218"/>
                <a:gd name="T78" fmla="*/ 2147483647 w 451"/>
                <a:gd name="T79" fmla="*/ 2147483647 h 218"/>
                <a:gd name="T80" fmla="*/ 2147483647 w 451"/>
                <a:gd name="T81" fmla="*/ 2147483647 h 218"/>
                <a:gd name="T82" fmla="*/ 2147483647 w 451"/>
                <a:gd name="T83" fmla="*/ 2147483647 h 218"/>
                <a:gd name="T84" fmla="*/ 2147483647 w 451"/>
                <a:gd name="T85" fmla="*/ 2147483647 h 218"/>
                <a:gd name="T86" fmla="*/ 2147483647 w 451"/>
                <a:gd name="T87" fmla="*/ 2147483647 h 218"/>
                <a:gd name="T88" fmla="*/ 2147483647 w 451"/>
                <a:gd name="T89" fmla="*/ 2147483647 h 218"/>
                <a:gd name="T90" fmla="*/ 2147483647 w 451"/>
                <a:gd name="T91" fmla="*/ 2147483647 h 218"/>
                <a:gd name="T92" fmla="*/ 2147483647 w 451"/>
                <a:gd name="T93" fmla="*/ 2147483647 h 218"/>
                <a:gd name="T94" fmla="*/ 2147483647 w 451"/>
                <a:gd name="T95" fmla="*/ 2147483647 h 218"/>
                <a:gd name="T96" fmla="*/ 2147483647 w 451"/>
                <a:gd name="T97" fmla="*/ 2147483647 h 218"/>
                <a:gd name="T98" fmla="*/ 2147483647 w 451"/>
                <a:gd name="T99" fmla="*/ 2147483647 h 2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1"/>
                <a:gd name="T151" fmla="*/ 0 h 218"/>
                <a:gd name="T152" fmla="*/ 2132 w 451"/>
                <a:gd name="T153" fmla="*/ 1022 h 2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1" h="218">
                  <a:moveTo>
                    <a:pt x="352" y="5"/>
                  </a:moveTo>
                  <a:lnTo>
                    <a:pt x="328" y="5"/>
                  </a:lnTo>
                  <a:lnTo>
                    <a:pt x="313" y="0"/>
                  </a:lnTo>
                  <a:lnTo>
                    <a:pt x="308" y="17"/>
                  </a:lnTo>
                  <a:lnTo>
                    <a:pt x="291" y="28"/>
                  </a:lnTo>
                  <a:lnTo>
                    <a:pt x="267" y="26"/>
                  </a:lnTo>
                  <a:lnTo>
                    <a:pt x="248" y="28"/>
                  </a:lnTo>
                  <a:lnTo>
                    <a:pt x="230" y="40"/>
                  </a:lnTo>
                  <a:lnTo>
                    <a:pt x="206" y="45"/>
                  </a:lnTo>
                  <a:lnTo>
                    <a:pt x="184" y="65"/>
                  </a:lnTo>
                  <a:lnTo>
                    <a:pt x="185" y="86"/>
                  </a:lnTo>
                  <a:lnTo>
                    <a:pt x="197" y="103"/>
                  </a:lnTo>
                  <a:lnTo>
                    <a:pt x="123" y="120"/>
                  </a:lnTo>
                  <a:lnTo>
                    <a:pt x="78" y="126"/>
                  </a:lnTo>
                  <a:lnTo>
                    <a:pt x="43" y="120"/>
                  </a:lnTo>
                  <a:lnTo>
                    <a:pt x="9" y="126"/>
                  </a:lnTo>
                  <a:lnTo>
                    <a:pt x="0" y="136"/>
                  </a:lnTo>
                  <a:lnTo>
                    <a:pt x="0" y="145"/>
                  </a:lnTo>
                  <a:lnTo>
                    <a:pt x="1" y="151"/>
                  </a:lnTo>
                  <a:lnTo>
                    <a:pt x="2" y="158"/>
                  </a:lnTo>
                  <a:lnTo>
                    <a:pt x="2" y="178"/>
                  </a:lnTo>
                  <a:lnTo>
                    <a:pt x="22" y="173"/>
                  </a:lnTo>
                  <a:lnTo>
                    <a:pt x="51" y="176"/>
                  </a:lnTo>
                  <a:lnTo>
                    <a:pt x="45" y="186"/>
                  </a:lnTo>
                  <a:lnTo>
                    <a:pt x="72" y="183"/>
                  </a:lnTo>
                  <a:lnTo>
                    <a:pt x="99" y="164"/>
                  </a:lnTo>
                  <a:lnTo>
                    <a:pt x="126" y="163"/>
                  </a:lnTo>
                  <a:lnTo>
                    <a:pt x="145" y="165"/>
                  </a:lnTo>
                  <a:lnTo>
                    <a:pt x="153" y="183"/>
                  </a:lnTo>
                  <a:lnTo>
                    <a:pt x="180" y="206"/>
                  </a:lnTo>
                  <a:lnTo>
                    <a:pt x="211" y="206"/>
                  </a:lnTo>
                  <a:lnTo>
                    <a:pt x="231" y="217"/>
                  </a:lnTo>
                  <a:lnTo>
                    <a:pt x="246" y="218"/>
                  </a:lnTo>
                  <a:lnTo>
                    <a:pt x="270" y="215"/>
                  </a:lnTo>
                  <a:lnTo>
                    <a:pt x="286" y="207"/>
                  </a:lnTo>
                  <a:lnTo>
                    <a:pt x="291" y="195"/>
                  </a:lnTo>
                  <a:lnTo>
                    <a:pt x="320" y="185"/>
                  </a:lnTo>
                  <a:lnTo>
                    <a:pt x="344" y="179"/>
                  </a:lnTo>
                  <a:lnTo>
                    <a:pt x="366" y="185"/>
                  </a:lnTo>
                  <a:lnTo>
                    <a:pt x="391" y="188"/>
                  </a:lnTo>
                  <a:lnTo>
                    <a:pt x="390" y="167"/>
                  </a:lnTo>
                  <a:lnTo>
                    <a:pt x="399" y="142"/>
                  </a:lnTo>
                  <a:lnTo>
                    <a:pt x="395" y="111"/>
                  </a:lnTo>
                  <a:lnTo>
                    <a:pt x="427" y="101"/>
                  </a:lnTo>
                  <a:lnTo>
                    <a:pt x="451" y="91"/>
                  </a:lnTo>
                  <a:lnTo>
                    <a:pt x="422" y="86"/>
                  </a:lnTo>
                  <a:lnTo>
                    <a:pt x="415" y="75"/>
                  </a:lnTo>
                  <a:lnTo>
                    <a:pt x="412" y="52"/>
                  </a:lnTo>
                  <a:lnTo>
                    <a:pt x="416" y="35"/>
                  </a:lnTo>
                  <a:lnTo>
                    <a:pt x="416" y="20"/>
                  </a:lnTo>
                  <a:lnTo>
                    <a:pt x="389" y="24"/>
                  </a:lnTo>
                  <a:lnTo>
                    <a:pt x="364" y="17"/>
                  </a:lnTo>
                  <a:lnTo>
                    <a:pt x="352" y="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6" name="Freeform 33">
              <a:extLst>
                <a:ext uri="{FF2B5EF4-FFF2-40B4-BE49-F238E27FC236}">
                  <a16:creationId xmlns:a16="http://schemas.microsoft.com/office/drawing/2014/main" id="{02358A0E-EB8A-8F05-DB50-5ADC14909FD3}"/>
                </a:ext>
              </a:extLst>
            </p:cNvPr>
            <p:cNvSpPr>
              <a:spLocks/>
            </p:cNvSpPr>
            <p:nvPr/>
          </p:nvSpPr>
          <p:spPr bwMode="auto">
            <a:xfrm>
              <a:off x="4641234" y="2698165"/>
              <a:ext cx="118774" cy="73753"/>
            </a:xfrm>
            <a:custGeom>
              <a:avLst/>
              <a:gdLst>
                <a:gd name="T0" fmla="*/ 2147483647 w 266"/>
                <a:gd name="T1" fmla="*/ 0 h 158"/>
                <a:gd name="T2" fmla="*/ 2147483647 w 266"/>
                <a:gd name="T3" fmla="*/ 2147483647 h 158"/>
                <a:gd name="T4" fmla="*/ 2147483647 w 266"/>
                <a:gd name="T5" fmla="*/ 2147483647 h 158"/>
                <a:gd name="T6" fmla="*/ 2147483647 w 266"/>
                <a:gd name="T7" fmla="*/ 2147483647 h 158"/>
                <a:gd name="T8" fmla="*/ 2147483647 w 266"/>
                <a:gd name="T9" fmla="*/ 2147483647 h 158"/>
                <a:gd name="T10" fmla="*/ 2147483647 w 266"/>
                <a:gd name="T11" fmla="*/ 2147483647 h 158"/>
                <a:gd name="T12" fmla="*/ 2147483647 w 266"/>
                <a:gd name="T13" fmla="*/ 2147483647 h 158"/>
                <a:gd name="T14" fmla="*/ 2147483647 w 266"/>
                <a:gd name="T15" fmla="*/ 2147483647 h 158"/>
                <a:gd name="T16" fmla="*/ 0 w 266"/>
                <a:gd name="T17" fmla="*/ 2147483647 h 158"/>
                <a:gd name="T18" fmla="*/ 2147483647 w 266"/>
                <a:gd name="T19" fmla="*/ 2147483647 h 158"/>
                <a:gd name="T20" fmla="*/ 2147483647 w 266"/>
                <a:gd name="T21" fmla="*/ 2147483647 h 158"/>
                <a:gd name="T22" fmla="*/ 2147483647 w 266"/>
                <a:gd name="T23" fmla="*/ 2147483647 h 158"/>
                <a:gd name="T24" fmla="*/ 2147483647 w 266"/>
                <a:gd name="T25" fmla="*/ 2147483647 h 158"/>
                <a:gd name="T26" fmla="*/ 2147483647 w 266"/>
                <a:gd name="T27" fmla="*/ 2147483647 h 158"/>
                <a:gd name="T28" fmla="*/ 2147483647 w 266"/>
                <a:gd name="T29" fmla="*/ 2147483647 h 158"/>
                <a:gd name="T30" fmla="*/ 2147483647 w 266"/>
                <a:gd name="T31" fmla="*/ 2147483647 h 158"/>
                <a:gd name="T32" fmla="*/ 2147483647 w 266"/>
                <a:gd name="T33" fmla="*/ 2147483647 h 158"/>
                <a:gd name="T34" fmla="*/ 2147483647 w 266"/>
                <a:gd name="T35" fmla="*/ 2147483647 h 158"/>
                <a:gd name="T36" fmla="*/ 2147483647 w 266"/>
                <a:gd name="T37" fmla="*/ 2147483647 h 158"/>
                <a:gd name="T38" fmla="*/ 2147483647 w 266"/>
                <a:gd name="T39" fmla="*/ 2147483647 h 158"/>
                <a:gd name="T40" fmla="*/ 2147483647 w 266"/>
                <a:gd name="T41" fmla="*/ 2147483647 h 158"/>
                <a:gd name="T42" fmla="*/ 2147483647 w 266"/>
                <a:gd name="T43" fmla="*/ 2147483647 h 158"/>
                <a:gd name="T44" fmla="*/ 2147483647 w 266"/>
                <a:gd name="T45" fmla="*/ 2147483647 h 158"/>
                <a:gd name="T46" fmla="*/ 2147483647 w 266"/>
                <a:gd name="T47" fmla="*/ 2147483647 h 158"/>
                <a:gd name="T48" fmla="*/ 2147483647 w 266"/>
                <a:gd name="T49" fmla="*/ 2147483647 h 158"/>
                <a:gd name="T50" fmla="*/ 2147483647 w 266"/>
                <a:gd name="T51" fmla="*/ 2147483647 h 158"/>
                <a:gd name="T52" fmla="*/ 2147483647 w 266"/>
                <a:gd name="T53" fmla="*/ 2147483647 h 158"/>
                <a:gd name="T54" fmla="*/ 2147483647 w 266"/>
                <a:gd name="T55" fmla="*/ 0 h 1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6"/>
                <a:gd name="T85" fmla="*/ 0 h 158"/>
                <a:gd name="T86" fmla="*/ 1247 w 266"/>
                <a:gd name="T87" fmla="*/ 739 h 1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6" h="158">
                  <a:moveTo>
                    <a:pt x="170" y="0"/>
                  </a:moveTo>
                  <a:lnTo>
                    <a:pt x="143" y="1"/>
                  </a:lnTo>
                  <a:lnTo>
                    <a:pt x="119" y="4"/>
                  </a:lnTo>
                  <a:lnTo>
                    <a:pt x="96" y="6"/>
                  </a:lnTo>
                  <a:lnTo>
                    <a:pt x="75" y="12"/>
                  </a:lnTo>
                  <a:lnTo>
                    <a:pt x="34" y="33"/>
                  </a:lnTo>
                  <a:lnTo>
                    <a:pt x="9" y="56"/>
                  </a:lnTo>
                  <a:lnTo>
                    <a:pt x="5" y="83"/>
                  </a:lnTo>
                  <a:lnTo>
                    <a:pt x="0" y="113"/>
                  </a:lnTo>
                  <a:lnTo>
                    <a:pt x="28" y="102"/>
                  </a:lnTo>
                  <a:lnTo>
                    <a:pt x="40" y="115"/>
                  </a:lnTo>
                  <a:lnTo>
                    <a:pt x="44" y="139"/>
                  </a:lnTo>
                  <a:lnTo>
                    <a:pt x="42" y="155"/>
                  </a:lnTo>
                  <a:lnTo>
                    <a:pt x="75" y="158"/>
                  </a:lnTo>
                  <a:lnTo>
                    <a:pt x="110" y="142"/>
                  </a:lnTo>
                  <a:lnTo>
                    <a:pt x="127" y="110"/>
                  </a:lnTo>
                  <a:lnTo>
                    <a:pt x="143" y="125"/>
                  </a:lnTo>
                  <a:lnTo>
                    <a:pt x="161" y="137"/>
                  </a:lnTo>
                  <a:lnTo>
                    <a:pt x="180" y="120"/>
                  </a:lnTo>
                  <a:lnTo>
                    <a:pt x="213" y="112"/>
                  </a:lnTo>
                  <a:lnTo>
                    <a:pt x="240" y="102"/>
                  </a:lnTo>
                  <a:lnTo>
                    <a:pt x="266" y="66"/>
                  </a:lnTo>
                  <a:lnTo>
                    <a:pt x="238" y="62"/>
                  </a:lnTo>
                  <a:lnTo>
                    <a:pt x="217" y="68"/>
                  </a:lnTo>
                  <a:lnTo>
                    <a:pt x="217" y="47"/>
                  </a:lnTo>
                  <a:lnTo>
                    <a:pt x="212" y="47"/>
                  </a:lnTo>
                  <a:lnTo>
                    <a:pt x="208" y="47"/>
                  </a:lnTo>
                  <a:lnTo>
                    <a:pt x="210" y="43"/>
                  </a:lnTo>
                  <a:lnTo>
                    <a:pt x="209" y="34"/>
                  </a:lnTo>
                  <a:lnTo>
                    <a:pt x="211" y="29"/>
                  </a:lnTo>
                  <a:lnTo>
                    <a:pt x="215" y="27"/>
                  </a:lnTo>
                  <a:lnTo>
                    <a:pt x="224" y="16"/>
                  </a:lnTo>
                  <a:lnTo>
                    <a:pt x="170"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7" name="Freeform 259">
              <a:extLst>
                <a:ext uri="{FF2B5EF4-FFF2-40B4-BE49-F238E27FC236}">
                  <a16:creationId xmlns:a16="http://schemas.microsoft.com/office/drawing/2014/main" id="{F64FCCE9-16C5-7028-2966-5572DF847E26}"/>
                </a:ext>
              </a:extLst>
            </p:cNvPr>
            <p:cNvSpPr>
              <a:spLocks/>
            </p:cNvSpPr>
            <p:nvPr/>
          </p:nvSpPr>
          <p:spPr bwMode="auto">
            <a:xfrm>
              <a:off x="4733117" y="2709690"/>
              <a:ext cx="4482" cy="9220"/>
            </a:xfrm>
            <a:custGeom>
              <a:avLst/>
              <a:gdLst>
                <a:gd name="T0" fmla="*/ 122385886 w 87"/>
                <a:gd name="T1" fmla="*/ 0 h 193"/>
                <a:gd name="T2" fmla="*/ 54971293 w 87"/>
                <a:gd name="T3" fmla="*/ 39854870 h 193"/>
                <a:gd name="T4" fmla="*/ 26585990 w 87"/>
                <a:gd name="T5" fmla="*/ 82024134 h 193"/>
                <a:gd name="T6" fmla="*/ 37231327 w 87"/>
                <a:gd name="T7" fmla="*/ 189834763 h 193"/>
                <a:gd name="T8" fmla="*/ 0 w 87"/>
                <a:gd name="T9" fmla="*/ 226163870 h 193"/>
                <a:gd name="T10" fmla="*/ 76259267 w 87"/>
                <a:gd name="T11" fmla="*/ 219147022 h 193"/>
                <a:gd name="T12" fmla="*/ 154317846 w 87"/>
                <a:gd name="T13" fmla="*/ 221462534 h 193"/>
                <a:gd name="T14" fmla="*/ 149019829 w 87"/>
                <a:gd name="T15" fmla="*/ 159382631 h 193"/>
                <a:gd name="T16" fmla="*/ 113539898 w 87"/>
                <a:gd name="T17" fmla="*/ 94917925 h 193"/>
                <a:gd name="T18" fmla="*/ 122385886 w 87"/>
                <a:gd name="T19" fmla="*/ 0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193"/>
                <a:gd name="T32" fmla="*/ 87 w 87"/>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193">
                  <a:moveTo>
                    <a:pt x="69" y="0"/>
                  </a:moveTo>
                  <a:lnTo>
                    <a:pt x="31" y="34"/>
                  </a:lnTo>
                  <a:lnTo>
                    <a:pt x="15" y="70"/>
                  </a:lnTo>
                  <a:lnTo>
                    <a:pt x="21" y="162"/>
                  </a:lnTo>
                  <a:lnTo>
                    <a:pt x="0" y="193"/>
                  </a:lnTo>
                  <a:lnTo>
                    <a:pt x="43" y="187"/>
                  </a:lnTo>
                  <a:lnTo>
                    <a:pt x="87" y="189"/>
                  </a:lnTo>
                  <a:lnTo>
                    <a:pt x="84" y="136"/>
                  </a:lnTo>
                  <a:lnTo>
                    <a:pt x="64" y="81"/>
                  </a:lnTo>
                  <a:lnTo>
                    <a:pt x="69"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8" name="Freeform 140">
              <a:extLst>
                <a:ext uri="{FF2B5EF4-FFF2-40B4-BE49-F238E27FC236}">
                  <a16:creationId xmlns:a16="http://schemas.microsoft.com/office/drawing/2014/main" id="{EA29E239-D261-5CA0-ABA8-7EBD29210ECD}"/>
                </a:ext>
              </a:extLst>
            </p:cNvPr>
            <p:cNvSpPr>
              <a:spLocks/>
            </p:cNvSpPr>
            <p:nvPr/>
          </p:nvSpPr>
          <p:spPr bwMode="auto">
            <a:xfrm>
              <a:off x="4367831" y="2552965"/>
              <a:ext cx="315983" cy="329583"/>
            </a:xfrm>
            <a:custGeom>
              <a:avLst/>
              <a:gdLst>
                <a:gd name="T0" fmla="*/ 2147483647 w 705"/>
                <a:gd name="T1" fmla="*/ 2147483647 h 715"/>
                <a:gd name="T2" fmla="*/ 2147483647 w 705"/>
                <a:gd name="T3" fmla="*/ 2147483647 h 715"/>
                <a:gd name="T4" fmla="*/ 2147483647 w 705"/>
                <a:gd name="T5" fmla="*/ 2147483647 h 715"/>
                <a:gd name="T6" fmla="*/ 2147483647 w 705"/>
                <a:gd name="T7" fmla="*/ 2147483647 h 715"/>
                <a:gd name="T8" fmla="*/ 2147483647 w 705"/>
                <a:gd name="T9" fmla="*/ 2147483647 h 715"/>
                <a:gd name="T10" fmla="*/ 2147483647 w 705"/>
                <a:gd name="T11" fmla="*/ 2147483647 h 715"/>
                <a:gd name="T12" fmla="*/ 2147483647 w 705"/>
                <a:gd name="T13" fmla="*/ 2147483647 h 715"/>
                <a:gd name="T14" fmla="*/ 2147483647 w 705"/>
                <a:gd name="T15" fmla="*/ 2147483647 h 715"/>
                <a:gd name="T16" fmla="*/ 2147483647 w 705"/>
                <a:gd name="T17" fmla="*/ 2147483647 h 715"/>
                <a:gd name="T18" fmla="*/ 2147483647 w 705"/>
                <a:gd name="T19" fmla="*/ 2147483647 h 715"/>
                <a:gd name="T20" fmla="*/ 2147483647 w 705"/>
                <a:gd name="T21" fmla="*/ 2147483647 h 715"/>
                <a:gd name="T22" fmla="*/ 2147483647 w 705"/>
                <a:gd name="T23" fmla="*/ 2147483647 h 715"/>
                <a:gd name="T24" fmla="*/ 2147483647 w 705"/>
                <a:gd name="T25" fmla="*/ 2147483647 h 715"/>
                <a:gd name="T26" fmla="*/ 0 w 705"/>
                <a:gd name="T27" fmla="*/ 2147483647 h 715"/>
                <a:gd name="T28" fmla="*/ 2147483647 w 705"/>
                <a:gd name="T29" fmla="*/ 2147483647 h 715"/>
                <a:gd name="T30" fmla="*/ 2147483647 w 705"/>
                <a:gd name="T31" fmla="*/ 2147483647 h 715"/>
                <a:gd name="T32" fmla="*/ 2147483647 w 705"/>
                <a:gd name="T33" fmla="*/ 2147483647 h 715"/>
                <a:gd name="T34" fmla="*/ 2147483647 w 705"/>
                <a:gd name="T35" fmla="*/ 2147483647 h 715"/>
                <a:gd name="T36" fmla="*/ 2147483647 w 705"/>
                <a:gd name="T37" fmla="*/ 2147483647 h 715"/>
                <a:gd name="T38" fmla="*/ 2147483647 w 705"/>
                <a:gd name="T39" fmla="*/ 2147483647 h 715"/>
                <a:gd name="T40" fmla="*/ 2147483647 w 705"/>
                <a:gd name="T41" fmla="*/ 2147483647 h 715"/>
                <a:gd name="T42" fmla="*/ 2147483647 w 705"/>
                <a:gd name="T43" fmla="*/ 2147483647 h 715"/>
                <a:gd name="T44" fmla="*/ 2147483647 w 705"/>
                <a:gd name="T45" fmla="*/ 2147483647 h 715"/>
                <a:gd name="T46" fmla="*/ 2147483647 w 705"/>
                <a:gd name="T47" fmla="*/ 2147483647 h 715"/>
                <a:gd name="T48" fmla="*/ 2147483647 w 705"/>
                <a:gd name="T49" fmla="*/ 2147483647 h 715"/>
                <a:gd name="T50" fmla="*/ 2147483647 w 705"/>
                <a:gd name="T51" fmla="*/ 2147483647 h 715"/>
                <a:gd name="T52" fmla="*/ 2147483647 w 705"/>
                <a:gd name="T53" fmla="*/ 2147483647 h 715"/>
                <a:gd name="T54" fmla="*/ 2147483647 w 705"/>
                <a:gd name="T55" fmla="*/ 2147483647 h 715"/>
                <a:gd name="T56" fmla="*/ 2147483647 w 705"/>
                <a:gd name="T57" fmla="*/ 2147483647 h 715"/>
                <a:gd name="T58" fmla="*/ 2147483647 w 705"/>
                <a:gd name="T59" fmla="*/ 2147483647 h 715"/>
                <a:gd name="T60" fmla="*/ 2147483647 w 705"/>
                <a:gd name="T61" fmla="*/ 2147483647 h 715"/>
                <a:gd name="T62" fmla="*/ 2147483647 w 705"/>
                <a:gd name="T63" fmla="*/ 2147483647 h 715"/>
                <a:gd name="T64" fmla="*/ 2147483647 w 705"/>
                <a:gd name="T65" fmla="*/ 2147483647 h 715"/>
                <a:gd name="T66" fmla="*/ 2147483647 w 705"/>
                <a:gd name="T67" fmla="*/ 2147483647 h 715"/>
                <a:gd name="T68" fmla="*/ 2147483647 w 705"/>
                <a:gd name="T69" fmla="*/ 2147483647 h 715"/>
                <a:gd name="T70" fmla="*/ 2147483647 w 705"/>
                <a:gd name="T71" fmla="*/ 2147483647 h 715"/>
                <a:gd name="T72" fmla="*/ 2147483647 w 705"/>
                <a:gd name="T73" fmla="*/ 2147483647 h 715"/>
                <a:gd name="T74" fmla="*/ 2147483647 w 705"/>
                <a:gd name="T75" fmla="*/ 2147483647 h 715"/>
                <a:gd name="T76" fmla="*/ 2147483647 w 705"/>
                <a:gd name="T77" fmla="*/ 2147483647 h 715"/>
                <a:gd name="T78" fmla="*/ 2147483647 w 705"/>
                <a:gd name="T79" fmla="*/ 2147483647 h 715"/>
                <a:gd name="T80" fmla="*/ 2147483647 w 705"/>
                <a:gd name="T81" fmla="*/ 2147483647 h 715"/>
                <a:gd name="T82" fmla="*/ 2147483647 w 705"/>
                <a:gd name="T83" fmla="*/ 2147483647 h 715"/>
                <a:gd name="T84" fmla="*/ 2147483647 w 705"/>
                <a:gd name="T85" fmla="*/ 2147483647 h 715"/>
                <a:gd name="T86" fmla="*/ 2147483647 w 705"/>
                <a:gd name="T87" fmla="*/ 2147483647 h 715"/>
                <a:gd name="T88" fmla="*/ 2147483647 w 705"/>
                <a:gd name="T89" fmla="*/ 2147483647 h 715"/>
                <a:gd name="T90" fmla="*/ 2147483647 w 705"/>
                <a:gd name="T91" fmla="*/ 2147483647 h 715"/>
                <a:gd name="T92" fmla="*/ 2147483647 w 705"/>
                <a:gd name="T93" fmla="*/ 2147483647 h 715"/>
                <a:gd name="T94" fmla="*/ 2147483647 w 705"/>
                <a:gd name="T95" fmla="*/ 2147483647 h 715"/>
                <a:gd name="T96" fmla="*/ 2147483647 w 705"/>
                <a:gd name="T97" fmla="*/ 2147483647 h 715"/>
                <a:gd name="T98" fmla="*/ 2147483647 w 705"/>
                <a:gd name="T99" fmla="*/ 2147483647 h 715"/>
                <a:gd name="T100" fmla="*/ 2147483647 w 705"/>
                <a:gd name="T101" fmla="*/ 2147483647 h 715"/>
                <a:gd name="T102" fmla="*/ 2147483647 w 705"/>
                <a:gd name="T103" fmla="*/ 2147483647 h 715"/>
                <a:gd name="T104" fmla="*/ 2147483647 w 705"/>
                <a:gd name="T105" fmla="*/ 2147483647 h 715"/>
                <a:gd name="T106" fmla="*/ 2147483647 w 705"/>
                <a:gd name="T107" fmla="*/ 0 h 71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715"/>
                <a:gd name="T164" fmla="*/ 1310023 w 705"/>
                <a:gd name="T165" fmla="*/ 1325563 h 71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715">
                  <a:moveTo>
                    <a:pt x="414" y="0"/>
                  </a:moveTo>
                  <a:lnTo>
                    <a:pt x="387" y="1"/>
                  </a:lnTo>
                  <a:lnTo>
                    <a:pt x="365" y="38"/>
                  </a:lnTo>
                  <a:lnTo>
                    <a:pt x="370" y="57"/>
                  </a:lnTo>
                  <a:lnTo>
                    <a:pt x="356" y="76"/>
                  </a:lnTo>
                  <a:lnTo>
                    <a:pt x="337" y="97"/>
                  </a:lnTo>
                  <a:lnTo>
                    <a:pt x="320" y="120"/>
                  </a:lnTo>
                  <a:lnTo>
                    <a:pt x="302" y="124"/>
                  </a:lnTo>
                  <a:lnTo>
                    <a:pt x="283" y="130"/>
                  </a:lnTo>
                  <a:lnTo>
                    <a:pt x="272" y="147"/>
                  </a:lnTo>
                  <a:lnTo>
                    <a:pt x="264" y="158"/>
                  </a:lnTo>
                  <a:lnTo>
                    <a:pt x="251" y="176"/>
                  </a:lnTo>
                  <a:lnTo>
                    <a:pt x="229" y="170"/>
                  </a:lnTo>
                  <a:lnTo>
                    <a:pt x="200" y="161"/>
                  </a:lnTo>
                  <a:lnTo>
                    <a:pt x="185" y="138"/>
                  </a:lnTo>
                  <a:lnTo>
                    <a:pt x="160" y="143"/>
                  </a:lnTo>
                  <a:lnTo>
                    <a:pt x="156" y="158"/>
                  </a:lnTo>
                  <a:lnTo>
                    <a:pt x="163" y="182"/>
                  </a:lnTo>
                  <a:lnTo>
                    <a:pt x="175" y="209"/>
                  </a:lnTo>
                  <a:lnTo>
                    <a:pt x="169" y="224"/>
                  </a:lnTo>
                  <a:lnTo>
                    <a:pt x="152" y="233"/>
                  </a:lnTo>
                  <a:lnTo>
                    <a:pt x="126" y="242"/>
                  </a:lnTo>
                  <a:lnTo>
                    <a:pt x="105" y="228"/>
                  </a:lnTo>
                  <a:lnTo>
                    <a:pt x="83" y="212"/>
                  </a:lnTo>
                  <a:lnTo>
                    <a:pt x="55" y="223"/>
                  </a:lnTo>
                  <a:lnTo>
                    <a:pt x="26" y="222"/>
                  </a:lnTo>
                  <a:lnTo>
                    <a:pt x="3" y="224"/>
                  </a:lnTo>
                  <a:lnTo>
                    <a:pt x="0" y="251"/>
                  </a:lnTo>
                  <a:lnTo>
                    <a:pt x="14" y="268"/>
                  </a:lnTo>
                  <a:lnTo>
                    <a:pt x="15" y="284"/>
                  </a:lnTo>
                  <a:lnTo>
                    <a:pt x="24" y="297"/>
                  </a:lnTo>
                  <a:lnTo>
                    <a:pt x="46" y="312"/>
                  </a:lnTo>
                  <a:lnTo>
                    <a:pt x="62" y="317"/>
                  </a:lnTo>
                  <a:lnTo>
                    <a:pt x="85" y="325"/>
                  </a:lnTo>
                  <a:lnTo>
                    <a:pt x="108" y="338"/>
                  </a:lnTo>
                  <a:lnTo>
                    <a:pt x="124" y="351"/>
                  </a:lnTo>
                  <a:lnTo>
                    <a:pt x="144" y="367"/>
                  </a:lnTo>
                  <a:lnTo>
                    <a:pt x="164" y="379"/>
                  </a:lnTo>
                  <a:lnTo>
                    <a:pt x="149" y="402"/>
                  </a:lnTo>
                  <a:lnTo>
                    <a:pt x="161" y="426"/>
                  </a:lnTo>
                  <a:lnTo>
                    <a:pt x="184" y="444"/>
                  </a:lnTo>
                  <a:lnTo>
                    <a:pt x="188" y="476"/>
                  </a:lnTo>
                  <a:lnTo>
                    <a:pt x="201" y="505"/>
                  </a:lnTo>
                  <a:lnTo>
                    <a:pt x="192" y="535"/>
                  </a:lnTo>
                  <a:lnTo>
                    <a:pt x="193" y="571"/>
                  </a:lnTo>
                  <a:lnTo>
                    <a:pt x="185" y="608"/>
                  </a:lnTo>
                  <a:lnTo>
                    <a:pt x="177" y="641"/>
                  </a:lnTo>
                  <a:lnTo>
                    <a:pt x="167" y="664"/>
                  </a:lnTo>
                  <a:lnTo>
                    <a:pt x="205" y="672"/>
                  </a:lnTo>
                  <a:lnTo>
                    <a:pt x="238" y="671"/>
                  </a:lnTo>
                  <a:lnTo>
                    <a:pt x="262" y="669"/>
                  </a:lnTo>
                  <a:lnTo>
                    <a:pt x="290" y="676"/>
                  </a:lnTo>
                  <a:lnTo>
                    <a:pt x="312" y="677"/>
                  </a:lnTo>
                  <a:lnTo>
                    <a:pt x="343" y="684"/>
                  </a:lnTo>
                  <a:lnTo>
                    <a:pt x="365" y="673"/>
                  </a:lnTo>
                  <a:lnTo>
                    <a:pt x="387" y="684"/>
                  </a:lnTo>
                  <a:lnTo>
                    <a:pt x="397" y="682"/>
                  </a:lnTo>
                  <a:lnTo>
                    <a:pt x="406" y="682"/>
                  </a:lnTo>
                  <a:lnTo>
                    <a:pt x="407" y="688"/>
                  </a:lnTo>
                  <a:lnTo>
                    <a:pt x="433" y="715"/>
                  </a:lnTo>
                  <a:lnTo>
                    <a:pt x="444" y="690"/>
                  </a:lnTo>
                  <a:lnTo>
                    <a:pt x="452" y="671"/>
                  </a:lnTo>
                  <a:lnTo>
                    <a:pt x="464" y="659"/>
                  </a:lnTo>
                  <a:lnTo>
                    <a:pt x="481" y="647"/>
                  </a:lnTo>
                  <a:lnTo>
                    <a:pt x="511" y="657"/>
                  </a:lnTo>
                  <a:lnTo>
                    <a:pt x="536" y="664"/>
                  </a:lnTo>
                  <a:lnTo>
                    <a:pt x="555" y="688"/>
                  </a:lnTo>
                  <a:lnTo>
                    <a:pt x="582" y="692"/>
                  </a:lnTo>
                  <a:lnTo>
                    <a:pt x="613" y="700"/>
                  </a:lnTo>
                  <a:lnTo>
                    <a:pt x="635" y="684"/>
                  </a:lnTo>
                  <a:lnTo>
                    <a:pt x="652" y="664"/>
                  </a:lnTo>
                  <a:lnTo>
                    <a:pt x="654" y="648"/>
                  </a:lnTo>
                  <a:lnTo>
                    <a:pt x="677" y="630"/>
                  </a:lnTo>
                  <a:lnTo>
                    <a:pt x="661" y="599"/>
                  </a:lnTo>
                  <a:lnTo>
                    <a:pt x="661" y="576"/>
                  </a:lnTo>
                  <a:lnTo>
                    <a:pt x="659" y="548"/>
                  </a:lnTo>
                  <a:lnTo>
                    <a:pt x="654" y="515"/>
                  </a:lnTo>
                  <a:lnTo>
                    <a:pt x="657" y="497"/>
                  </a:lnTo>
                  <a:lnTo>
                    <a:pt x="668" y="470"/>
                  </a:lnTo>
                  <a:lnTo>
                    <a:pt x="650" y="470"/>
                  </a:lnTo>
                  <a:lnTo>
                    <a:pt x="655" y="450"/>
                  </a:lnTo>
                  <a:lnTo>
                    <a:pt x="652" y="432"/>
                  </a:lnTo>
                  <a:lnTo>
                    <a:pt x="640" y="419"/>
                  </a:lnTo>
                  <a:lnTo>
                    <a:pt x="611" y="426"/>
                  </a:lnTo>
                  <a:lnTo>
                    <a:pt x="616" y="398"/>
                  </a:lnTo>
                  <a:lnTo>
                    <a:pt x="619" y="371"/>
                  </a:lnTo>
                  <a:lnTo>
                    <a:pt x="642" y="345"/>
                  </a:lnTo>
                  <a:lnTo>
                    <a:pt x="664" y="337"/>
                  </a:lnTo>
                  <a:lnTo>
                    <a:pt x="685" y="325"/>
                  </a:lnTo>
                  <a:lnTo>
                    <a:pt x="689" y="277"/>
                  </a:lnTo>
                  <a:lnTo>
                    <a:pt x="701" y="247"/>
                  </a:lnTo>
                  <a:lnTo>
                    <a:pt x="705" y="208"/>
                  </a:lnTo>
                  <a:lnTo>
                    <a:pt x="678" y="189"/>
                  </a:lnTo>
                  <a:lnTo>
                    <a:pt x="654" y="189"/>
                  </a:lnTo>
                  <a:lnTo>
                    <a:pt x="638" y="173"/>
                  </a:lnTo>
                  <a:lnTo>
                    <a:pt x="621" y="137"/>
                  </a:lnTo>
                  <a:lnTo>
                    <a:pt x="615" y="149"/>
                  </a:lnTo>
                  <a:lnTo>
                    <a:pt x="607" y="149"/>
                  </a:lnTo>
                  <a:lnTo>
                    <a:pt x="601" y="146"/>
                  </a:lnTo>
                  <a:lnTo>
                    <a:pt x="597" y="155"/>
                  </a:lnTo>
                  <a:lnTo>
                    <a:pt x="572" y="144"/>
                  </a:lnTo>
                  <a:lnTo>
                    <a:pt x="551" y="127"/>
                  </a:lnTo>
                  <a:lnTo>
                    <a:pt x="548" y="95"/>
                  </a:lnTo>
                  <a:lnTo>
                    <a:pt x="522" y="97"/>
                  </a:lnTo>
                  <a:lnTo>
                    <a:pt x="502" y="85"/>
                  </a:lnTo>
                  <a:lnTo>
                    <a:pt x="484" y="65"/>
                  </a:lnTo>
                  <a:lnTo>
                    <a:pt x="471" y="45"/>
                  </a:lnTo>
                  <a:lnTo>
                    <a:pt x="449" y="37"/>
                  </a:lnTo>
                  <a:lnTo>
                    <a:pt x="441" y="18"/>
                  </a:lnTo>
                  <a:lnTo>
                    <a:pt x="414"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49" name="Freeform 150">
              <a:extLst>
                <a:ext uri="{FF2B5EF4-FFF2-40B4-BE49-F238E27FC236}">
                  <a16:creationId xmlns:a16="http://schemas.microsoft.com/office/drawing/2014/main" id="{F636B2B2-424E-BAF6-3210-8A2C83BD4B31}"/>
                </a:ext>
              </a:extLst>
            </p:cNvPr>
            <p:cNvSpPr>
              <a:spLocks/>
            </p:cNvSpPr>
            <p:nvPr/>
          </p:nvSpPr>
          <p:spPr bwMode="auto">
            <a:xfrm>
              <a:off x="4661404" y="2723518"/>
              <a:ext cx="295813" cy="327276"/>
            </a:xfrm>
            <a:custGeom>
              <a:avLst/>
              <a:gdLst>
                <a:gd name="T0" fmla="*/ 2147483647 w 660"/>
                <a:gd name="T1" fmla="*/ 2147483647 h 713"/>
                <a:gd name="T2" fmla="*/ 2147483647 w 660"/>
                <a:gd name="T3" fmla="*/ 2147483647 h 713"/>
                <a:gd name="T4" fmla="*/ 2147483647 w 660"/>
                <a:gd name="T5" fmla="*/ 2147483647 h 713"/>
                <a:gd name="T6" fmla="*/ 2147483647 w 660"/>
                <a:gd name="T7" fmla="*/ 2147483647 h 713"/>
                <a:gd name="T8" fmla="*/ 2147483647 w 660"/>
                <a:gd name="T9" fmla="*/ 2147483647 h 713"/>
                <a:gd name="T10" fmla="*/ 2147483647 w 660"/>
                <a:gd name="T11" fmla="*/ 2147483647 h 713"/>
                <a:gd name="T12" fmla="*/ 2147483647 w 660"/>
                <a:gd name="T13" fmla="*/ 2147483647 h 713"/>
                <a:gd name="T14" fmla="*/ 2147483647 w 660"/>
                <a:gd name="T15" fmla="*/ 2147483647 h 713"/>
                <a:gd name="T16" fmla="*/ 2147483647 w 660"/>
                <a:gd name="T17" fmla="*/ 2147483647 h 713"/>
                <a:gd name="T18" fmla="*/ 2147483647 w 660"/>
                <a:gd name="T19" fmla="*/ 2147483647 h 713"/>
                <a:gd name="T20" fmla="*/ 2147483647 w 660"/>
                <a:gd name="T21" fmla="*/ 2147483647 h 713"/>
                <a:gd name="T22" fmla="*/ 2147483647 w 660"/>
                <a:gd name="T23" fmla="*/ 2147483647 h 713"/>
                <a:gd name="T24" fmla="*/ 2147483647 w 660"/>
                <a:gd name="T25" fmla="*/ 2147483647 h 713"/>
                <a:gd name="T26" fmla="*/ 2147483647 w 660"/>
                <a:gd name="T27" fmla="*/ 2147483647 h 713"/>
                <a:gd name="T28" fmla="*/ 2147483647 w 660"/>
                <a:gd name="T29" fmla="*/ 2147483647 h 713"/>
                <a:gd name="T30" fmla="*/ 2147483647 w 660"/>
                <a:gd name="T31" fmla="*/ 2147483647 h 713"/>
                <a:gd name="T32" fmla="*/ 2147483647 w 660"/>
                <a:gd name="T33" fmla="*/ 2147483647 h 713"/>
                <a:gd name="T34" fmla="*/ 2147483647 w 660"/>
                <a:gd name="T35" fmla="*/ 2147483647 h 713"/>
                <a:gd name="T36" fmla="*/ 2147483647 w 660"/>
                <a:gd name="T37" fmla="*/ 2147483647 h 713"/>
                <a:gd name="T38" fmla="*/ 2147483647 w 660"/>
                <a:gd name="T39" fmla="*/ 2147483647 h 713"/>
                <a:gd name="T40" fmla="*/ 2147483647 w 660"/>
                <a:gd name="T41" fmla="*/ 2147483647 h 713"/>
                <a:gd name="T42" fmla="*/ 2147483647 w 660"/>
                <a:gd name="T43" fmla="*/ 2147483647 h 713"/>
                <a:gd name="T44" fmla="*/ 2147483647 w 660"/>
                <a:gd name="T45" fmla="*/ 2147483647 h 713"/>
                <a:gd name="T46" fmla="*/ 2147483647 w 660"/>
                <a:gd name="T47" fmla="*/ 2147483647 h 713"/>
                <a:gd name="T48" fmla="*/ 2147483647 w 660"/>
                <a:gd name="T49" fmla="*/ 2147483647 h 713"/>
                <a:gd name="T50" fmla="*/ 2147483647 w 660"/>
                <a:gd name="T51" fmla="*/ 2147483647 h 713"/>
                <a:gd name="T52" fmla="*/ 2147483647 w 660"/>
                <a:gd name="T53" fmla="*/ 2147483647 h 713"/>
                <a:gd name="T54" fmla="*/ 2147483647 w 660"/>
                <a:gd name="T55" fmla="*/ 2147483647 h 713"/>
                <a:gd name="T56" fmla="*/ 2147483647 w 660"/>
                <a:gd name="T57" fmla="*/ 2147483647 h 713"/>
                <a:gd name="T58" fmla="*/ 2147483647 w 660"/>
                <a:gd name="T59" fmla="*/ 2147483647 h 713"/>
                <a:gd name="T60" fmla="*/ 2147483647 w 660"/>
                <a:gd name="T61" fmla="*/ 2147483647 h 713"/>
                <a:gd name="T62" fmla="*/ 2147483647 w 660"/>
                <a:gd name="T63" fmla="*/ 2147483647 h 713"/>
                <a:gd name="T64" fmla="*/ 2147483647 w 660"/>
                <a:gd name="T65" fmla="*/ 2147483647 h 713"/>
                <a:gd name="T66" fmla="*/ 2147483647 w 660"/>
                <a:gd name="T67" fmla="*/ 2147483647 h 713"/>
                <a:gd name="T68" fmla="*/ 2147483647 w 660"/>
                <a:gd name="T69" fmla="*/ 2147483647 h 713"/>
                <a:gd name="T70" fmla="*/ 2147483647 w 660"/>
                <a:gd name="T71" fmla="*/ 2147483647 h 713"/>
                <a:gd name="T72" fmla="*/ 2147483647 w 660"/>
                <a:gd name="T73" fmla="*/ 2147483647 h 713"/>
                <a:gd name="T74" fmla="*/ 2147483647 w 660"/>
                <a:gd name="T75" fmla="*/ 2147483647 h 713"/>
                <a:gd name="T76" fmla="*/ 2147483647 w 660"/>
                <a:gd name="T77" fmla="*/ 2147483647 h 713"/>
                <a:gd name="T78" fmla="*/ 2147483647 w 660"/>
                <a:gd name="T79" fmla="*/ 0 h 713"/>
                <a:gd name="T80" fmla="*/ 2147483647 w 660"/>
                <a:gd name="T81" fmla="*/ 2147483647 h 713"/>
                <a:gd name="T82" fmla="*/ 2147483647 w 660"/>
                <a:gd name="T83" fmla="*/ 2147483647 h 713"/>
                <a:gd name="T84" fmla="*/ 2147483647 w 660"/>
                <a:gd name="T85" fmla="*/ 2147483647 h 713"/>
                <a:gd name="T86" fmla="*/ 2147483647 w 660"/>
                <a:gd name="T87" fmla="*/ 2147483647 h 713"/>
                <a:gd name="T88" fmla="*/ 2147483647 w 660"/>
                <a:gd name="T89" fmla="*/ 2147483647 h 713"/>
                <a:gd name="T90" fmla="*/ 0 w 660"/>
                <a:gd name="T91" fmla="*/ 2147483647 h 713"/>
                <a:gd name="T92" fmla="*/ 2147483647 w 660"/>
                <a:gd name="T93" fmla="*/ 2147483647 h 713"/>
                <a:gd name="T94" fmla="*/ 2147483647 w 660"/>
                <a:gd name="T95" fmla="*/ 2147483647 h 7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0"/>
                <a:gd name="T145" fmla="*/ 0 h 713"/>
                <a:gd name="T146" fmla="*/ 774 w 660"/>
                <a:gd name="T147" fmla="*/ 848 h 7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0" h="713">
                  <a:moveTo>
                    <a:pt x="52" y="240"/>
                  </a:moveTo>
                  <a:lnTo>
                    <a:pt x="67" y="215"/>
                  </a:lnTo>
                  <a:lnTo>
                    <a:pt x="90" y="217"/>
                  </a:lnTo>
                  <a:lnTo>
                    <a:pt x="100" y="195"/>
                  </a:lnTo>
                  <a:lnTo>
                    <a:pt x="119" y="184"/>
                  </a:lnTo>
                  <a:lnTo>
                    <a:pt x="142" y="178"/>
                  </a:lnTo>
                  <a:lnTo>
                    <a:pt x="164" y="188"/>
                  </a:lnTo>
                  <a:lnTo>
                    <a:pt x="188" y="211"/>
                  </a:lnTo>
                  <a:lnTo>
                    <a:pt x="200" y="232"/>
                  </a:lnTo>
                  <a:lnTo>
                    <a:pt x="200" y="278"/>
                  </a:lnTo>
                  <a:lnTo>
                    <a:pt x="211" y="314"/>
                  </a:lnTo>
                  <a:lnTo>
                    <a:pt x="217" y="352"/>
                  </a:lnTo>
                  <a:lnTo>
                    <a:pt x="259" y="380"/>
                  </a:lnTo>
                  <a:lnTo>
                    <a:pt x="292" y="391"/>
                  </a:lnTo>
                  <a:lnTo>
                    <a:pt x="335" y="438"/>
                  </a:lnTo>
                  <a:lnTo>
                    <a:pt x="357" y="453"/>
                  </a:lnTo>
                  <a:lnTo>
                    <a:pt x="391" y="455"/>
                  </a:lnTo>
                  <a:lnTo>
                    <a:pt x="402" y="485"/>
                  </a:lnTo>
                  <a:lnTo>
                    <a:pt x="418" y="492"/>
                  </a:lnTo>
                  <a:lnTo>
                    <a:pt x="424" y="508"/>
                  </a:lnTo>
                  <a:lnTo>
                    <a:pt x="441" y="504"/>
                  </a:lnTo>
                  <a:lnTo>
                    <a:pt x="453" y="517"/>
                  </a:lnTo>
                  <a:lnTo>
                    <a:pt x="458" y="545"/>
                  </a:lnTo>
                  <a:lnTo>
                    <a:pt x="473" y="558"/>
                  </a:lnTo>
                  <a:lnTo>
                    <a:pt x="495" y="555"/>
                  </a:lnTo>
                  <a:lnTo>
                    <a:pt x="494" y="592"/>
                  </a:lnTo>
                  <a:lnTo>
                    <a:pt x="510" y="625"/>
                  </a:lnTo>
                  <a:lnTo>
                    <a:pt x="517" y="655"/>
                  </a:lnTo>
                  <a:lnTo>
                    <a:pt x="497" y="670"/>
                  </a:lnTo>
                  <a:lnTo>
                    <a:pt x="482" y="706"/>
                  </a:lnTo>
                  <a:lnTo>
                    <a:pt x="501" y="713"/>
                  </a:lnTo>
                  <a:lnTo>
                    <a:pt x="518" y="693"/>
                  </a:lnTo>
                  <a:lnTo>
                    <a:pt x="538" y="682"/>
                  </a:lnTo>
                  <a:lnTo>
                    <a:pt x="530" y="666"/>
                  </a:lnTo>
                  <a:lnTo>
                    <a:pt x="541" y="649"/>
                  </a:lnTo>
                  <a:lnTo>
                    <a:pt x="556" y="648"/>
                  </a:lnTo>
                  <a:lnTo>
                    <a:pt x="570" y="640"/>
                  </a:lnTo>
                  <a:lnTo>
                    <a:pt x="567" y="616"/>
                  </a:lnTo>
                  <a:lnTo>
                    <a:pt x="554" y="597"/>
                  </a:lnTo>
                  <a:lnTo>
                    <a:pt x="538" y="593"/>
                  </a:lnTo>
                  <a:lnTo>
                    <a:pt x="538" y="570"/>
                  </a:lnTo>
                  <a:lnTo>
                    <a:pt x="552" y="542"/>
                  </a:lnTo>
                  <a:lnTo>
                    <a:pt x="574" y="530"/>
                  </a:lnTo>
                  <a:lnTo>
                    <a:pt x="606" y="531"/>
                  </a:lnTo>
                  <a:lnTo>
                    <a:pt x="627" y="551"/>
                  </a:lnTo>
                  <a:lnTo>
                    <a:pt x="645" y="569"/>
                  </a:lnTo>
                  <a:lnTo>
                    <a:pt x="660" y="554"/>
                  </a:lnTo>
                  <a:lnTo>
                    <a:pt x="656" y="528"/>
                  </a:lnTo>
                  <a:lnTo>
                    <a:pt x="634" y="513"/>
                  </a:lnTo>
                  <a:lnTo>
                    <a:pt x="602" y="492"/>
                  </a:lnTo>
                  <a:lnTo>
                    <a:pt x="571" y="474"/>
                  </a:lnTo>
                  <a:lnTo>
                    <a:pt x="532" y="466"/>
                  </a:lnTo>
                  <a:lnTo>
                    <a:pt x="511" y="443"/>
                  </a:lnTo>
                  <a:lnTo>
                    <a:pt x="530" y="432"/>
                  </a:lnTo>
                  <a:lnTo>
                    <a:pt x="526" y="412"/>
                  </a:lnTo>
                  <a:lnTo>
                    <a:pt x="511" y="415"/>
                  </a:lnTo>
                  <a:lnTo>
                    <a:pt x="487" y="413"/>
                  </a:lnTo>
                  <a:lnTo>
                    <a:pt x="464" y="406"/>
                  </a:lnTo>
                  <a:lnTo>
                    <a:pt x="447" y="386"/>
                  </a:lnTo>
                  <a:lnTo>
                    <a:pt x="420" y="353"/>
                  </a:lnTo>
                  <a:lnTo>
                    <a:pt x="402" y="313"/>
                  </a:lnTo>
                  <a:lnTo>
                    <a:pt x="400" y="271"/>
                  </a:lnTo>
                  <a:lnTo>
                    <a:pt x="379" y="260"/>
                  </a:lnTo>
                  <a:lnTo>
                    <a:pt x="351" y="236"/>
                  </a:lnTo>
                  <a:lnTo>
                    <a:pt x="321" y="221"/>
                  </a:lnTo>
                  <a:lnTo>
                    <a:pt x="320" y="194"/>
                  </a:lnTo>
                  <a:lnTo>
                    <a:pt x="327" y="170"/>
                  </a:lnTo>
                  <a:lnTo>
                    <a:pt x="339" y="158"/>
                  </a:lnTo>
                  <a:lnTo>
                    <a:pt x="322" y="123"/>
                  </a:lnTo>
                  <a:lnTo>
                    <a:pt x="337" y="98"/>
                  </a:lnTo>
                  <a:lnTo>
                    <a:pt x="366" y="97"/>
                  </a:lnTo>
                  <a:lnTo>
                    <a:pt x="390" y="92"/>
                  </a:lnTo>
                  <a:lnTo>
                    <a:pt x="399" y="79"/>
                  </a:lnTo>
                  <a:lnTo>
                    <a:pt x="399" y="56"/>
                  </a:lnTo>
                  <a:lnTo>
                    <a:pt x="384" y="42"/>
                  </a:lnTo>
                  <a:lnTo>
                    <a:pt x="349" y="42"/>
                  </a:lnTo>
                  <a:lnTo>
                    <a:pt x="322" y="22"/>
                  </a:lnTo>
                  <a:lnTo>
                    <a:pt x="313" y="0"/>
                  </a:lnTo>
                  <a:lnTo>
                    <a:pt x="294" y="0"/>
                  </a:lnTo>
                  <a:lnTo>
                    <a:pt x="265" y="3"/>
                  </a:lnTo>
                  <a:lnTo>
                    <a:pt x="240" y="21"/>
                  </a:lnTo>
                  <a:lnTo>
                    <a:pt x="217" y="21"/>
                  </a:lnTo>
                  <a:lnTo>
                    <a:pt x="207" y="36"/>
                  </a:lnTo>
                  <a:lnTo>
                    <a:pt x="190" y="54"/>
                  </a:lnTo>
                  <a:lnTo>
                    <a:pt x="159" y="63"/>
                  </a:lnTo>
                  <a:lnTo>
                    <a:pt x="138" y="66"/>
                  </a:lnTo>
                  <a:lnTo>
                    <a:pt x="115" y="85"/>
                  </a:lnTo>
                  <a:lnTo>
                    <a:pt x="99" y="73"/>
                  </a:lnTo>
                  <a:lnTo>
                    <a:pt x="82" y="57"/>
                  </a:lnTo>
                  <a:lnTo>
                    <a:pt x="64" y="88"/>
                  </a:lnTo>
                  <a:lnTo>
                    <a:pt x="33" y="105"/>
                  </a:lnTo>
                  <a:lnTo>
                    <a:pt x="13" y="103"/>
                  </a:lnTo>
                  <a:lnTo>
                    <a:pt x="0" y="132"/>
                  </a:lnTo>
                  <a:lnTo>
                    <a:pt x="0" y="148"/>
                  </a:lnTo>
                  <a:lnTo>
                    <a:pt x="3" y="184"/>
                  </a:lnTo>
                  <a:lnTo>
                    <a:pt x="6" y="211"/>
                  </a:lnTo>
                  <a:lnTo>
                    <a:pt x="5" y="230"/>
                  </a:lnTo>
                  <a:lnTo>
                    <a:pt x="21" y="262"/>
                  </a:lnTo>
                  <a:lnTo>
                    <a:pt x="52" y="24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nvGrpSpPr>
            <p:cNvPr id="250" name="Group 262">
              <a:extLst>
                <a:ext uri="{FF2B5EF4-FFF2-40B4-BE49-F238E27FC236}">
                  <a16:creationId xmlns:a16="http://schemas.microsoft.com/office/drawing/2014/main" id="{87E52480-5714-E1D5-3475-A6753D583338}"/>
                </a:ext>
              </a:extLst>
            </p:cNvPr>
            <p:cNvGrpSpPr>
              <a:grpSpLocks/>
            </p:cNvGrpSpPr>
            <p:nvPr/>
          </p:nvGrpSpPr>
          <p:grpSpPr bwMode="auto">
            <a:xfrm>
              <a:off x="4652439" y="4044233"/>
              <a:ext cx="116533" cy="106020"/>
              <a:chOff x="12536" y="13125"/>
              <a:chExt cx="262" cy="230"/>
            </a:xfrm>
            <a:solidFill>
              <a:srgbClr val="E0E0E0"/>
            </a:solidFill>
          </p:grpSpPr>
          <p:sp>
            <p:nvSpPr>
              <p:cNvPr id="287" name="Freeform 83">
                <a:extLst>
                  <a:ext uri="{FF2B5EF4-FFF2-40B4-BE49-F238E27FC236}">
                    <a16:creationId xmlns:a16="http://schemas.microsoft.com/office/drawing/2014/main" id="{EF4DB799-C799-07E5-A66A-823D5DBA8F9E}"/>
                  </a:ext>
                </a:extLst>
              </p:cNvPr>
              <p:cNvSpPr>
                <a:spLocks/>
              </p:cNvSpPr>
              <p:nvPr/>
            </p:nvSpPr>
            <p:spPr bwMode="auto">
              <a:xfrm>
                <a:off x="12707" y="13176"/>
                <a:ext cx="91" cy="74"/>
              </a:xfrm>
              <a:custGeom>
                <a:avLst/>
                <a:gdLst>
                  <a:gd name="T0" fmla="*/ 64294 w 91"/>
                  <a:gd name="T1" fmla="*/ 0 h 74"/>
                  <a:gd name="T2" fmla="*/ 94060 w 91"/>
                  <a:gd name="T3" fmla="*/ 28575 h 74"/>
                  <a:gd name="T4" fmla="*/ 136922 w 91"/>
                  <a:gd name="T5" fmla="*/ 35719 h 74"/>
                  <a:gd name="T6" fmla="*/ 170260 w 91"/>
                  <a:gd name="T7" fmla="*/ 38100 h 74"/>
                  <a:gd name="T8" fmla="*/ 174929 w 91"/>
                  <a:gd name="T9" fmla="*/ 115442 h 74"/>
                  <a:gd name="T10" fmla="*/ 173667 w 91"/>
                  <a:gd name="T11" fmla="*/ 189653 h 74"/>
                  <a:gd name="T12" fmla="*/ 81344 w 91"/>
                  <a:gd name="T13" fmla="*/ 181938 h 74"/>
                  <a:gd name="T14" fmla="*/ 1150 w 91"/>
                  <a:gd name="T15" fmla="*/ 195602 h 74"/>
                  <a:gd name="T16" fmla="*/ 0 w 91"/>
                  <a:gd name="T17" fmla="*/ 164306 h 74"/>
                  <a:gd name="T18" fmla="*/ 2381 w 91"/>
                  <a:gd name="T19" fmla="*/ 141684 h 74"/>
                  <a:gd name="T20" fmla="*/ 17541 w 91"/>
                  <a:gd name="T21" fmla="*/ 116420 h 74"/>
                  <a:gd name="T22" fmla="*/ 9905 w 91"/>
                  <a:gd name="T23" fmla="*/ 78995 h 74"/>
                  <a:gd name="T24" fmla="*/ 64294 w 91"/>
                  <a:gd name="T25" fmla="*/ 0 h 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
                  <a:gd name="T40" fmla="*/ 0 h 74"/>
                  <a:gd name="T41" fmla="*/ 174929 w 91"/>
                  <a:gd name="T42" fmla="*/ 195602 h 7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 h="74">
                    <a:moveTo>
                      <a:pt x="24" y="0"/>
                    </a:moveTo>
                    <a:lnTo>
                      <a:pt x="40" y="9"/>
                    </a:lnTo>
                    <a:lnTo>
                      <a:pt x="70" y="5"/>
                    </a:lnTo>
                    <a:lnTo>
                      <a:pt x="88" y="6"/>
                    </a:lnTo>
                    <a:lnTo>
                      <a:pt x="90" y="48"/>
                    </a:lnTo>
                    <a:lnTo>
                      <a:pt x="91" y="68"/>
                    </a:lnTo>
                    <a:lnTo>
                      <a:pt x="36" y="68"/>
                    </a:lnTo>
                    <a:lnTo>
                      <a:pt x="3" y="74"/>
                    </a:lnTo>
                    <a:lnTo>
                      <a:pt x="0" y="74"/>
                    </a:lnTo>
                    <a:lnTo>
                      <a:pt x="1" y="62"/>
                    </a:lnTo>
                    <a:lnTo>
                      <a:pt x="9" y="48"/>
                    </a:lnTo>
                    <a:lnTo>
                      <a:pt x="5" y="28"/>
                    </a:lnTo>
                    <a:lnTo>
                      <a:pt x="24" y="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8" name="任意多边形 18">
                <a:extLst>
                  <a:ext uri="{FF2B5EF4-FFF2-40B4-BE49-F238E27FC236}">
                    <a16:creationId xmlns:a16="http://schemas.microsoft.com/office/drawing/2014/main" id="{F348B0F5-A9BE-3727-A24D-97DDFC47781A}"/>
                  </a:ext>
                </a:extLst>
              </p:cNvPr>
              <p:cNvSpPr>
                <a:spLocks/>
              </p:cNvSpPr>
              <p:nvPr/>
            </p:nvSpPr>
            <p:spPr bwMode="auto">
              <a:xfrm>
                <a:off x="12654" y="13125"/>
                <a:ext cx="31" cy="36"/>
              </a:xfrm>
              <a:custGeom>
                <a:avLst/>
                <a:gdLst>
                  <a:gd name="T0" fmla="*/ 0 w 7960595"/>
                  <a:gd name="T1" fmla="*/ 0 h 8829030"/>
                  <a:gd name="T2" fmla="*/ 0 w 7960595"/>
                  <a:gd name="T3" fmla="*/ 0 h 8829030"/>
                  <a:gd name="T4" fmla="*/ 0 w 7960595"/>
                  <a:gd name="T5" fmla="*/ 0 h 8829030"/>
                  <a:gd name="T6" fmla="*/ 0 w 7960595"/>
                  <a:gd name="T7" fmla="*/ 0 h 8829030"/>
                  <a:gd name="T8" fmla="*/ 0 w 7960595"/>
                  <a:gd name="T9" fmla="*/ 0 h 8829030"/>
                  <a:gd name="T10" fmla="*/ 0 w 7960595"/>
                  <a:gd name="T11" fmla="*/ 0 h 8829030"/>
                  <a:gd name="T12" fmla="*/ 0 w 7960595"/>
                  <a:gd name="T13" fmla="*/ 0 h 8829030"/>
                  <a:gd name="T14" fmla="*/ 0 w 7960595"/>
                  <a:gd name="T15" fmla="*/ 0 h 8829030"/>
                  <a:gd name="T16" fmla="*/ 0 w 7960595"/>
                  <a:gd name="T17" fmla="*/ 0 h 8829030"/>
                  <a:gd name="T18" fmla="*/ 0 w 7960595"/>
                  <a:gd name="T19" fmla="*/ 0 h 8829030"/>
                  <a:gd name="T20" fmla="*/ 0 w 7960595"/>
                  <a:gd name="T21" fmla="*/ 0 h 8829030"/>
                  <a:gd name="T22" fmla="*/ 0 w 7960595"/>
                  <a:gd name="T23" fmla="*/ 0 h 8829030"/>
                  <a:gd name="T24" fmla="*/ 0 w 7960595"/>
                  <a:gd name="T25" fmla="*/ 0 h 8829030"/>
                  <a:gd name="T26" fmla="*/ 0 w 7960595"/>
                  <a:gd name="T27" fmla="*/ 0 h 8829030"/>
                  <a:gd name="T28" fmla="*/ 0 w 7960595"/>
                  <a:gd name="T29" fmla="*/ 0 h 8829030"/>
                  <a:gd name="T30" fmla="*/ 0 w 7960595"/>
                  <a:gd name="T31" fmla="*/ 0 h 8829030"/>
                  <a:gd name="T32" fmla="*/ 0 w 7960595"/>
                  <a:gd name="T33" fmla="*/ 0 h 8829030"/>
                  <a:gd name="T34" fmla="*/ 0 w 7960595"/>
                  <a:gd name="T35" fmla="*/ 0 h 8829030"/>
                  <a:gd name="T36" fmla="*/ 0 w 7960595"/>
                  <a:gd name="T37" fmla="*/ 0 h 8829030"/>
                  <a:gd name="T38" fmla="*/ 0 w 7960595"/>
                  <a:gd name="T39" fmla="*/ 0 h 8829030"/>
                  <a:gd name="T40" fmla="*/ 0 w 7960595"/>
                  <a:gd name="T41" fmla="*/ 0 h 8829030"/>
                  <a:gd name="T42" fmla="*/ 0 w 7960595"/>
                  <a:gd name="T43" fmla="*/ 0 h 8829030"/>
                  <a:gd name="T44" fmla="*/ 0 w 7960595"/>
                  <a:gd name="T45" fmla="*/ 0 h 8829030"/>
                  <a:gd name="T46" fmla="*/ 0 w 7960595"/>
                  <a:gd name="T47" fmla="*/ 0 h 8829030"/>
                  <a:gd name="T48" fmla="*/ 0 w 7960595"/>
                  <a:gd name="T49" fmla="*/ 0 h 8829030"/>
                  <a:gd name="T50" fmla="*/ 0 w 7960595"/>
                  <a:gd name="T51" fmla="*/ 0 h 8829030"/>
                  <a:gd name="T52" fmla="*/ 0 w 7960595"/>
                  <a:gd name="T53" fmla="*/ 0 h 8829030"/>
                  <a:gd name="T54" fmla="*/ 0 w 7960595"/>
                  <a:gd name="T55" fmla="*/ 0 h 8829030"/>
                  <a:gd name="T56" fmla="*/ 0 w 7960595"/>
                  <a:gd name="T57" fmla="*/ 0 h 8829030"/>
                  <a:gd name="T58" fmla="*/ 0 w 7960595"/>
                  <a:gd name="T59" fmla="*/ 0 h 8829030"/>
                  <a:gd name="T60" fmla="*/ 0 w 7960595"/>
                  <a:gd name="T61" fmla="*/ 0 h 8829030"/>
                  <a:gd name="T62" fmla="*/ 0 w 7960595"/>
                  <a:gd name="T63" fmla="*/ 0 h 8829030"/>
                  <a:gd name="T64" fmla="*/ 0 w 7960595"/>
                  <a:gd name="T65" fmla="*/ 0 h 8829030"/>
                  <a:gd name="T66" fmla="*/ 0 w 7960595"/>
                  <a:gd name="T67" fmla="*/ 0 h 8829030"/>
                  <a:gd name="T68" fmla="*/ 0 w 7960595"/>
                  <a:gd name="T69" fmla="*/ 0 h 8829030"/>
                  <a:gd name="T70" fmla="*/ 0 w 7960595"/>
                  <a:gd name="T71" fmla="*/ 0 h 8829030"/>
                  <a:gd name="T72" fmla="*/ 0 w 7960595"/>
                  <a:gd name="T73" fmla="*/ 0 h 8829030"/>
                  <a:gd name="T74" fmla="*/ 0 w 7960595"/>
                  <a:gd name="T75" fmla="*/ 0 h 8829030"/>
                  <a:gd name="T76" fmla="*/ 0 w 7960595"/>
                  <a:gd name="T77" fmla="*/ 0 h 8829030"/>
                  <a:gd name="T78" fmla="*/ 0 w 7960595"/>
                  <a:gd name="T79" fmla="*/ 0 h 8829030"/>
                  <a:gd name="T80" fmla="*/ 0 w 7960595"/>
                  <a:gd name="T81" fmla="*/ 0 h 8829030"/>
                  <a:gd name="T82" fmla="*/ 0 w 7960595"/>
                  <a:gd name="T83" fmla="*/ 0 h 8829030"/>
                  <a:gd name="T84" fmla="*/ 0 w 7960595"/>
                  <a:gd name="T85" fmla="*/ 0 h 8829030"/>
                  <a:gd name="T86" fmla="*/ 0 w 7960595"/>
                  <a:gd name="T87" fmla="*/ 0 h 8829030"/>
                  <a:gd name="T88" fmla="*/ 0 w 7960595"/>
                  <a:gd name="T89" fmla="*/ 0 h 8829030"/>
                  <a:gd name="T90" fmla="*/ 0 w 7960595"/>
                  <a:gd name="T91" fmla="*/ 0 h 8829030"/>
                  <a:gd name="T92" fmla="*/ 0 w 7960595"/>
                  <a:gd name="T93" fmla="*/ 0 h 8829030"/>
                  <a:gd name="T94" fmla="*/ 0 w 7960595"/>
                  <a:gd name="T95" fmla="*/ 0 h 8829030"/>
                  <a:gd name="T96" fmla="*/ 0 w 7960595"/>
                  <a:gd name="T97" fmla="*/ 0 h 8829030"/>
                  <a:gd name="T98" fmla="*/ 0 w 7960595"/>
                  <a:gd name="T99" fmla="*/ 0 h 8829030"/>
                  <a:gd name="T100" fmla="*/ 0 w 7960595"/>
                  <a:gd name="T101" fmla="*/ 0 h 8829030"/>
                  <a:gd name="T102" fmla="*/ 0 w 7960595"/>
                  <a:gd name="T103" fmla="*/ 0 h 8829030"/>
                  <a:gd name="T104" fmla="*/ 0 w 7960595"/>
                  <a:gd name="T105" fmla="*/ 0 h 88290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960595"/>
                  <a:gd name="T160" fmla="*/ 0 h 8829030"/>
                  <a:gd name="T161" fmla="*/ 7960595 w 7960595"/>
                  <a:gd name="T162" fmla="*/ 8829030 h 88290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960595" h="8829030">
                    <a:moveTo>
                      <a:pt x="2948394" y="2140887"/>
                    </a:moveTo>
                    <a:lnTo>
                      <a:pt x="2921546" y="2290985"/>
                    </a:lnTo>
                    <a:cubicBezTo>
                      <a:pt x="2917001" y="2339653"/>
                      <a:pt x="2945040" y="2441798"/>
                      <a:pt x="2945929" y="2510060"/>
                    </a:cubicBezTo>
                    <a:cubicBezTo>
                      <a:pt x="2946818" y="2578322"/>
                      <a:pt x="2929095" y="2622103"/>
                      <a:pt x="2926879" y="2700560"/>
                    </a:cubicBezTo>
                    <a:cubicBezTo>
                      <a:pt x="2925622" y="2841599"/>
                      <a:pt x="2909086" y="2762597"/>
                      <a:pt x="2907829" y="2903636"/>
                    </a:cubicBezTo>
                    <a:lnTo>
                      <a:pt x="2869729" y="3040037"/>
                    </a:lnTo>
                    <a:lnTo>
                      <a:pt x="2898304" y="3194347"/>
                    </a:lnTo>
                    <a:lnTo>
                      <a:pt x="2903637" y="3394372"/>
                    </a:lnTo>
                    <a:lnTo>
                      <a:pt x="2813720" y="3503339"/>
                    </a:lnTo>
                    <a:lnTo>
                      <a:pt x="2733328" y="3612306"/>
                    </a:lnTo>
                    <a:lnTo>
                      <a:pt x="2595786" y="3715940"/>
                    </a:lnTo>
                    <a:lnTo>
                      <a:pt x="2505869" y="3777282"/>
                    </a:lnTo>
                    <a:lnTo>
                      <a:pt x="2410619" y="3877865"/>
                    </a:lnTo>
                    <a:lnTo>
                      <a:pt x="2358802" y="3985691"/>
                    </a:lnTo>
                    <a:lnTo>
                      <a:pt x="2330227" y="4098850"/>
                    </a:lnTo>
                    <a:lnTo>
                      <a:pt x="2376711" y="4269159"/>
                    </a:lnTo>
                    <a:lnTo>
                      <a:pt x="2485329" y="4301777"/>
                    </a:lnTo>
                    <a:lnTo>
                      <a:pt x="2515394" y="4458518"/>
                    </a:lnTo>
                    <a:lnTo>
                      <a:pt x="2458244" y="4623494"/>
                    </a:lnTo>
                    <a:lnTo>
                      <a:pt x="2426618" y="4788470"/>
                    </a:lnTo>
                    <a:lnTo>
                      <a:pt x="2289868" y="4918248"/>
                    </a:lnTo>
                    <a:lnTo>
                      <a:pt x="2170584" y="4955728"/>
                    </a:lnTo>
                    <a:lnTo>
                      <a:pt x="2036276" y="4976559"/>
                    </a:lnTo>
                    <a:lnTo>
                      <a:pt x="1843683" y="4862388"/>
                    </a:lnTo>
                    <a:lnTo>
                      <a:pt x="1720999" y="4900488"/>
                    </a:lnTo>
                    <a:lnTo>
                      <a:pt x="1625749" y="4885635"/>
                    </a:lnTo>
                    <a:lnTo>
                      <a:pt x="1522115" y="4885635"/>
                    </a:lnTo>
                    <a:lnTo>
                      <a:pt x="1369715" y="4910018"/>
                    </a:lnTo>
                    <a:lnTo>
                      <a:pt x="1241698" y="4838010"/>
                    </a:lnTo>
                    <a:lnTo>
                      <a:pt x="1151781" y="4890968"/>
                    </a:lnTo>
                    <a:lnTo>
                      <a:pt x="989856" y="4871918"/>
                    </a:lnTo>
                    <a:lnTo>
                      <a:pt x="938039" y="4805243"/>
                    </a:lnTo>
                    <a:lnTo>
                      <a:pt x="814214" y="4799910"/>
                    </a:lnTo>
                    <a:lnTo>
                      <a:pt x="766961" y="4895160"/>
                    </a:lnTo>
                    <a:lnTo>
                      <a:pt x="590178" y="4937452"/>
                    </a:lnTo>
                    <a:lnTo>
                      <a:pt x="549027" y="5046419"/>
                    </a:lnTo>
                    <a:lnTo>
                      <a:pt x="463302" y="5155386"/>
                    </a:lnTo>
                    <a:lnTo>
                      <a:pt x="392435" y="5254828"/>
                    </a:lnTo>
                    <a:lnTo>
                      <a:pt x="344810" y="5367987"/>
                    </a:lnTo>
                    <a:lnTo>
                      <a:pt x="283468" y="5538296"/>
                    </a:lnTo>
                    <a:lnTo>
                      <a:pt x="231651" y="5680030"/>
                    </a:lnTo>
                    <a:lnTo>
                      <a:pt x="164976" y="5859864"/>
                    </a:lnTo>
                    <a:lnTo>
                      <a:pt x="141734" y="6011123"/>
                    </a:lnTo>
                    <a:lnTo>
                      <a:pt x="80392" y="6129615"/>
                    </a:lnTo>
                    <a:lnTo>
                      <a:pt x="51817" y="6256491"/>
                    </a:lnTo>
                    <a:lnTo>
                      <a:pt x="70867" y="6427941"/>
                    </a:lnTo>
                    <a:lnTo>
                      <a:pt x="0" y="6526242"/>
                    </a:lnTo>
                    <a:lnTo>
                      <a:pt x="8382" y="6650712"/>
                    </a:lnTo>
                    <a:lnTo>
                      <a:pt x="47625" y="6795993"/>
                    </a:lnTo>
                    <a:lnTo>
                      <a:pt x="65533" y="6928202"/>
                    </a:lnTo>
                    <a:lnTo>
                      <a:pt x="113158" y="7088986"/>
                    </a:lnTo>
                    <a:lnTo>
                      <a:pt x="215649" y="7210033"/>
                    </a:lnTo>
                    <a:lnTo>
                      <a:pt x="220983" y="7325970"/>
                    </a:lnTo>
                    <a:lnTo>
                      <a:pt x="321566" y="7429604"/>
                    </a:lnTo>
                    <a:lnTo>
                      <a:pt x="331091" y="7594580"/>
                    </a:lnTo>
                    <a:lnTo>
                      <a:pt x="348999" y="7779747"/>
                    </a:lnTo>
                    <a:lnTo>
                      <a:pt x="454568" y="7881446"/>
                    </a:lnTo>
                    <a:lnTo>
                      <a:pt x="590575" y="7936339"/>
                    </a:lnTo>
                    <a:lnTo>
                      <a:pt x="790203" y="7977489"/>
                    </a:lnTo>
                    <a:lnTo>
                      <a:pt x="926604" y="8048356"/>
                    </a:lnTo>
                    <a:lnTo>
                      <a:pt x="1147589" y="8115031"/>
                    </a:lnTo>
                    <a:lnTo>
                      <a:pt x="1313706" y="8109697"/>
                    </a:lnTo>
                    <a:lnTo>
                      <a:pt x="1503065" y="8128747"/>
                    </a:lnTo>
                    <a:lnTo>
                      <a:pt x="1663849" y="8161514"/>
                    </a:lnTo>
                    <a:lnTo>
                      <a:pt x="1796058" y="8256764"/>
                    </a:lnTo>
                    <a:lnTo>
                      <a:pt x="1985417" y="8327631"/>
                    </a:lnTo>
                    <a:lnTo>
                      <a:pt x="2231926" y="8365382"/>
                    </a:lnTo>
                    <a:lnTo>
                      <a:pt x="2259360" y="8308232"/>
                    </a:lnTo>
                    <a:lnTo>
                      <a:pt x="2390428" y="8318105"/>
                    </a:lnTo>
                    <a:lnTo>
                      <a:pt x="2574454" y="8289530"/>
                    </a:lnTo>
                    <a:lnTo>
                      <a:pt x="2745904" y="8365730"/>
                    </a:lnTo>
                    <a:lnTo>
                      <a:pt x="2892971" y="8413007"/>
                    </a:lnTo>
                    <a:lnTo>
                      <a:pt x="2996605" y="8498731"/>
                    </a:lnTo>
                    <a:lnTo>
                      <a:pt x="3109764" y="8489206"/>
                    </a:lnTo>
                    <a:lnTo>
                      <a:pt x="3250357" y="8479681"/>
                    </a:lnTo>
                    <a:lnTo>
                      <a:pt x="3402757" y="8546356"/>
                    </a:lnTo>
                    <a:lnTo>
                      <a:pt x="3549824" y="8593981"/>
                    </a:lnTo>
                    <a:lnTo>
                      <a:pt x="3691558" y="8689230"/>
                    </a:lnTo>
                    <a:lnTo>
                      <a:pt x="3785667" y="8782546"/>
                    </a:lnTo>
                    <a:lnTo>
                      <a:pt x="3947592" y="8829030"/>
                    </a:lnTo>
                    <a:lnTo>
                      <a:pt x="3998268" y="8743305"/>
                    </a:lnTo>
                    <a:lnTo>
                      <a:pt x="4111427" y="8634338"/>
                    </a:lnTo>
                    <a:lnTo>
                      <a:pt x="4201344" y="8527306"/>
                    </a:lnTo>
                    <a:lnTo>
                      <a:pt x="4235252" y="8527305"/>
                    </a:lnTo>
                    <a:lnTo>
                      <a:pt x="4272211" y="8327280"/>
                    </a:lnTo>
                    <a:lnTo>
                      <a:pt x="4407026" y="8185993"/>
                    </a:lnTo>
                    <a:lnTo>
                      <a:pt x="4475287" y="8043019"/>
                    </a:lnTo>
                    <a:lnTo>
                      <a:pt x="4574729" y="7897093"/>
                    </a:lnTo>
                    <a:lnTo>
                      <a:pt x="4753422" y="7727925"/>
                    </a:lnTo>
                    <a:lnTo>
                      <a:pt x="4967164" y="7523708"/>
                    </a:lnTo>
                    <a:lnTo>
                      <a:pt x="5315555" y="7112069"/>
                    </a:lnTo>
                    <a:lnTo>
                      <a:pt x="5322268" y="6952183"/>
                    </a:lnTo>
                    <a:lnTo>
                      <a:pt x="5396558" y="6760170"/>
                    </a:lnTo>
                    <a:lnTo>
                      <a:pt x="5387033" y="6641678"/>
                    </a:lnTo>
                    <a:lnTo>
                      <a:pt x="5396558" y="6485086"/>
                    </a:lnTo>
                    <a:lnTo>
                      <a:pt x="5391225" y="6343352"/>
                    </a:lnTo>
                    <a:lnTo>
                      <a:pt x="5329883" y="6272485"/>
                    </a:lnTo>
                    <a:lnTo>
                      <a:pt x="5297116" y="6163518"/>
                    </a:lnTo>
                    <a:lnTo>
                      <a:pt x="5278066" y="6054551"/>
                    </a:lnTo>
                    <a:lnTo>
                      <a:pt x="5382841" y="5931867"/>
                    </a:lnTo>
                    <a:lnTo>
                      <a:pt x="5535241" y="5918150"/>
                    </a:lnTo>
                    <a:lnTo>
                      <a:pt x="5638875" y="5817567"/>
                    </a:lnTo>
                    <a:lnTo>
                      <a:pt x="5740300" y="5816674"/>
                    </a:lnTo>
                    <a:lnTo>
                      <a:pt x="5760418" y="5686499"/>
                    </a:lnTo>
                    <a:lnTo>
                      <a:pt x="5865193" y="5619824"/>
                    </a:lnTo>
                    <a:lnTo>
                      <a:pt x="5945585" y="5554290"/>
                    </a:lnTo>
                    <a:lnTo>
                      <a:pt x="5939111" y="5424363"/>
                    </a:lnTo>
                    <a:lnTo>
                      <a:pt x="5977211" y="5277296"/>
                    </a:lnTo>
                    <a:lnTo>
                      <a:pt x="5952828" y="5168329"/>
                    </a:lnTo>
                    <a:lnTo>
                      <a:pt x="6015311" y="5021262"/>
                    </a:lnTo>
                    <a:lnTo>
                      <a:pt x="6095703" y="5017070"/>
                    </a:lnTo>
                    <a:lnTo>
                      <a:pt x="6166570" y="4870003"/>
                    </a:lnTo>
                    <a:lnTo>
                      <a:pt x="6242770" y="4784278"/>
                    </a:lnTo>
                    <a:lnTo>
                      <a:pt x="6342212" y="4694361"/>
                    </a:lnTo>
                    <a:lnTo>
                      <a:pt x="6361262" y="4566344"/>
                    </a:lnTo>
                    <a:lnTo>
                      <a:pt x="6456514" y="4494337"/>
                    </a:lnTo>
                    <a:lnTo>
                      <a:pt x="6440614" y="4399806"/>
                    </a:lnTo>
                    <a:lnTo>
                      <a:pt x="6474306" y="4304724"/>
                    </a:lnTo>
                    <a:lnTo>
                      <a:pt x="6591470" y="4097690"/>
                    </a:lnTo>
                    <a:lnTo>
                      <a:pt x="6682528" y="3865022"/>
                    </a:lnTo>
                    <a:lnTo>
                      <a:pt x="6729136" y="3731920"/>
                    </a:lnTo>
                    <a:lnTo>
                      <a:pt x="6866802" y="3723536"/>
                    </a:lnTo>
                    <a:lnTo>
                      <a:pt x="6832719" y="3647931"/>
                    </a:lnTo>
                    <a:lnTo>
                      <a:pt x="6883942" y="3565034"/>
                    </a:lnTo>
                    <a:lnTo>
                      <a:pt x="6926358" y="3474100"/>
                    </a:lnTo>
                    <a:lnTo>
                      <a:pt x="7017540" y="3366150"/>
                    </a:lnTo>
                    <a:lnTo>
                      <a:pt x="7062114" y="3296300"/>
                    </a:lnTo>
                    <a:lnTo>
                      <a:pt x="7161804" y="3234958"/>
                    </a:lnTo>
                    <a:lnTo>
                      <a:pt x="7227586" y="3143900"/>
                    </a:lnTo>
                    <a:lnTo>
                      <a:pt x="7296251" y="3065562"/>
                    </a:lnTo>
                    <a:lnTo>
                      <a:pt x="7328001" y="2896146"/>
                    </a:lnTo>
                    <a:lnTo>
                      <a:pt x="7406359" y="2879254"/>
                    </a:lnTo>
                    <a:lnTo>
                      <a:pt x="7402043" y="2769270"/>
                    </a:lnTo>
                    <a:lnTo>
                      <a:pt x="7522693" y="2680370"/>
                    </a:lnTo>
                    <a:lnTo>
                      <a:pt x="7634835" y="2602136"/>
                    </a:lnTo>
                    <a:lnTo>
                      <a:pt x="7681319" y="2479452"/>
                    </a:lnTo>
                    <a:lnTo>
                      <a:pt x="7749011" y="2424584"/>
                    </a:lnTo>
                    <a:lnTo>
                      <a:pt x="7772253" y="2325142"/>
                    </a:lnTo>
                    <a:lnTo>
                      <a:pt x="7842103" y="2301900"/>
                    </a:lnTo>
                    <a:lnTo>
                      <a:pt x="7873853" y="2164358"/>
                    </a:lnTo>
                    <a:cubicBezTo>
                      <a:pt x="7873134" y="2121347"/>
                      <a:pt x="7872414" y="2078335"/>
                      <a:pt x="7871695" y="2035324"/>
                    </a:cubicBezTo>
                    <a:lnTo>
                      <a:pt x="7922495" y="1921024"/>
                    </a:lnTo>
                    <a:lnTo>
                      <a:pt x="7960595" y="1813074"/>
                    </a:lnTo>
                    <a:lnTo>
                      <a:pt x="7909795" y="1732682"/>
                    </a:lnTo>
                    <a:lnTo>
                      <a:pt x="7878045" y="1690390"/>
                    </a:lnTo>
                    <a:lnTo>
                      <a:pt x="7865345" y="1614190"/>
                    </a:lnTo>
                    <a:lnTo>
                      <a:pt x="7907761" y="1461790"/>
                    </a:lnTo>
                    <a:lnTo>
                      <a:pt x="7869661" y="1381398"/>
                    </a:lnTo>
                    <a:lnTo>
                      <a:pt x="7850611" y="1288306"/>
                    </a:lnTo>
                    <a:lnTo>
                      <a:pt x="7863312" y="1127522"/>
                    </a:lnTo>
                    <a:lnTo>
                      <a:pt x="7816969" y="1050111"/>
                    </a:lnTo>
                    <a:lnTo>
                      <a:pt x="7736311" y="1030238"/>
                    </a:lnTo>
                    <a:lnTo>
                      <a:pt x="7698211" y="987946"/>
                    </a:lnTo>
                    <a:lnTo>
                      <a:pt x="7729961" y="905396"/>
                    </a:lnTo>
                    <a:lnTo>
                      <a:pt x="7668619" y="907554"/>
                    </a:lnTo>
                    <a:lnTo>
                      <a:pt x="7605119" y="825004"/>
                    </a:lnTo>
                    <a:lnTo>
                      <a:pt x="7571211" y="729754"/>
                    </a:lnTo>
                    <a:lnTo>
                      <a:pt x="7624169" y="662062"/>
                    </a:lnTo>
                    <a:lnTo>
                      <a:pt x="7547969" y="594370"/>
                    </a:lnTo>
                    <a:lnTo>
                      <a:pt x="7499327" y="509662"/>
                    </a:lnTo>
                    <a:lnTo>
                      <a:pt x="7380835" y="509786"/>
                    </a:lnTo>
                    <a:lnTo>
                      <a:pt x="7313143" y="382786"/>
                    </a:lnTo>
                    <a:lnTo>
                      <a:pt x="7201001" y="351036"/>
                    </a:lnTo>
                    <a:lnTo>
                      <a:pt x="7044409" y="357386"/>
                    </a:lnTo>
                    <a:lnTo>
                      <a:pt x="6953599" y="395610"/>
                    </a:lnTo>
                    <a:lnTo>
                      <a:pt x="6866857" y="412502"/>
                    </a:lnTo>
                    <a:lnTo>
                      <a:pt x="6773765" y="444252"/>
                    </a:lnTo>
                    <a:lnTo>
                      <a:pt x="6644731" y="456952"/>
                    </a:lnTo>
                    <a:lnTo>
                      <a:pt x="6490297" y="454794"/>
                    </a:lnTo>
                    <a:lnTo>
                      <a:pt x="6462739" y="528836"/>
                    </a:lnTo>
                    <a:lnTo>
                      <a:pt x="6278713" y="530994"/>
                    </a:lnTo>
                    <a:lnTo>
                      <a:pt x="6101037" y="473844"/>
                    </a:lnTo>
                    <a:lnTo>
                      <a:pt x="6022803" y="524644"/>
                    </a:lnTo>
                    <a:lnTo>
                      <a:pt x="5895803" y="537344"/>
                    </a:lnTo>
                    <a:lnTo>
                      <a:pt x="5815411" y="501402"/>
                    </a:lnTo>
                    <a:lnTo>
                      <a:pt x="5758385" y="425202"/>
                    </a:lnTo>
                    <a:lnTo>
                      <a:pt x="5631385" y="465460"/>
                    </a:lnTo>
                    <a:lnTo>
                      <a:pt x="5563693" y="387102"/>
                    </a:lnTo>
                    <a:lnTo>
                      <a:pt x="5553151" y="456952"/>
                    </a:lnTo>
                    <a:lnTo>
                      <a:pt x="5474793" y="492894"/>
                    </a:lnTo>
                    <a:lnTo>
                      <a:pt x="5275909" y="488702"/>
                    </a:lnTo>
                    <a:lnTo>
                      <a:pt x="5117407" y="433710"/>
                    </a:lnTo>
                    <a:lnTo>
                      <a:pt x="4933257" y="425202"/>
                    </a:lnTo>
                    <a:lnTo>
                      <a:pt x="4829623" y="446410"/>
                    </a:lnTo>
                    <a:lnTo>
                      <a:pt x="4749231" y="410468"/>
                    </a:lnTo>
                    <a:lnTo>
                      <a:pt x="4681984" y="357683"/>
                    </a:lnTo>
                    <a:lnTo>
                      <a:pt x="4692081" y="239142"/>
                    </a:lnTo>
                    <a:lnTo>
                      <a:pt x="4745039" y="137542"/>
                    </a:lnTo>
                    <a:lnTo>
                      <a:pt x="4618039" y="107950"/>
                    </a:lnTo>
                    <a:lnTo>
                      <a:pt x="4565205" y="38100"/>
                    </a:lnTo>
                    <a:lnTo>
                      <a:pt x="4499671" y="0"/>
                    </a:lnTo>
                    <a:lnTo>
                      <a:pt x="4457379" y="61342"/>
                    </a:lnTo>
                    <a:lnTo>
                      <a:pt x="4275387" y="109984"/>
                    </a:lnTo>
                    <a:lnTo>
                      <a:pt x="4233095" y="186184"/>
                    </a:lnTo>
                    <a:lnTo>
                      <a:pt x="4127303" y="177676"/>
                    </a:lnTo>
                    <a:lnTo>
                      <a:pt x="4104061" y="268610"/>
                    </a:lnTo>
                    <a:lnTo>
                      <a:pt x="4025703" y="391294"/>
                    </a:lnTo>
                    <a:lnTo>
                      <a:pt x="4021511" y="518294"/>
                    </a:lnTo>
                    <a:lnTo>
                      <a:pt x="3970711" y="585986"/>
                    </a:lnTo>
                    <a:lnTo>
                      <a:pt x="3934769" y="647328"/>
                    </a:lnTo>
                    <a:lnTo>
                      <a:pt x="3886127" y="727720"/>
                    </a:lnTo>
                    <a:lnTo>
                      <a:pt x="3805611" y="808111"/>
                    </a:lnTo>
                    <a:lnTo>
                      <a:pt x="3750316" y="889650"/>
                    </a:lnTo>
                    <a:lnTo>
                      <a:pt x="3617090" y="970166"/>
                    </a:lnTo>
                    <a:lnTo>
                      <a:pt x="3600694" y="1112272"/>
                    </a:lnTo>
                    <a:lnTo>
                      <a:pt x="3492992" y="1256412"/>
                    </a:lnTo>
                    <a:lnTo>
                      <a:pt x="3393674" y="1413252"/>
                    </a:lnTo>
                    <a:lnTo>
                      <a:pt x="3264640" y="1483226"/>
                    </a:lnTo>
                    <a:lnTo>
                      <a:pt x="3169514" y="1591300"/>
                    </a:lnTo>
                    <a:lnTo>
                      <a:pt x="3116804" y="1678166"/>
                    </a:lnTo>
                    <a:lnTo>
                      <a:pt x="3057868" y="1769348"/>
                    </a:lnTo>
                    <a:lnTo>
                      <a:pt x="2964900" y="1839198"/>
                    </a:lnTo>
                    <a:lnTo>
                      <a:pt x="2947163" y="1990531"/>
                    </a:lnTo>
                    <a:cubicBezTo>
                      <a:pt x="2947573" y="2040650"/>
                      <a:pt x="2947984" y="2090768"/>
                      <a:pt x="2948394" y="2140887"/>
                    </a:cubicBez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9" name="任意多边形 7">
                <a:extLst>
                  <a:ext uri="{FF2B5EF4-FFF2-40B4-BE49-F238E27FC236}">
                    <a16:creationId xmlns:a16="http://schemas.microsoft.com/office/drawing/2014/main" id="{04F9C650-7F76-D2E0-4B6E-32B3FA996274}"/>
                  </a:ext>
                </a:extLst>
              </p:cNvPr>
              <p:cNvSpPr>
                <a:spLocks/>
              </p:cNvSpPr>
              <p:nvPr/>
            </p:nvSpPr>
            <p:spPr bwMode="auto">
              <a:xfrm>
                <a:off x="12536" y="13345"/>
                <a:ext cx="6" cy="10"/>
              </a:xfrm>
              <a:custGeom>
                <a:avLst/>
                <a:gdLst>
                  <a:gd name="T0" fmla="*/ 0 w 3560387"/>
                  <a:gd name="T1" fmla="*/ 0 h 6001569"/>
                  <a:gd name="T2" fmla="*/ 0 w 3560387"/>
                  <a:gd name="T3" fmla="*/ 0 h 6001569"/>
                  <a:gd name="T4" fmla="*/ 0 w 3560387"/>
                  <a:gd name="T5" fmla="*/ 0 h 6001569"/>
                  <a:gd name="T6" fmla="*/ 0 w 3560387"/>
                  <a:gd name="T7" fmla="*/ 0 h 6001569"/>
                  <a:gd name="T8" fmla="*/ 0 w 3560387"/>
                  <a:gd name="T9" fmla="*/ 0 h 6001569"/>
                  <a:gd name="T10" fmla="*/ 0 w 3560387"/>
                  <a:gd name="T11" fmla="*/ 0 h 6001569"/>
                  <a:gd name="T12" fmla="*/ 0 w 3560387"/>
                  <a:gd name="T13" fmla="*/ 0 h 6001569"/>
                  <a:gd name="T14" fmla="*/ 0 w 3560387"/>
                  <a:gd name="T15" fmla="*/ 0 h 6001569"/>
                  <a:gd name="T16" fmla="*/ 0 w 3560387"/>
                  <a:gd name="T17" fmla="*/ 0 h 6001569"/>
                  <a:gd name="T18" fmla="*/ 0 w 3560387"/>
                  <a:gd name="T19" fmla="*/ 0 h 6001569"/>
                  <a:gd name="T20" fmla="*/ 0 w 3560387"/>
                  <a:gd name="T21" fmla="*/ 0 h 6001569"/>
                  <a:gd name="T22" fmla="*/ 0 w 3560387"/>
                  <a:gd name="T23" fmla="*/ 0 h 6001569"/>
                  <a:gd name="T24" fmla="*/ 0 w 3560387"/>
                  <a:gd name="T25" fmla="*/ 0 h 6001569"/>
                  <a:gd name="T26" fmla="*/ 0 w 3560387"/>
                  <a:gd name="T27" fmla="*/ 0 h 6001569"/>
                  <a:gd name="T28" fmla="*/ 0 w 3560387"/>
                  <a:gd name="T29" fmla="*/ 0 h 6001569"/>
                  <a:gd name="T30" fmla="*/ 0 w 3560387"/>
                  <a:gd name="T31" fmla="*/ 0 h 6001569"/>
                  <a:gd name="T32" fmla="*/ 0 w 3560387"/>
                  <a:gd name="T33" fmla="*/ 0 h 6001569"/>
                  <a:gd name="T34" fmla="*/ 0 w 3560387"/>
                  <a:gd name="T35" fmla="*/ 0 h 6001569"/>
                  <a:gd name="T36" fmla="*/ 0 w 3560387"/>
                  <a:gd name="T37" fmla="*/ 0 h 6001569"/>
                  <a:gd name="T38" fmla="*/ 0 w 3560387"/>
                  <a:gd name="T39" fmla="*/ 0 h 6001569"/>
                  <a:gd name="T40" fmla="*/ 0 w 3560387"/>
                  <a:gd name="T41" fmla="*/ 0 h 6001569"/>
                  <a:gd name="T42" fmla="*/ 0 w 3560387"/>
                  <a:gd name="T43" fmla="*/ 0 h 6001569"/>
                  <a:gd name="T44" fmla="*/ 0 w 3560387"/>
                  <a:gd name="T45" fmla="*/ 0 h 6001569"/>
                  <a:gd name="T46" fmla="*/ 0 w 3560387"/>
                  <a:gd name="T47" fmla="*/ 0 h 6001569"/>
                  <a:gd name="T48" fmla="*/ 0 w 3560387"/>
                  <a:gd name="T49" fmla="*/ 0 h 6001569"/>
                  <a:gd name="T50" fmla="*/ 0 w 3560387"/>
                  <a:gd name="T51" fmla="*/ 0 h 6001569"/>
                  <a:gd name="T52" fmla="*/ 0 w 3560387"/>
                  <a:gd name="T53" fmla="*/ 0 h 6001569"/>
                  <a:gd name="T54" fmla="*/ 0 w 3560387"/>
                  <a:gd name="T55" fmla="*/ 0 h 6001569"/>
                  <a:gd name="T56" fmla="*/ 0 w 3560387"/>
                  <a:gd name="T57" fmla="*/ 0 h 6001569"/>
                  <a:gd name="T58" fmla="*/ 0 w 3560387"/>
                  <a:gd name="T59" fmla="*/ 0 h 6001569"/>
                  <a:gd name="T60" fmla="*/ 0 w 3560387"/>
                  <a:gd name="T61" fmla="*/ 0 h 6001569"/>
                  <a:gd name="T62" fmla="*/ 0 w 3560387"/>
                  <a:gd name="T63" fmla="*/ 0 h 6001569"/>
                  <a:gd name="T64" fmla="*/ 0 w 3560387"/>
                  <a:gd name="T65" fmla="*/ 0 h 6001569"/>
                  <a:gd name="T66" fmla="*/ 0 w 3560387"/>
                  <a:gd name="T67" fmla="*/ 0 h 6001569"/>
                  <a:gd name="T68" fmla="*/ 0 w 3560387"/>
                  <a:gd name="T69" fmla="*/ 0 h 6001569"/>
                  <a:gd name="T70" fmla="*/ 0 w 3560387"/>
                  <a:gd name="T71" fmla="*/ 0 h 6001569"/>
                  <a:gd name="T72" fmla="*/ 0 w 3560387"/>
                  <a:gd name="T73" fmla="*/ 0 h 6001569"/>
                  <a:gd name="T74" fmla="*/ 0 w 3560387"/>
                  <a:gd name="T75" fmla="*/ 0 h 6001569"/>
                  <a:gd name="T76" fmla="*/ 0 w 3560387"/>
                  <a:gd name="T77" fmla="*/ 0 h 6001569"/>
                  <a:gd name="T78" fmla="*/ 0 w 3560387"/>
                  <a:gd name="T79" fmla="*/ 0 h 6001569"/>
                  <a:gd name="T80" fmla="*/ 0 w 3560387"/>
                  <a:gd name="T81" fmla="*/ 0 h 6001569"/>
                  <a:gd name="T82" fmla="*/ 0 w 3560387"/>
                  <a:gd name="T83" fmla="*/ 0 h 6001569"/>
                  <a:gd name="T84" fmla="*/ 0 w 3560387"/>
                  <a:gd name="T85" fmla="*/ 0 h 6001569"/>
                  <a:gd name="T86" fmla="*/ 0 w 3560387"/>
                  <a:gd name="T87" fmla="*/ 0 h 6001569"/>
                  <a:gd name="T88" fmla="*/ 0 w 3560387"/>
                  <a:gd name="T89" fmla="*/ 0 h 6001569"/>
                  <a:gd name="T90" fmla="*/ 0 w 3560387"/>
                  <a:gd name="T91" fmla="*/ 0 h 6001569"/>
                  <a:gd name="T92" fmla="*/ 0 w 3560387"/>
                  <a:gd name="T93" fmla="*/ 0 h 6001569"/>
                  <a:gd name="T94" fmla="*/ 0 w 3560387"/>
                  <a:gd name="T95" fmla="*/ 0 h 6001569"/>
                  <a:gd name="T96" fmla="*/ 0 w 3560387"/>
                  <a:gd name="T97" fmla="*/ 0 h 60015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60387"/>
                  <a:gd name="T148" fmla="*/ 0 h 6001569"/>
                  <a:gd name="T149" fmla="*/ 3560387 w 3560387"/>
                  <a:gd name="T150" fmla="*/ 6001569 h 60015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60387" h="6001569">
                    <a:moveTo>
                      <a:pt x="28925" y="1128680"/>
                    </a:moveTo>
                    <a:lnTo>
                      <a:pt x="112277" y="1133748"/>
                    </a:lnTo>
                    <a:lnTo>
                      <a:pt x="216203" y="1139923"/>
                    </a:lnTo>
                    <a:lnTo>
                      <a:pt x="329214" y="1202425"/>
                    </a:lnTo>
                    <a:lnTo>
                      <a:pt x="229286" y="1277276"/>
                    </a:lnTo>
                    <a:lnTo>
                      <a:pt x="315588" y="1335781"/>
                    </a:lnTo>
                    <a:lnTo>
                      <a:pt x="238370" y="1417540"/>
                    </a:lnTo>
                    <a:lnTo>
                      <a:pt x="247454" y="1562890"/>
                    </a:lnTo>
                    <a:lnTo>
                      <a:pt x="165695" y="1630478"/>
                    </a:lnTo>
                    <a:lnTo>
                      <a:pt x="138987" y="1745855"/>
                    </a:lnTo>
                    <a:lnTo>
                      <a:pt x="182776" y="1828892"/>
                    </a:lnTo>
                    <a:lnTo>
                      <a:pt x="265623" y="1906653"/>
                    </a:lnTo>
                    <a:lnTo>
                      <a:pt x="328670" y="1892482"/>
                    </a:lnTo>
                    <a:lnTo>
                      <a:pt x="428598" y="1829436"/>
                    </a:lnTo>
                    <a:cubicBezTo>
                      <a:pt x="428235" y="1858203"/>
                      <a:pt x="427873" y="1886971"/>
                      <a:pt x="427510" y="1915738"/>
                    </a:cubicBezTo>
                    <a:lnTo>
                      <a:pt x="368461" y="1952076"/>
                    </a:lnTo>
                    <a:lnTo>
                      <a:pt x="387174" y="2089618"/>
                    </a:lnTo>
                    <a:lnTo>
                      <a:pt x="500729" y="2084532"/>
                    </a:lnTo>
                    <a:lnTo>
                      <a:pt x="531981" y="2146845"/>
                    </a:lnTo>
                    <a:lnTo>
                      <a:pt x="449677" y="2264398"/>
                    </a:lnTo>
                    <a:lnTo>
                      <a:pt x="591029" y="2396121"/>
                    </a:lnTo>
                    <a:lnTo>
                      <a:pt x="497487" y="2458246"/>
                    </a:lnTo>
                    <a:cubicBezTo>
                      <a:pt x="496588" y="2554295"/>
                      <a:pt x="491456" y="2506292"/>
                      <a:pt x="490557" y="2602341"/>
                    </a:cubicBezTo>
                    <a:cubicBezTo>
                      <a:pt x="489095" y="2635867"/>
                      <a:pt x="554691" y="2649761"/>
                      <a:pt x="554691" y="2669929"/>
                    </a:cubicBezTo>
                    <a:lnTo>
                      <a:pt x="490556" y="2723347"/>
                    </a:lnTo>
                    <a:lnTo>
                      <a:pt x="571772" y="2845442"/>
                    </a:lnTo>
                    <a:lnTo>
                      <a:pt x="627578" y="2899758"/>
                    </a:lnTo>
                    <a:lnTo>
                      <a:pt x="572860" y="2990249"/>
                    </a:lnTo>
                    <a:lnTo>
                      <a:pt x="590485" y="3052750"/>
                    </a:lnTo>
                    <a:lnTo>
                      <a:pt x="535978" y="3134509"/>
                    </a:lnTo>
                    <a:lnTo>
                      <a:pt x="502551" y="3182836"/>
                    </a:lnTo>
                    <a:lnTo>
                      <a:pt x="575226" y="3331096"/>
                    </a:lnTo>
                    <a:lnTo>
                      <a:pt x="647901" y="3380516"/>
                    </a:lnTo>
                    <a:lnTo>
                      <a:pt x="775082" y="3507697"/>
                    </a:lnTo>
                    <a:lnTo>
                      <a:pt x="833587" y="3662131"/>
                    </a:lnTo>
                    <a:lnTo>
                      <a:pt x="855753" y="3741714"/>
                    </a:lnTo>
                    <a:lnTo>
                      <a:pt x="929517" y="3879068"/>
                    </a:lnTo>
                    <a:lnTo>
                      <a:pt x="829589" y="3905233"/>
                    </a:lnTo>
                    <a:lnTo>
                      <a:pt x="825590" y="4054581"/>
                    </a:lnTo>
                    <a:lnTo>
                      <a:pt x="744919" y="4141426"/>
                    </a:lnTo>
                    <a:lnTo>
                      <a:pt x="604656" y="4119259"/>
                    </a:lnTo>
                    <a:lnTo>
                      <a:pt x="513812" y="4239178"/>
                    </a:lnTo>
                    <a:lnTo>
                      <a:pt x="482561" y="4379441"/>
                    </a:lnTo>
                    <a:lnTo>
                      <a:pt x="386653" y="4514998"/>
                    </a:lnTo>
                    <a:lnTo>
                      <a:pt x="324128" y="4608372"/>
                    </a:lnTo>
                    <a:lnTo>
                      <a:pt x="356468" y="4829307"/>
                    </a:lnTo>
                    <a:lnTo>
                      <a:pt x="269622" y="4873641"/>
                    </a:lnTo>
                    <a:lnTo>
                      <a:pt x="334280" y="5014217"/>
                    </a:lnTo>
                    <a:lnTo>
                      <a:pt x="360111" y="5103661"/>
                    </a:lnTo>
                    <a:lnTo>
                      <a:pt x="453131" y="5162166"/>
                    </a:lnTo>
                    <a:lnTo>
                      <a:pt x="606477" y="5193417"/>
                    </a:lnTo>
                    <a:lnTo>
                      <a:pt x="714402" y="5202501"/>
                    </a:lnTo>
                    <a:lnTo>
                      <a:pt x="809243" y="5311514"/>
                    </a:lnTo>
                    <a:lnTo>
                      <a:pt x="949507" y="5301341"/>
                    </a:lnTo>
                    <a:lnTo>
                      <a:pt x="1021094" y="5346763"/>
                    </a:lnTo>
                    <a:lnTo>
                      <a:pt x="1061429" y="5492113"/>
                    </a:lnTo>
                    <a:lnTo>
                      <a:pt x="1039262" y="5600037"/>
                    </a:lnTo>
                    <a:lnTo>
                      <a:pt x="1066516" y="5680708"/>
                    </a:lnTo>
                    <a:lnTo>
                      <a:pt x="1025092" y="5766465"/>
                    </a:lnTo>
                    <a:lnTo>
                      <a:pt x="1139191" y="5870390"/>
                    </a:lnTo>
                    <a:lnTo>
                      <a:pt x="1265283" y="5874388"/>
                    </a:lnTo>
                    <a:lnTo>
                      <a:pt x="1251113" y="5765376"/>
                    </a:lnTo>
                    <a:lnTo>
                      <a:pt x="1236942" y="5652365"/>
                    </a:lnTo>
                    <a:lnTo>
                      <a:pt x="1377206" y="5689791"/>
                    </a:lnTo>
                    <a:lnTo>
                      <a:pt x="1554540" y="5658540"/>
                    </a:lnTo>
                    <a:lnTo>
                      <a:pt x="1689718" y="5713046"/>
                    </a:lnTo>
                    <a:lnTo>
                      <a:pt x="1806726" y="5731215"/>
                    </a:lnTo>
                    <a:lnTo>
                      <a:pt x="1806726" y="5876564"/>
                    </a:lnTo>
                    <a:cubicBezTo>
                      <a:pt x="1806482" y="5918232"/>
                      <a:pt x="1806237" y="5959901"/>
                      <a:pt x="1805993" y="6001569"/>
                    </a:cubicBezTo>
                    <a:lnTo>
                      <a:pt x="1977508" y="5951061"/>
                    </a:lnTo>
                    <a:lnTo>
                      <a:pt x="2145758" y="5875476"/>
                    </a:lnTo>
                    <a:lnTo>
                      <a:pt x="2286021" y="5789719"/>
                    </a:lnTo>
                    <a:lnTo>
                      <a:pt x="2208260" y="5935069"/>
                    </a:lnTo>
                    <a:lnTo>
                      <a:pt x="2362695" y="5911814"/>
                    </a:lnTo>
                    <a:lnTo>
                      <a:pt x="2508044" y="5866392"/>
                    </a:lnTo>
                    <a:lnTo>
                      <a:pt x="2548380" y="5744297"/>
                    </a:lnTo>
                    <a:lnTo>
                      <a:pt x="2461534" y="5713046"/>
                    </a:lnTo>
                    <a:lnTo>
                      <a:pt x="2475705" y="5594949"/>
                    </a:lnTo>
                    <a:lnTo>
                      <a:pt x="2615969" y="5518276"/>
                    </a:lnTo>
                    <a:lnTo>
                      <a:pt x="2734065" y="5487025"/>
                    </a:lnTo>
                    <a:lnTo>
                      <a:pt x="2723893" y="5378012"/>
                    </a:lnTo>
                    <a:lnTo>
                      <a:pt x="2869243" y="5401267"/>
                    </a:lnTo>
                    <a:lnTo>
                      <a:pt x="3023253" y="5343826"/>
                    </a:lnTo>
                    <a:lnTo>
                      <a:pt x="3188882" y="5333008"/>
                    </a:lnTo>
                    <a:lnTo>
                      <a:pt x="3086179" y="5162519"/>
                    </a:lnTo>
                    <a:lnTo>
                      <a:pt x="3100350" y="5055328"/>
                    </a:lnTo>
                    <a:lnTo>
                      <a:pt x="3027675" y="4905980"/>
                    </a:lnTo>
                    <a:lnTo>
                      <a:pt x="2996424" y="4730467"/>
                    </a:lnTo>
                    <a:lnTo>
                      <a:pt x="3000422" y="4612370"/>
                    </a:lnTo>
                    <a:lnTo>
                      <a:pt x="3049842" y="4490276"/>
                    </a:lnTo>
                    <a:lnTo>
                      <a:pt x="3177023" y="4495362"/>
                    </a:lnTo>
                    <a:lnTo>
                      <a:pt x="3241702" y="4436858"/>
                    </a:lnTo>
                    <a:lnTo>
                      <a:pt x="3208274" y="4330022"/>
                    </a:lnTo>
                    <a:lnTo>
                      <a:pt x="3149770" y="4222097"/>
                    </a:lnTo>
                    <a:lnTo>
                      <a:pt x="3068011" y="4171589"/>
                    </a:lnTo>
                    <a:lnTo>
                      <a:pt x="3027675" y="4018243"/>
                    </a:lnTo>
                    <a:lnTo>
                      <a:pt x="3150858" y="3915405"/>
                    </a:lnTo>
                    <a:lnTo>
                      <a:pt x="3291122" y="3793310"/>
                    </a:lnTo>
                    <a:lnTo>
                      <a:pt x="3426299" y="3734806"/>
                    </a:lnTo>
                    <a:lnTo>
                      <a:pt x="3534223" y="3658133"/>
                    </a:lnTo>
                    <a:lnTo>
                      <a:pt x="3547304" y="3559293"/>
                    </a:lnTo>
                    <a:lnTo>
                      <a:pt x="3505881" y="3331101"/>
                    </a:lnTo>
                    <a:lnTo>
                      <a:pt x="3464457" y="3245343"/>
                    </a:lnTo>
                    <a:lnTo>
                      <a:pt x="3446288" y="3118162"/>
                    </a:lnTo>
                    <a:lnTo>
                      <a:pt x="3528048" y="3091997"/>
                    </a:lnTo>
                    <a:lnTo>
                      <a:pt x="3560387" y="2986983"/>
                    </a:lnTo>
                    <a:lnTo>
                      <a:pt x="3411039" y="2964816"/>
                    </a:lnTo>
                    <a:lnTo>
                      <a:pt x="3292943" y="2951734"/>
                    </a:lnTo>
                    <a:lnTo>
                      <a:pt x="3183930" y="2788215"/>
                    </a:lnTo>
                    <a:lnTo>
                      <a:pt x="3234438" y="2703546"/>
                    </a:lnTo>
                    <a:lnTo>
                      <a:pt x="3179932" y="2608704"/>
                    </a:lnTo>
                    <a:lnTo>
                      <a:pt x="3229352" y="2437189"/>
                    </a:lnTo>
                    <a:lnTo>
                      <a:pt x="3317286" y="2356518"/>
                    </a:lnTo>
                    <a:lnTo>
                      <a:pt x="3162852" y="2141758"/>
                    </a:lnTo>
                    <a:lnTo>
                      <a:pt x="3058925" y="2006581"/>
                    </a:lnTo>
                    <a:lnTo>
                      <a:pt x="2986914" y="1900856"/>
                    </a:lnTo>
                    <a:lnTo>
                      <a:pt x="2958997" y="1752219"/>
                    </a:lnTo>
                    <a:lnTo>
                      <a:pt x="2982252" y="1607957"/>
                    </a:lnTo>
                    <a:lnTo>
                      <a:pt x="2935156" y="1462713"/>
                    </a:lnTo>
                    <a:lnTo>
                      <a:pt x="2766404" y="1281274"/>
                    </a:lnTo>
                    <a:lnTo>
                      <a:pt x="2567636" y="1109760"/>
                    </a:lnTo>
                    <a:lnTo>
                      <a:pt x="2449539" y="960412"/>
                    </a:lnTo>
                    <a:lnTo>
                      <a:pt x="2396901" y="881160"/>
                    </a:lnTo>
                    <a:lnTo>
                      <a:pt x="2278024" y="748561"/>
                    </a:lnTo>
                    <a:lnTo>
                      <a:pt x="2294371" y="595215"/>
                    </a:lnTo>
                    <a:lnTo>
                      <a:pt x="2176275" y="510546"/>
                    </a:lnTo>
                    <a:lnTo>
                      <a:pt x="2030925" y="524717"/>
                    </a:lnTo>
                    <a:lnTo>
                      <a:pt x="1968422" y="424789"/>
                    </a:lnTo>
                    <a:lnTo>
                      <a:pt x="1829247" y="376457"/>
                    </a:lnTo>
                    <a:lnTo>
                      <a:pt x="1630479" y="203854"/>
                    </a:lnTo>
                    <a:lnTo>
                      <a:pt x="1499300" y="177689"/>
                    </a:lnTo>
                    <a:lnTo>
                      <a:pt x="1395374" y="0"/>
                    </a:lnTo>
                    <a:lnTo>
                      <a:pt x="1292536" y="5087"/>
                    </a:lnTo>
                    <a:lnTo>
                      <a:pt x="1188209" y="65813"/>
                    </a:lnTo>
                    <a:lnTo>
                      <a:pt x="1080685" y="145348"/>
                    </a:lnTo>
                    <a:lnTo>
                      <a:pt x="1000014" y="185685"/>
                    </a:lnTo>
                    <a:lnTo>
                      <a:pt x="828499" y="198766"/>
                    </a:lnTo>
                    <a:lnTo>
                      <a:pt x="737656" y="271441"/>
                    </a:lnTo>
                    <a:lnTo>
                      <a:pt x="666069" y="230017"/>
                    </a:lnTo>
                    <a:lnTo>
                      <a:pt x="553058" y="339028"/>
                    </a:lnTo>
                    <a:lnTo>
                      <a:pt x="549060" y="420788"/>
                    </a:lnTo>
                    <a:lnTo>
                      <a:pt x="440048" y="406617"/>
                    </a:lnTo>
                    <a:lnTo>
                      <a:pt x="364463" y="474206"/>
                    </a:lnTo>
                    <a:lnTo>
                      <a:pt x="265623" y="532710"/>
                    </a:lnTo>
                    <a:lnTo>
                      <a:pt x="160609" y="604296"/>
                    </a:lnTo>
                    <a:lnTo>
                      <a:pt x="99928" y="734387"/>
                    </a:lnTo>
                    <a:lnTo>
                      <a:pt x="79938" y="892819"/>
                    </a:lnTo>
                    <a:lnTo>
                      <a:pt x="0" y="1018911"/>
                    </a:lnTo>
                    <a:lnTo>
                      <a:pt x="28925" y="112868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251" name="Freeform 266">
              <a:extLst>
                <a:ext uri="{FF2B5EF4-FFF2-40B4-BE49-F238E27FC236}">
                  <a16:creationId xmlns:a16="http://schemas.microsoft.com/office/drawing/2014/main" id="{AF93468F-A8C3-2A3F-42CE-957065546027}"/>
                </a:ext>
              </a:extLst>
            </p:cNvPr>
            <p:cNvSpPr>
              <a:spLocks/>
            </p:cNvSpPr>
            <p:nvPr/>
          </p:nvSpPr>
          <p:spPr bwMode="auto">
            <a:xfrm>
              <a:off x="4804829" y="4249272"/>
              <a:ext cx="26892" cy="36875"/>
            </a:xfrm>
            <a:custGeom>
              <a:avLst/>
              <a:gdLst>
                <a:gd name="T0" fmla="*/ 0 w 60"/>
                <a:gd name="T1" fmla="*/ 2147483647 h 79"/>
                <a:gd name="T2" fmla="*/ 2147483647 w 60"/>
                <a:gd name="T3" fmla="*/ 2147483647 h 79"/>
                <a:gd name="T4" fmla="*/ 2147483647 w 60"/>
                <a:gd name="T5" fmla="*/ 2147483647 h 79"/>
                <a:gd name="T6" fmla="*/ 2147483647 w 60"/>
                <a:gd name="T7" fmla="*/ 2147483647 h 79"/>
                <a:gd name="T8" fmla="*/ 2147483647 w 60"/>
                <a:gd name="T9" fmla="*/ 2147483647 h 79"/>
                <a:gd name="T10" fmla="*/ 2147483647 w 60"/>
                <a:gd name="T11" fmla="*/ 2147483647 h 79"/>
                <a:gd name="T12" fmla="*/ 2147483647 w 60"/>
                <a:gd name="T13" fmla="*/ 2147483647 h 79"/>
                <a:gd name="T14" fmla="*/ 2147483647 w 60"/>
                <a:gd name="T15" fmla="*/ 0 h 79"/>
                <a:gd name="T16" fmla="*/ 2147483647 w 60"/>
                <a:gd name="T17" fmla="*/ 2147483647 h 79"/>
                <a:gd name="T18" fmla="*/ 0 w 60"/>
                <a:gd name="T19" fmla="*/ 2147483647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79"/>
                <a:gd name="T32" fmla="*/ 60 w 60"/>
                <a:gd name="T33" fmla="*/ 79 h 7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79">
                  <a:moveTo>
                    <a:pt x="0" y="33"/>
                  </a:moveTo>
                  <a:lnTo>
                    <a:pt x="7" y="49"/>
                  </a:lnTo>
                  <a:lnTo>
                    <a:pt x="9" y="79"/>
                  </a:lnTo>
                  <a:lnTo>
                    <a:pt x="30" y="73"/>
                  </a:lnTo>
                  <a:lnTo>
                    <a:pt x="28" y="40"/>
                  </a:lnTo>
                  <a:lnTo>
                    <a:pt x="39" y="19"/>
                  </a:lnTo>
                  <a:lnTo>
                    <a:pt x="60" y="9"/>
                  </a:lnTo>
                  <a:lnTo>
                    <a:pt x="43" y="0"/>
                  </a:lnTo>
                  <a:lnTo>
                    <a:pt x="24" y="6"/>
                  </a:lnTo>
                  <a:lnTo>
                    <a:pt x="0" y="3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2" name="Freeform 267">
              <a:extLst>
                <a:ext uri="{FF2B5EF4-FFF2-40B4-BE49-F238E27FC236}">
                  <a16:creationId xmlns:a16="http://schemas.microsoft.com/office/drawing/2014/main" id="{FE9AD584-2951-22DE-132C-46A83E1880A6}"/>
                </a:ext>
              </a:extLst>
            </p:cNvPr>
            <p:cNvSpPr>
              <a:spLocks/>
            </p:cNvSpPr>
            <p:nvPr/>
          </p:nvSpPr>
          <p:spPr bwMode="auto">
            <a:xfrm>
              <a:off x="4051849" y="3760661"/>
              <a:ext cx="78434" cy="20744"/>
            </a:xfrm>
            <a:custGeom>
              <a:avLst/>
              <a:gdLst>
                <a:gd name="T0" fmla="*/ 2147483647 w 612"/>
                <a:gd name="T1" fmla="*/ 2147483647 h 158"/>
                <a:gd name="T2" fmla="*/ 2147483647 w 612"/>
                <a:gd name="T3" fmla="*/ 2147483647 h 158"/>
                <a:gd name="T4" fmla="*/ 2147483647 w 612"/>
                <a:gd name="T5" fmla="*/ 2147483647 h 158"/>
                <a:gd name="T6" fmla="*/ 2147483647 w 612"/>
                <a:gd name="T7" fmla="*/ 2147483647 h 158"/>
                <a:gd name="T8" fmla="*/ 2147483647 w 612"/>
                <a:gd name="T9" fmla="*/ 2147483647 h 158"/>
                <a:gd name="T10" fmla="*/ 2147483647 w 612"/>
                <a:gd name="T11" fmla="*/ 2147483647 h 158"/>
                <a:gd name="T12" fmla="*/ 2147483647 w 612"/>
                <a:gd name="T13" fmla="*/ 2147483647 h 158"/>
                <a:gd name="T14" fmla="*/ 2147483647 w 612"/>
                <a:gd name="T15" fmla="*/ 2147483647 h 158"/>
                <a:gd name="T16" fmla="*/ 2147483647 w 612"/>
                <a:gd name="T17" fmla="*/ 2147483647 h 158"/>
                <a:gd name="T18" fmla="*/ 2147483647 w 612"/>
                <a:gd name="T19" fmla="*/ 2147483647 h 158"/>
                <a:gd name="T20" fmla="*/ 2147483647 w 612"/>
                <a:gd name="T21" fmla="*/ 2147483647 h 158"/>
                <a:gd name="T22" fmla="*/ 2147483647 w 612"/>
                <a:gd name="T23" fmla="*/ 2147483647 h 158"/>
                <a:gd name="T24" fmla="*/ 1766004942 w 612"/>
                <a:gd name="T25" fmla="*/ 2147483647 h 158"/>
                <a:gd name="T26" fmla="*/ 0 w 612"/>
                <a:gd name="T27" fmla="*/ 2147483647 h 158"/>
                <a:gd name="T28" fmla="*/ 1834095265 w 612"/>
                <a:gd name="T29" fmla="*/ 2147483647 h 158"/>
                <a:gd name="T30" fmla="*/ 2147483647 w 612"/>
                <a:gd name="T31" fmla="*/ 2147483647 h 158"/>
                <a:gd name="T32" fmla="*/ 2147483647 w 612"/>
                <a:gd name="T33" fmla="*/ 2147483647 h 158"/>
                <a:gd name="T34" fmla="*/ 2147483647 w 612"/>
                <a:gd name="T35" fmla="*/ 2147483647 h 158"/>
                <a:gd name="T36" fmla="*/ 2147483647 w 612"/>
                <a:gd name="T37" fmla="*/ 2147483647 h 158"/>
                <a:gd name="T38" fmla="*/ 2147483647 w 612"/>
                <a:gd name="T39" fmla="*/ 2147483647 h 158"/>
                <a:gd name="T40" fmla="*/ 2147483647 w 612"/>
                <a:gd name="T41" fmla="*/ 2147483647 h 158"/>
                <a:gd name="T42" fmla="*/ 2147483647 w 612"/>
                <a:gd name="T43" fmla="*/ 2147483647 h 158"/>
                <a:gd name="T44" fmla="*/ 2147483647 w 612"/>
                <a:gd name="T45" fmla="*/ 2147483647 h 158"/>
                <a:gd name="T46" fmla="*/ 2147483647 w 612"/>
                <a:gd name="T47" fmla="*/ 2147483647 h 158"/>
                <a:gd name="T48" fmla="*/ 2147483647 w 612"/>
                <a:gd name="T49" fmla="*/ 2147483647 h 158"/>
                <a:gd name="T50" fmla="*/ 2147483647 w 612"/>
                <a:gd name="T51" fmla="*/ 2147483647 h 158"/>
                <a:gd name="T52" fmla="*/ 2147483647 w 612"/>
                <a:gd name="T53" fmla="*/ 2147483647 h 158"/>
                <a:gd name="T54" fmla="*/ 2147483647 w 612"/>
                <a:gd name="T55" fmla="*/ 2147483647 h 158"/>
                <a:gd name="T56" fmla="*/ 2147483647 w 612"/>
                <a:gd name="T57" fmla="*/ 1738585362 h 158"/>
                <a:gd name="T58" fmla="*/ 2147483647 w 612"/>
                <a:gd name="T59" fmla="*/ 0 h 158"/>
                <a:gd name="T60" fmla="*/ 2147483647 w 612"/>
                <a:gd name="T61" fmla="*/ 735808850 h 158"/>
                <a:gd name="T62" fmla="*/ 2147483647 w 612"/>
                <a:gd name="T63" fmla="*/ 1805879220 h 158"/>
                <a:gd name="T64" fmla="*/ 2147483647 w 612"/>
                <a:gd name="T65" fmla="*/ 2147483647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12"/>
                <a:gd name="T100" fmla="*/ 0 h 158"/>
                <a:gd name="T101" fmla="*/ 612 w 612"/>
                <a:gd name="T102" fmla="*/ 158 h 1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12" h="158">
                  <a:moveTo>
                    <a:pt x="54" y="48"/>
                  </a:moveTo>
                  <a:lnTo>
                    <a:pt x="57" y="72"/>
                  </a:lnTo>
                  <a:lnTo>
                    <a:pt x="68" y="84"/>
                  </a:lnTo>
                  <a:lnTo>
                    <a:pt x="68" y="98"/>
                  </a:lnTo>
                  <a:lnTo>
                    <a:pt x="93" y="102"/>
                  </a:lnTo>
                  <a:lnTo>
                    <a:pt x="113" y="95"/>
                  </a:lnTo>
                  <a:lnTo>
                    <a:pt x="131" y="80"/>
                  </a:lnTo>
                  <a:lnTo>
                    <a:pt x="167" y="80"/>
                  </a:lnTo>
                  <a:lnTo>
                    <a:pt x="195" y="80"/>
                  </a:lnTo>
                  <a:lnTo>
                    <a:pt x="231" y="71"/>
                  </a:lnTo>
                  <a:lnTo>
                    <a:pt x="246" y="74"/>
                  </a:lnTo>
                  <a:lnTo>
                    <a:pt x="255" y="68"/>
                  </a:lnTo>
                  <a:lnTo>
                    <a:pt x="269" y="72"/>
                  </a:lnTo>
                  <a:lnTo>
                    <a:pt x="246" y="84"/>
                  </a:lnTo>
                  <a:lnTo>
                    <a:pt x="233" y="80"/>
                  </a:lnTo>
                  <a:lnTo>
                    <a:pt x="219" y="81"/>
                  </a:lnTo>
                  <a:lnTo>
                    <a:pt x="188" y="87"/>
                  </a:lnTo>
                  <a:lnTo>
                    <a:pt x="167" y="89"/>
                  </a:lnTo>
                  <a:lnTo>
                    <a:pt x="134" y="89"/>
                  </a:lnTo>
                  <a:lnTo>
                    <a:pt x="113" y="107"/>
                  </a:lnTo>
                  <a:lnTo>
                    <a:pt x="80" y="119"/>
                  </a:lnTo>
                  <a:lnTo>
                    <a:pt x="62" y="110"/>
                  </a:lnTo>
                  <a:lnTo>
                    <a:pt x="45" y="95"/>
                  </a:lnTo>
                  <a:lnTo>
                    <a:pt x="47" y="74"/>
                  </a:lnTo>
                  <a:lnTo>
                    <a:pt x="35" y="87"/>
                  </a:lnTo>
                  <a:lnTo>
                    <a:pt x="26" y="102"/>
                  </a:lnTo>
                  <a:lnTo>
                    <a:pt x="9" y="129"/>
                  </a:lnTo>
                  <a:lnTo>
                    <a:pt x="0" y="150"/>
                  </a:lnTo>
                  <a:lnTo>
                    <a:pt x="12" y="158"/>
                  </a:lnTo>
                  <a:lnTo>
                    <a:pt x="27" y="141"/>
                  </a:lnTo>
                  <a:lnTo>
                    <a:pt x="206" y="143"/>
                  </a:lnTo>
                  <a:lnTo>
                    <a:pt x="204" y="107"/>
                  </a:lnTo>
                  <a:lnTo>
                    <a:pt x="231" y="108"/>
                  </a:lnTo>
                  <a:lnTo>
                    <a:pt x="264" y="98"/>
                  </a:lnTo>
                  <a:lnTo>
                    <a:pt x="302" y="102"/>
                  </a:lnTo>
                  <a:lnTo>
                    <a:pt x="320" y="95"/>
                  </a:lnTo>
                  <a:lnTo>
                    <a:pt x="333" y="65"/>
                  </a:lnTo>
                  <a:lnTo>
                    <a:pt x="348" y="57"/>
                  </a:lnTo>
                  <a:lnTo>
                    <a:pt x="368" y="74"/>
                  </a:lnTo>
                  <a:lnTo>
                    <a:pt x="398" y="89"/>
                  </a:lnTo>
                  <a:lnTo>
                    <a:pt x="431" y="101"/>
                  </a:lnTo>
                  <a:lnTo>
                    <a:pt x="465" y="114"/>
                  </a:lnTo>
                  <a:lnTo>
                    <a:pt x="491" y="129"/>
                  </a:lnTo>
                  <a:lnTo>
                    <a:pt x="542" y="135"/>
                  </a:lnTo>
                  <a:lnTo>
                    <a:pt x="551" y="119"/>
                  </a:lnTo>
                  <a:lnTo>
                    <a:pt x="600" y="108"/>
                  </a:lnTo>
                  <a:lnTo>
                    <a:pt x="612" y="90"/>
                  </a:lnTo>
                  <a:lnTo>
                    <a:pt x="608" y="74"/>
                  </a:lnTo>
                  <a:lnTo>
                    <a:pt x="579" y="54"/>
                  </a:lnTo>
                  <a:lnTo>
                    <a:pt x="554" y="62"/>
                  </a:lnTo>
                  <a:lnTo>
                    <a:pt x="530" y="72"/>
                  </a:lnTo>
                  <a:lnTo>
                    <a:pt x="498" y="77"/>
                  </a:lnTo>
                  <a:lnTo>
                    <a:pt x="479" y="66"/>
                  </a:lnTo>
                  <a:lnTo>
                    <a:pt x="470" y="44"/>
                  </a:lnTo>
                  <a:lnTo>
                    <a:pt x="449" y="38"/>
                  </a:lnTo>
                  <a:lnTo>
                    <a:pt x="432" y="47"/>
                  </a:lnTo>
                  <a:lnTo>
                    <a:pt x="413" y="41"/>
                  </a:lnTo>
                  <a:lnTo>
                    <a:pt x="413" y="26"/>
                  </a:lnTo>
                  <a:lnTo>
                    <a:pt x="390" y="12"/>
                  </a:lnTo>
                  <a:lnTo>
                    <a:pt x="357" y="0"/>
                  </a:lnTo>
                  <a:lnTo>
                    <a:pt x="324" y="17"/>
                  </a:lnTo>
                  <a:lnTo>
                    <a:pt x="308" y="11"/>
                  </a:lnTo>
                  <a:lnTo>
                    <a:pt x="293" y="17"/>
                  </a:lnTo>
                  <a:lnTo>
                    <a:pt x="281" y="27"/>
                  </a:lnTo>
                  <a:lnTo>
                    <a:pt x="275" y="50"/>
                  </a:lnTo>
                  <a:lnTo>
                    <a:pt x="54" y="48"/>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3" name="Freeform 268">
              <a:extLst>
                <a:ext uri="{FF2B5EF4-FFF2-40B4-BE49-F238E27FC236}">
                  <a16:creationId xmlns:a16="http://schemas.microsoft.com/office/drawing/2014/main" id="{6DC8DC4D-C87E-C428-53A9-D7D08A6CEC6E}"/>
                </a:ext>
              </a:extLst>
            </p:cNvPr>
            <p:cNvSpPr>
              <a:spLocks/>
            </p:cNvSpPr>
            <p:nvPr/>
          </p:nvSpPr>
          <p:spPr bwMode="auto">
            <a:xfrm>
              <a:off x="4054090" y="3792929"/>
              <a:ext cx="76195" cy="48400"/>
            </a:xfrm>
            <a:custGeom>
              <a:avLst/>
              <a:gdLst>
                <a:gd name="T0" fmla="*/ 0 w 594"/>
                <a:gd name="T1" fmla="*/ 2147483647 h 387"/>
                <a:gd name="T2" fmla="*/ 2147483647 w 594"/>
                <a:gd name="T3" fmla="*/ 2147483647 h 387"/>
                <a:gd name="T4" fmla="*/ 2147483647 w 594"/>
                <a:gd name="T5" fmla="*/ 2147483647 h 387"/>
                <a:gd name="T6" fmla="*/ 2147483647 w 594"/>
                <a:gd name="T7" fmla="*/ 2147483647 h 387"/>
                <a:gd name="T8" fmla="*/ 2147483647 w 594"/>
                <a:gd name="T9" fmla="*/ 2147483647 h 387"/>
                <a:gd name="T10" fmla="*/ 2147483647 w 594"/>
                <a:gd name="T11" fmla="*/ 2147483647 h 387"/>
                <a:gd name="T12" fmla="*/ 2147483647 w 594"/>
                <a:gd name="T13" fmla="*/ 2147483647 h 387"/>
                <a:gd name="T14" fmla="*/ 2147483647 w 594"/>
                <a:gd name="T15" fmla="*/ 2147483647 h 387"/>
                <a:gd name="T16" fmla="*/ 2147483647 w 594"/>
                <a:gd name="T17" fmla="*/ 2147483647 h 387"/>
                <a:gd name="T18" fmla="*/ 2147483647 w 594"/>
                <a:gd name="T19" fmla="*/ 2147483647 h 387"/>
                <a:gd name="T20" fmla="*/ 2147483647 w 594"/>
                <a:gd name="T21" fmla="*/ 2147483647 h 387"/>
                <a:gd name="T22" fmla="*/ 2147483647 w 594"/>
                <a:gd name="T23" fmla="*/ 2147483647 h 387"/>
                <a:gd name="T24" fmla="*/ 2147483647 w 594"/>
                <a:gd name="T25" fmla="*/ 2147483647 h 387"/>
                <a:gd name="T26" fmla="*/ 2147483647 w 594"/>
                <a:gd name="T27" fmla="*/ 2147483647 h 387"/>
                <a:gd name="T28" fmla="*/ 2147483647 w 594"/>
                <a:gd name="T29" fmla="*/ 2147483647 h 387"/>
                <a:gd name="T30" fmla="*/ 2147483647 w 594"/>
                <a:gd name="T31" fmla="*/ 2147483647 h 387"/>
                <a:gd name="T32" fmla="*/ 2147483647 w 594"/>
                <a:gd name="T33" fmla="*/ 2147483647 h 387"/>
                <a:gd name="T34" fmla="*/ 2147483647 w 594"/>
                <a:gd name="T35" fmla="*/ 2147483647 h 387"/>
                <a:gd name="T36" fmla="*/ 2147483647 w 594"/>
                <a:gd name="T37" fmla="*/ 2147483647 h 387"/>
                <a:gd name="T38" fmla="*/ 2147483647 w 594"/>
                <a:gd name="T39" fmla="*/ 2147483647 h 387"/>
                <a:gd name="T40" fmla="*/ 2147483647 w 594"/>
                <a:gd name="T41" fmla="*/ 2147483647 h 387"/>
                <a:gd name="T42" fmla="*/ 2147483647 w 594"/>
                <a:gd name="T43" fmla="*/ 2147483647 h 387"/>
                <a:gd name="T44" fmla="*/ 2147483647 w 594"/>
                <a:gd name="T45" fmla="*/ 2147483647 h 387"/>
                <a:gd name="T46" fmla="*/ 2147483647 w 594"/>
                <a:gd name="T47" fmla="*/ 2147483647 h 387"/>
                <a:gd name="T48" fmla="*/ 2147483647 w 594"/>
                <a:gd name="T49" fmla="*/ 2147483647 h 387"/>
                <a:gd name="T50" fmla="*/ 2147483647 w 594"/>
                <a:gd name="T51" fmla="*/ 2147483647 h 387"/>
                <a:gd name="T52" fmla="*/ 2147483647 w 594"/>
                <a:gd name="T53" fmla="*/ 2147483647 h 387"/>
                <a:gd name="T54" fmla="*/ 2147483647 w 594"/>
                <a:gd name="T55" fmla="*/ 1706853741 h 387"/>
                <a:gd name="T56" fmla="*/ 2147483647 w 594"/>
                <a:gd name="T57" fmla="*/ 275523581 h 387"/>
                <a:gd name="T58" fmla="*/ 2147483647 w 594"/>
                <a:gd name="T59" fmla="*/ 164929719 h 387"/>
                <a:gd name="T60" fmla="*/ 2147483647 w 594"/>
                <a:gd name="T61" fmla="*/ 0 h 387"/>
                <a:gd name="T62" fmla="*/ 2147483647 w 594"/>
                <a:gd name="T63" fmla="*/ 0 h 387"/>
                <a:gd name="T64" fmla="*/ 2147483647 w 594"/>
                <a:gd name="T65" fmla="*/ 2147483647 h 387"/>
                <a:gd name="T66" fmla="*/ 2147483647 w 594"/>
                <a:gd name="T67" fmla="*/ 2147483647 h 387"/>
                <a:gd name="T68" fmla="*/ 2147483647 w 594"/>
                <a:gd name="T69" fmla="*/ 2147483647 h 387"/>
                <a:gd name="T70" fmla="*/ 2147483647 w 594"/>
                <a:gd name="T71" fmla="*/ 2147483647 h 387"/>
                <a:gd name="T72" fmla="*/ 0 w 594"/>
                <a:gd name="T73" fmla="*/ 2147483647 h 3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94"/>
                <a:gd name="T112" fmla="*/ 0 h 387"/>
                <a:gd name="T113" fmla="*/ 594 w 594"/>
                <a:gd name="T114" fmla="*/ 387 h 3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94" h="387">
                  <a:moveTo>
                    <a:pt x="0" y="75"/>
                  </a:moveTo>
                  <a:lnTo>
                    <a:pt x="37" y="159"/>
                  </a:lnTo>
                  <a:lnTo>
                    <a:pt x="157" y="159"/>
                  </a:lnTo>
                  <a:lnTo>
                    <a:pt x="207" y="217"/>
                  </a:lnTo>
                  <a:lnTo>
                    <a:pt x="211" y="305"/>
                  </a:lnTo>
                  <a:lnTo>
                    <a:pt x="301" y="387"/>
                  </a:lnTo>
                  <a:lnTo>
                    <a:pt x="331" y="373"/>
                  </a:lnTo>
                  <a:lnTo>
                    <a:pt x="354" y="315"/>
                  </a:lnTo>
                  <a:lnTo>
                    <a:pt x="384" y="259"/>
                  </a:lnTo>
                  <a:lnTo>
                    <a:pt x="417" y="259"/>
                  </a:lnTo>
                  <a:lnTo>
                    <a:pt x="453" y="241"/>
                  </a:lnTo>
                  <a:lnTo>
                    <a:pt x="469" y="225"/>
                  </a:lnTo>
                  <a:lnTo>
                    <a:pt x="498" y="229"/>
                  </a:lnTo>
                  <a:lnTo>
                    <a:pt x="538" y="226"/>
                  </a:lnTo>
                  <a:lnTo>
                    <a:pt x="546" y="210"/>
                  </a:lnTo>
                  <a:lnTo>
                    <a:pt x="561" y="222"/>
                  </a:lnTo>
                  <a:lnTo>
                    <a:pt x="575" y="213"/>
                  </a:lnTo>
                  <a:lnTo>
                    <a:pt x="574" y="147"/>
                  </a:lnTo>
                  <a:lnTo>
                    <a:pt x="561" y="144"/>
                  </a:lnTo>
                  <a:lnTo>
                    <a:pt x="546" y="127"/>
                  </a:lnTo>
                  <a:lnTo>
                    <a:pt x="531" y="115"/>
                  </a:lnTo>
                  <a:lnTo>
                    <a:pt x="537" y="102"/>
                  </a:lnTo>
                  <a:lnTo>
                    <a:pt x="550" y="91"/>
                  </a:lnTo>
                  <a:lnTo>
                    <a:pt x="567" y="96"/>
                  </a:lnTo>
                  <a:lnTo>
                    <a:pt x="583" y="93"/>
                  </a:lnTo>
                  <a:lnTo>
                    <a:pt x="588" y="66"/>
                  </a:lnTo>
                  <a:lnTo>
                    <a:pt x="594" y="49"/>
                  </a:lnTo>
                  <a:lnTo>
                    <a:pt x="580" y="31"/>
                  </a:lnTo>
                  <a:lnTo>
                    <a:pt x="579" y="5"/>
                  </a:lnTo>
                  <a:lnTo>
                    <a:pt x="439" y="3"/>
                  </a:lnTo>
                  <a:lnTo>
                    <a:pt x="340" y="0"/>
                  </a:lnTo>
                  <a:lnTo>
                    <a:pt x="285" y="0"/>
                  </a:lnTo>
                  <a:lnTo>
                    <a:pt x="210" y="58"/>
                  </a:lnTo>
                  <a:lnTo>
                    <a:pt x="154" y="52"/>
                  </a:lnTo>
                  <a:lnTo>
                    <a:pt x="90" y="52"/>
                  </a:lnTo>
                  <a:lnTo>
                    <a:pt x="60" y="73"/>
                  </a:lnTo>
                  <a:lnTo>
                    <a:pt x="0" y="75"/>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4" name="Freeform 58">
              <a:extLst>
                <a:ext uri="{FF2B5EF4-FFF2-40B4-BE49-F238E27FC236}">
                  <a16:creationId xmlns:a16="http://schemas.microsoft.com/office/drawing/2014/main" id="{DC7579E8-1D24-6C04-95C6-9AA84A6C7A58}"/>
                </a:ext>
              </a:extLst>
            </p:cNvPr>
            <p:cNvSpPr>
              <a:spLocks/>
            </p:cNvSpPr>
            <p:nvPr/>
          </p:nvSpPr>
          <p:spPr bwMode="auto">
            <a:xfrm>
              <a:off x="4056332" y="3371157"/>
              <a:ext cx="293572" cy="354934"/>
            </a:xfrm>
            <a:custGeom>
              <a:avLst/>
              <a:gdLst>
                <a:gd name="T0" fmla="*/ 2147483647 w 655"/>
                <a:gd name="T1" fmla="*/ 2147483647 h 768"/>
                <a:gd name="T2" fmla="*/ 2147483647 w 655"/>
                <a:gd name="T3" fmla="*/ 2147483647 h 768"/>
                <a:gd name="T4" fmla="*/ 2147483647 w 655"/>
                <a:gd name="T5" fmla="*/ 2147483647 h 768"/>
                <a:gd name="T6" fmla="*/ 2147483647 w 655"/>
                <a:gd name="T7" fmla="*/ 2147483647 h 768"/>
                <a:gd name="T8" fmla="*/ 2147483647 w 655"/>
                <a:gd name="T9" fmla="*/ 2147483647 h 768"/>
                <a:gd name="T10" fmla="*/ 2147483647 w 655"/>
                <a:gd name="T11" fmla="*/ 2147483647 h 768"/>
                <a:gd name="T12" fmla="*/ 2147483647 w 655"/>
                <a:gd name="T13" fmla="*/ 2147483647 h 768"/>
                <a:gd name="T14" fmla="*/ 2147483647 w 655"/>
                <a:gd name="T15" fmla="*/ 2147483647 h 768"/>
                <a:gd name="T16" fmla="*/ 0 w 655"/>
                <a:gd name="T17" fmla="*/ 2147483647 h 768"/>
                <a:gd name="T18" fmla="*/ 2147483647 w 655"/>
                <a:gd name="T19" fmla="*/ 2147483647 h 768"/>
                <a:gd name="T20" fmla="*/ 2147483647 w 655"/>
                <a:gd name="T21" fmla="*/ 2147483647 h 768"/>
                <a:gd name="T22" fmla="*/ 2147483647 w 655"/>
                <a:gd name="T23" fmla="*/ 2147483647 h 768"/>
                <a:gd name="T24" fmla="*/ 2147483647 w 655"/>
                <a:gd name="T25" fmla="*/ 2147483647 h 768"/>
                <a:gd name="T26" fmla="*/ 2147483647 w 655"/>
                <a:gd name="T27" fmla="*/ 2147483647 h 768"/>
                <a:gd name="T28" fmla="*/ 2147483647 w 655"/>
                <a:gd name="T29" fmla="*/ 2147483647 h 768"/>
                <a:gd name="T30" fmla="*/ 2147483647 w 655"/>
                <a:gd name="T31" fmla="*/ 2147483647 h 768"/>
                <a:gd name="T32" fmla="*/ 2147483647 w 655"/>
                <a:gd name="T33" fmla="*/ 2147483647 h 768"/>
                <a:gd name="T34" fmla="*/ 2147483647 w 655"/>
                <a:gd name="T35" fmla="*/ 2147483647 h 768"/>
                <a:gd name="T36" fmla="*/ 2147483647 w 655"/>
                <a:gd name="T37" fmla="*/ 2147483647 h 768"/>
                <a:gd name="T38" fmla="*/ 2147483647 w 655"/>
                <a:gd name="T39" fmla="*/ 2147483647 h 768"/>
                <a:gd name="T40" fmla="*/ 2147483647 w 655"/>
                <a:gd name="T41" fmla="*/ 2147483647 h 768"/>
                <a:gd name="T42" fmla="*/ 2147483647 w 655"/>
                <a:gd name="T43" fmla="*/ 2147483647 h 768"/>
                <a:gd name="T44" fmla="*/ 2147483647 w 655"/>
                <a:gd name="T45" fmla="*/ 2147483647 h 768"/>
                <a:gd name="T46" fmla="*/ 2147483647 w 655"/>
                <a:gd name="T47" fmla="*/ 2147483647 h 768"/>
                <a:gd name="T48" fmla="*/ 2147483647 w 655"/>
                <a:gd name="T49" fmla="*/ 2147483647 h 768"/>
                <a:gd name="T50" fmla="*/ 2147483647 w 655"/>
                <a:gd name="T51" fmla="*/ 2147483647 h 768"/>
                <a:gd name="T52" fmla="*/ 2147483647 w 655"/>
                <a:gd name="T53" fmla="*/ 2147483647 h 768"/>
                <a:gd name="T54" fmla="*/ 2147483647 w 655"/>
                <a:gd name="T55" fmla="*/ 0 h 768"/>
                <a:gd name="T56" fmla="*/ 2147483647 w 655"/>
                <a:gd name="T57" fmla="*/ 2147483647 h 768"/>
                <a:gd name="T58" fmla="*/ 2147483647 w 655"/>
                <a:gd name="T59" fmla="*/ 2147483647 h 768"/>
                <a:gd name="T60" fmla="*/ 2147483647 w 655"/>
                <a:gd name="T61" fmla="*/ 2147483647 h 768"/>
                <a:gd name="T62" fmla="*/ 2147483647 w 655"/>
                <a:gd name="T63" fmla="*/ 2147483647 h 768"/>
                <a:gd name="T64" fmla="*/ 2147483647 w 655"/>
                <a:gd name="T65" fmla="*/ 2147483647 h 768"/>
                <a:gd name="T66" fmla="*/ 2147483647 w 655"/>
                <a:gd name="T67" fmla="*/ 2147483647 h 768"/>
                <a:gd name="T68" fmla="*/ 2147483647 w 655"/>
                <a:gd name="T69" fmla="*/ 2147483647 h 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5"/>
                <a:gd name="T106" fmla="*/ 0 h 768"/>
                <a:gd name="T107" fmla="*/ 1225886 w 655"/>
                <a:gd name="T108" fmla="*/ 1427412 h 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5" h="768">
                  <a:moveTo>
                    <a:pt x="14" y="306"/>
                  </a:moveTo>
                  <a:lnTo>
                    <a:pt x="20" y="346"/>
                  </a:lnTo>
                  <a:lnTo>
                    <a:pt x="42" y="370"/>
                  </a:lnTo>
                  <a:lnTo>
                    <a:pt x="40" y="397"/>
                  </a:lnTo>
                  <a:lnTo>
                    <a:pt x="16" y="422"/>
                  </a:lnTo>
                  <a:lnTo>
                    <a:pt x="31" y="458"/>
                  </a:lnTo>
                  <a:lnTo>
                    <a:pt x="30" y="485"/>
                  </a:lnTo>
                  <a:lnTo>
                    <a:pt x="20" y="541"/>
                  </a:lnTo>
                  <a:lnTo>
                    <a:pt x="0" y="600"/>
                  </a:lnTo>
                  <a:lnTo>
                    <a:pt x="25" y="702"/>
                  </a:lnTo>
                  <a:lnTo>
                    <a:pt x="45" y="683"/>
                  </a:lnTo>
                  <a:lnTo>
                    <a:pt x="61" y="681"/>
                  </a:lnTo>
                  <a:lnTo>
                    <a:pt x="72" y="674"/>
                  </a:lnTo>
                  <a:lnTo>
                    <a:pt x="82" y="678"/>
                  </a:lnTo>
                  <a:lnTo>
                    <a:pt x="99" y="669"/>
                  </a:lnTo>
                  <a:lnTo>
                    <a:pt x="112" y="674"/>
                  </a:lnTo>
                  <a:lnTo>
                    <a:pt x="132" y="674"/>
                  </a:lnTo>
                  <a:lnTo>
                    <a:pt x="145" y="684"/>
                  </a:lnTo>
                  <a:lnTo>
                    <a:pt x="159" y="702"/>
                  </a:lnTo>
                  <a:lnTo>
                    <a:pt x="183" y="704"/>
                  </a:lnTo>
                  <a:lnTo>
                    <a:pt x="190" y="722"/>
                  </a:lnTo>
                  <a:lnTo>
                    <a:pt x="199" y="735"/>
                  </a:lnTo>
                  <a:lnTo>
                    <a:pt x="213" y="750"/>
                  </a:lnTo>
                  <a:lnTo>
                    <a:pt x="225" y="765"/>
                  </a:lnTo>
                  <a:lnTo>
                    <a:pt x="237" y="768"/>
                  </a:lnTo>
                  <a:lnTo>
                    <a:pt x="253" y="762"/>
                  </a:lnTo>
                  <a:lnTo>
                    <a:pt x="285" y="764"/>
                  </a:lnTo>
                  <a:lnTo>
                    <a:pt x="310" y="752"/>
                  </a:lnTo>
                  <a:lnTo>
                    <a:pt x="348" y="763"/>
                  </a:lnTo>
                  <a:lnTo>
                    <a:pt x="417" y="733"/>
                  </a:lnTo>
                  <a:lnTo>
                    <a:pt x="624" y="764"/>
                  </a:lnTo>
                  <a:lnTo>
                    <a:pt x="655" y="729"/>
                  </a:lnTo>
                  <a:lnTo>
                    <a:pt x="627" y="687"/>
                  </a:lnTo>
                  <a:lnTo>
                    <a:pt x="589" y="187"/>
                  </a:lnTo>
                  <a:lnTo>
                    <a:pt x="651" y="155"/>
                  </a:lnTo>
                  <a:lnTo>
                    <a:pt x="465" y="0"/>
                  </a:lnTo>
                  <a:lnTo>
                    <a:pt x="467" y="53"/>
                  </a:lnTo>
                  <a:lnTo>
                    <a:pt x="444" y="106"/>
                  </a:lnTo>
                  <a:lnTo>
                    <a:pt x="278" y="109"/>
                  </a:lnTo>
                  <a:lnTo>
                    <a:pt x="280" y="182"/>
                  </a:lnTo>
                  <a:lnTo>
                    <a:pt x="268" y="265"/>
                  </a:lnTo>
                  <a:lnTo>
                    <a:pt x="218" y="310"/>
                  </a:lnTo>
                  <a:lnTo>
                    <a:pt x="14" y="30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5" name="Freeform 51">
              <a:extLst>
                <a:ext uri="{FF2B5EF4-FFF2-40B4-BE49-F238E27FC236}">
                  <a16:creationId xmlns:a16="http://schemas.microsoft.com/office/drawing/2014/main" id="{DE6268E5-E284-E3C8-7E6A-A298DE815E82}"/>
                </a:ext>
              </a:extLst>
            </p:cNvPr>
            <p:cNvSpPr>
              <a:spLocks/>
            </p:cNvSpPr>
            <p:nvPr/>
          </p:nvSpPr>
          <p:spPr bwMode="auto">
            <a:xfrm>
              <a:off x="4163899" y="3442605"/>
              <a:ext cx="432514" cy="417163"/>
            </a:xfrm>
            <a:custGeom>
              <a:avLst/>
              <a:gdLst>
                <a:gd name="T0" fmla="*/ 2147483647 w 967"/>
                <a:gd name="T1" fmla="*/ 0 h 905"/>
                <a:gd name="T2" fmla="*/ 2147483647 w 967"/>
                <a:gd name="T3" fmla="*/ 2147483647 h 905"/>
                <a:gd name="T4" fmla="*/ 2147483647 w 967"/>
                <a:gd name="T5" fmla="*/ 2147483647 h 905"/>
                <a:gd name="T6" fmla="*/ 2147483647 w 967"/>
                <a:gd name="T7" fmla="*/ 2147483647 h 905"/>
                <a:gd name="T8" fmla="*/ 2147483647 w 967"/>
                <a:gd name="T9" fmla="*/ 2147483647 h 905"/>
                <a:gd name="T10" fmla="*/ 2147483647 w 967"/>
                <a:gd name="T11" fmla="*/ 2147483647 h 905"/>
                <a:gd name="T12" fmla="*/ 2147483647 w 967"/>
                <a:gd name="T13" fmla="*/ 2147483647 h 905"/>
                <a:gd name="T14" fmla="*/ 2147483647 w 967"/>
                <a:gd name="T15" fmla="*/ 2147483647 h 905"/>
                <a:gd name="T16" fmla="*/ 2147483647 w 967"/>
                <a:gd name="T17" fmla="*/ 2147483647 h 905"/>
                <a:gd name="T18" fmla="*/ 0 w 967"/>
                <a:gd name="T19" fmla="*/ 2147483647 h 905"/>
                <a:gd name="T20" fmla="*/ 2147483647 w 967"/>
                <a:gd name="T21" fmla="*/ 2147483647 h 905"/>
                <a:gd name="T22" fmla="*/ 2147483647 w 967"/>
                <a:gd name="T23" fmla="*/ 2147483647 h 905"/>
                <a:gd name="T24" fmla="*/ 2147483647 w 967"/>
                <a:gd name="T25" fmla="*/ 2147483647 h 905"/>
                <a:gd name="T26" fmla="*/ 2147483647 w 967"/>
                <a:gd name="T27" fmla="*/ 2147483647 h 905"/>
                <a:gd name="T28" fmla="*/ 2147483647 w 967"/>
                <a:gd name="T29" fmla="*/ 2147483647 h 905"/>
                <a:gd name="T30" fmla="*/ 2147483647 w 967"/>
                <a:gd name="T31" fmla="*/ 2147483647 h 905"/>
                <a:gd name="T32" fmla="*/ 2147483647 w 967"/>
                <a:gd name="T33" fmla="*/ 2147483647 h 905"/>
                <a:gd name="T34" fmla="*/ 2147483647 w 967"/>
                <a:gd name="T35" fmla="*/ 2147483647 h 905"/>
                <a:gd name="T36" fmla="*/ 2147483647 w 967"/>
                <a:gd name="T37" fmla="*/ 2147483647 h 905"/>
                <a:gd name="T38" fmla="*/ 2147483647 w 967"/>
                <a:gd name="T39" fmla="*/ 2147483647 h 905"/>
                <a:gd name="T40" fmla="*/ 2147483647 w 967"/>
                <a:gd name="T41" fmla="*/ 2147483647 h 905"/>
                <a:gd name="T42" fmla="*/ 2147483647 w 967"/>
                <a:gd name="T43" fmla="*/ 2147483647 h 905"/>
                <a:gd name="T44" fmla="*/ 2147483647 w 967"/>
                <a:gd name="T45" fmla="*/ 2147483647 h 905"/>
                <a:gd name="T46" fmla="*/ 2147483647 w 967"/>
                <a:gd name="T47" fmla="*/ 2147483647 h 905"/>
                <a:gd name="T48" fmla="*/ 2147483647 w 967"/>
                <a:gd name="T49" fmla="*/ 2147483647 h 905"/>
                <a:gd name="T50" fmla="*/ 2147483647 w 967"/>
                <a:gd name="T51" fmla="*/ 2147483647 h 905"/>
                <a:gd name="T52" fmla="*/ 2147483647 w 967"/>
                <a:gd name="T53" fmla="*/ 2147483647 h 905"/>
                <a:gd name="T54" fmla="*/ 2147483647 w 967"/>
                <a:gd name="T55" fmla="*/ 2147483647 h 905"/>
                <a:gd name="T56" fmla="*/ 2147483647 w 967"/>
                <a:gd name="T57" fmla="*/ 2147483647 h 905"/>
                <a:gd name="T58" fmla="*/ 2147483647 w 967"/>
                <a:gd name="T59" fmla="*/ 2147483647 h 905"/>
                <a:gd name="T60" fmla="*/ 2147483647 w 967"/>
                <a:gd name="T61" fmla="*/ 2147483647 h 905"/>
                <a:gd name="T62" fmla="*/ 2147483647 w 967"/>
                <a:gd name="T63" fmla="*/ 2147483647 h 905"/>
                <a:gd name="T64" fmla="*/ 2147483647 w 967"/>
                <a:gd name="T65" fmla="*/ 2147483647 h 905"/>
                <a:gd name="T66" fmla="*/ 2147483647 w 967"/>
                <a:gd name="T67" fmla="*/ 2147483647 h 905"/>
                <a:gd name="T68" fmla="*/ 2147483647 w 967"/>
                <a:gd name="T69" fmla="*/ 2147483647 h 905"/>
                <a:gd name="T70" fmla="*/ 2147483647 w 967"/>
                <a:gd name="T71" fmla="*/ 2147483647 h 905"/>
                <a:gd name="T72" fmla="*/ 2147483647 w 967"/>
                <a:gd name="T73" fmla="*/ 2147483647 h 905"/>
                <a:gd name="T74" fmla="*/ 2147483647 w 967"/>
                <a:gd name="T75" fmla="*/ 2147483647 h 905"/>
                <a:gd name="T76" fmla="*/ 2147483647 w 967"/>
                <a:gd name="T77" fmla="*/ 2147483647 h 905"/>
                <a:gd name="T78" fmla="*/ 2147483647 w 967"/>
                <a:gd name="T79" fmla="*/ 2147483647 h 905"/>
                <a:gd name="T80" fmla="*/ 2147483647 w 967"/>
                <a:gd name="T81" fmla="*/ 2147483647 h 905"/>
                <a:gd name="T82" fmla="*/ 2147483647 w 967"/>
                <a:gd name="T83" fmla="*/ 2147483647 h 905"/>
                <a:gd name="T84" fmla="*/ 2147483647 w 967"/>
                <a:gd name="T85" fmla="*/ 2147483647 h 905"/>
                <a:gd name="T86" fmla="*/ 2147483647 w 967"/>
                <a:gd name="T87" fmla="*/ 2147483647 h 905"/>
                <a:gd name="T88" fmla="*/ 2147483647 w 967"/>
                <a:gd name="T89" fmla="*/ 2147483647 h 905"/>
                <a:gd name="T90" fmla="*/ 2147483647 w 967"/>
                <a:gd name="T91" fmla="*/ 2147483647 h 905"/>
                <a:gd name="T92" fmla="*/ 2147483647 w 967"/>
                <a:gd name="T93" fmla="*/ 2147483647 h 905"/>
                <a:gd name="T94" fmla="*/ 2147483647 w 967"/>
                <a:gd name="T95" fmla="*/ 2147483647 h 905"/>
                <a:gd name="T96" fmla="*/ 2147483647 w 967"/>
                <a:gd name="T97" fmla="*/ 2147483647 h 905"/>
                <a:gd name="T98" fmla="*/ 2147483647 w 967"/>
                <a:gd name="T99" fmla="*/ 2147483647 h 905"/>
                <a:gd name="T100" fmla="*/ 2147483647 w 967"/>
                <a:gd name="T101" fmla="*/ 0 h 9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7"/>
                <a:gd name="T154" fmla="*/ 0 h 905"/>
                <a:gd name="T155" fmla="*/ 1783556 w 967"/>
                <a:gd name="T156" fmla="*/ 1685925 h 90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7" h="905">
                  <a:moveTo>
                    <a:pt x="412" y="0"/>
                  </a:moveTo>
                  <a:lnTo>
                    <a:pt x="352" y="31"/>
                  </a:lnTo>
                  <a:lnTo>
                    <a:pt x="388" y="532"/>
                  </a:lnTo>
                  <a:lnTo>
                    <a:pt x="417" y="573"/>
                  </a:lnTo>
                  <a:lnTo>
                    <a:pt x="386" y="608"/>
                  </a:lnTo>
                  <a:lnTo>
                    <a:pt x="180" y="578"/>
                  </a:lnTo>
                  <a:lnTo>
                    <a:pt x="108" y="607"/>
                  </a:lnTo>
                  <a:lnTo>
                    <a:pt x="69" y="597"/>
                  </a:lnTo>
                  <a:lnTo>
                    <a:pt x="48" y="608"/>
                  </a:lnTo>
                  <a:lnTo>
                    <a:pt x="7" y="610"/>
                  </a:lnTo>
                  <a:lnTo>
                    <a:pt x="0" y="613"/>
                  </a:lnTo>
                  <a:lnTo>
                    <a:pt x="2" y="627"/>
                  </a:lnTo>
                  <a:lnTo>
                    <a:pt x="20" y="637"/>
                  </a:lnTo>
                  <a:lnTo>
                    <a:pt x="14" y="651"/>
                  </a:lnTo>
                  <a:lnTo>
                    <a:pt x="26" y="660"/>
                  </a:lnTo>
                  <a:lnTo>
                    <a:pt x="33" y="684"/>
                  </a:lnTo>
                  <a:lnTo>
                    <a:pt x="24" y="696"/>
                  </a:lnTo>
                  <a:lnTo>
                    <a:pt x="39" y="715"/>
                  </a:lnTo>
                  <a:lnTo>
                    <a:pt x="53" y="712"/>
                  </a:lnTo>
                  <a:lnTo>
                    <a:pt x="66" y="736"/>
                  </a:lnTo>
                  <a:lnTo>
                    <a:pt x="65" y="757"/>
                  </a:lnTo>
                  <a:lnTo>
                    <a:pt x="70" y="770"/>
                  </a:lnTo>
                  <a:lnTo>
                    <a:pt x="98" y="790"/>
                  </a:lnTo>
                  <a:lnTo>
                    <a:pt x="131" y="805"/>
                  </a:lnTo>
                  <a:lnTo>
                    <a:pt x="165" y="787"/>
                  </a:lnTo>
                  <a:lnTo>
                    <a:pt x="199" y="780"/>
                  </a:lnTo>
                  <a:lnTo>
                    <a:pt x="215" y="807"/>
                  </a:lnTo>
                  <a:lnTo>
                    <a:pt x="234" y="840"/>
                  </a:lnTo>
                  <a:lnTo>
                    <a:pt x="240" y="865"/>
                  </a:lnTo>
                  <a:lnTo>
                    <a:pt x="266" y="896"/>
                  </a:lnTo>
                  <a:lnTo>
                    <a:pt x="307" y="899"/>
                  </a:lnTo>
                  <a:lnTo>
                    <a:pt x="331" y="882"/>
                  </a:lnTo>
                  <a:lnTo>
                    <a:pt x="358" y="873"/>
                  </a:lnTo>
                  <a:lnTo>
                    <a:pt x="374" y="905"/>
                  </a:lnTo>
                  <a:lnTo>
                    <a:pt x="407" y="895"/>
                  </a:lnTo>
                  <a:lnTo>
                    <a:pt x="413" y="864"/>
                  </a:lnTo>
                  <a:lnTo>
                    <a:pt x="405" y="827"/>
                  </a:lnTo>
                  <a:lnTo>
                    <a:pt x="427" y="801"/>
                  </a:lnTo>
                  <a:lnTo>
                    <a:pt x="454" y="784"/>
                  </a:lnTo>
                  <a:lnTo>
                    <a:pt x="474" y="775"/>
                  </a:lnTo>
                  <a:lnTo>
                    <a:pt x="469" y="750"/>
                  </a:lnTo>
                  <a:lnTo>
                    <a:pt x="517" y="714"/>
                  </a:lnTo>
                  <a:lnTo>
                    <a:pt x="550" y="692"/>
                  </a:lnTo>
                  <a:lnTo>
                    <a:pt x="585" y="661"/>
                  </a:lnTo>
                  <a:lnTo>
                    <a:pt x="618" y="646"/>
                  </a:lnTo>
                  <a:lnTo>
                    <a:pt x="668" y="629"/>
                  </a:lnTo>
                  <a:lnTo>
                    <a:pt x="735" y="626"/>
                  </a:lnTo>
                  <a:lnTo>
                    <a:pt x="810" y="604"/>
                  </a:lnTo>
                  <a:lnTo>
                    <a:pt x="893" y="596"/>
                  </a:lnTo>
                  <a:lnTo>
                    <a:pt x="959" y="566"/>
                  </a:lnTo>
                  <a:lnTo>
                    <a:pt x="967" y="382"/>
                  </a:lnTo>
                  <a:lnTo>
                    <a:pt x="913" y="380"/>
                  </a:lnTo>
                  <a:lnTo>
                    <a:pt x="900" y="323"/>
                  </a:lnTo>
                  <a:lnTo>
                    <a:pt x="871" y="323"/>
                  </a:lnTo>
                  <a:lnTo>
                    <a:pt x="830" y="302"/>
                  </a:lnTo>
                  <a:lnTo>
                    <a:pt x="784" y="272"/>
                  </a:lnTo>
                  <a:lnTo>
                    <a:pt x="757" y="234"/>
                  </a:lnTo>
                  <a:lnTo>
                    <a:pt x="671" y="178"/>
                  </a:lnTo>
                  <a:lnTo>
                    <a:pt x="529" y="81"/>
                  </a:lnTo>
                  <a:lnTo>
                    <a:pt x="412" y="0"/>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6" name="Freeform 62">
              <a:extLst>
                <a:ext uri="{FF2B5EF4-FFF2-40B4-BE49-F238E27FC236}">
                  <a16:creationId xmlns:a16="http://schemas.microsoft.com/office/drawing/2014/main" id="{96A29251-1CA5-6606-1DED-77A9C385976C}"/>
                </a:ext>
              </a:extLst>
            </p:cNvPr>
            <p:cNvSpPr>
              <a:spLocks/>
            </p:cNvSpPr>
            <p:nvPr/>
          </p:nvSpPr>
          <p:spPr bwMode="auto">
            <a:xfrm>
              <a:off x="4092187" y="3792929"/>
              <a:ext cx="190484" cy="135982"/>
            </a:xfrm>
            <a:custGeom>
              <a:avLst/>
              <a:gdLst>
                <a:gd name="T0" fmla="*/ 2147483647 w 423"/>
                <a:gd name="T1" fmla="*/ 2147483647 h 295"/>
                <a:gd name="T2" fmla="*/ 2147483647 w 423"/>
                <a:gd name="T3" fmla="*/ 2147483647 h 295"/>
                <a:gd name="T4" fmla="*/ 2147483647 w 423"/>
                <a:gd name="T5" fmla="*/ 2147483647 h 295"/>
                <a:gd name="T6" fmla="*/ 2147483647 w 423"/>
                <a:gd name="T7" fmla="*/ 2147483647 h 295"/>
                <a:gd name="T8" fmla="*/ 2147483647 w 423"/>
                <a:gd name="T9" fmla="*/ 2147483647 h 295"/>
                <a:gd name="T10" fmla="*/ 2147483647 w 423"/>
                <a:gd name="T11" fmla="*/ 2147483647 h 295"/>
                <a:gd name="T12" fmla="*/ 2147483647 w 423"/>
                <a:gd name="T13" fmla="*/ 2147483647 h 295"/>
                <a:gd name="T14" fmla="*/ 2147483647 w 423"/>
                <a:gd name="T15" fmla="*/ 2147483647 h 295"/>
                <a:gd name="T16" fmla="*/ 2147483647 w 423"/>
                <a:gd name="T17" fmla="*/ 2147483647 h 295"/>
                <a:gd name="T18" fmla="*/ 2147483647 w 423"/>
                <a:gd name="T19" fmla="*/ 2147483647 h 295"/>
                <a:gd name="T20" fmla="*/ 2147483647 w 423"/>
                <a:gd name="T21" fmla="*/ 2147483647 h 295"/>
                <a:gd name="T22" fmla="*/ 2147483647 w 423"/>
                <a:gd name="T23" fmla="*/ 2147483647 h 295"/>
                <a:gd name="T24" fmla="*/ 2147483647 w 423"/>
                <a:gd name="T25" fmla="*/ 2147483647 h 295"/>
                <a:gd name="T26" fmla="*/ 2147483647 w 423"/>
                <a:gd name="T27" fmla="*/ 2147483647 h 295"/>
                <a:gd name="T28" fmla="*/ 2147483647 w 423"/>
                <a:gd name="T29" fmla="*/ 2147483647 h 295"/>
                <a:gd name="T30" fmla="*/ 2147483647 w 423"/>
                <a:gd name="T31" fmla="*/ 2147483647 h 295"/>
                <a:gd name="T32" fmla="*/ 2147483647 w 423"/>
                <a:gd name="T33" fmla="*/ 2147483647 h 295"/>
                <a:gd name="T34" fmla="*/ 2147483647 w 423"/>
                <a:gd name="T35" fmla="*/ 2147483647 h 295"/>
                <a:gd name="T36" fmla="*/ 2147483647 w 423"/>
                <a:gd name="T37" fmla="*/ 0 h 295"/>
                <a:gd name="T38" fmla="*/ 2147483647 w 423"/>
                <a:gd name="T39" fmla="*/ 2147483647 h 295"/>
                <a:gd name="T40" fmla="*/ 2147483647 w 423"/>
                <a:gd name="T41" fmla="*/ 2147483647 h 295"/>
                <a:gd name="T42" fmla="*/ 2147483647 w 423"/>
                <a:gd name="T43" fmla="*/ 2147483647 h 295"/>
                <a:gd name="T44" fmla="*/ 2147483647 w 423"/>
                <a:gd name="T45" fmla="*/ 2147483647 h 295"/>
                <a:gd name="T46" fmla="*/ 2147483647 w 423"/>
                <a:gd name="T47" fmla="*/ 2147483647 h 295"/>
                <a:gd name="T48" fmla="*/ 0 w 423"/>
                <a:gd name="T49" fmla="*/ 2147483647 h 295"/>
                <a:gd name="T50" fmla="*/ 2147483647 w 423"/>
                <a:gd name="T51" fmla="*/ 2147483647 h 295"/>
                <a:gd name="T52" fmla="*/ 2147483647 w 423"/>
                <a:gd name="T53" fmla="*/ 2147483647 h 295"/>
                <a:gd name="T54" fmla="*/ 2147483647 w 423"/>
                <a:gd name="T55" fmla="*/ 2147483647 h 295"/>
                <a:gd name="T56" fmla="*/ 2147483647 w 423"/>
                <a:gd name="T57" fmla="*/ 2147483647 h 295"/>
                <a:gd name="T58" fmla="*/ 2147483647 w 423"/>
                <a:gd name="T59" fmla="*/ 2147483647 h 295"/>
                <a:gd name="T60" fmla="*/ 2147483647 w 423"/>
                <a:gd name="T61" fmla="*/ 2147483647 h 295"/>
                <a:gd name="T62" fmla="*/ 2147483647 w 423"/>
                <a:gd name="T63" fmla="*/ 2147483647 h 295"/>
                <a:gd name="T64" fmla="*/ 2147483647 w 423"/>
                <a:gd name="T65" fmla="*/ 2147483647 h 295"/>
                <a:gd name="T66" fmla="*/ 2147483647 w 423"/>
                <a:gd name="T67" fmla="*/ 2147483647 h 295"/>
                <a:gd name="T68" fmla="*/ 2147483647 w 423"/>
                <a:gd name="T69" fmla="*/ 2147483647 h 295"/>
                <a:gd name="T70" fmla="*/ 2147483647 w 423"/>
                <a:gd name="T71" fmla="*/ 2147483647 h 295"/>
                <a:gd name="T72" fmla="*/ 2147483647 w 423"/>
                <a:gd name="T73" fmla="*/ 2147483647 h 295"/>
                <a:gd name="T74" fmla="*/ 2147483647 w 423"/>
                <a:gd name="T75" fmla="*/ 2147483647 h 295"/>
                <a:gd name="T76" fmla="*/ 2147483647 w 423"/>
                <a:gd name="T77" fmla="*/ 2147483647 h 295"/>
                <a:gd name="T78" fmla="*/ 2147483647 w 423"/>
                <a:gd name="T79" fmla="*/ 2147483647 h 295"/>
                <a:gd name="T80" fmla="*/ 2147483647 w 423"/>
                <a:gd name="T81" fmla="*/ 2147483647 h 295"/>
                <a:gd name="T82" fmla="*/ 2147483647 w 423"/>
                <a:gd name="T83" fmla="*/ 2147483647 h 295"/>
                <a:gd name="T84" fmla="*/ 2147483647 w 423"/>
                <a:gd name="T85" fmla="*/ 2147483647 h 295"/>
                <a:gd name="T86" fmla="*/ 2147483647 w 423"/>
                <a:gd name="T87" fmla="*/ 2147483647 h 2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3"/>
                <a:gd name="T133" fmla="*/ 0 h 295"/>
                <a:gd name="T134" fmla="*/ 744140 w 423"/>
                <a:gd name="T135" fmla="*/ 545334 h 2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3" h="295">
                  <a:moveTo>
                    <a:pt x="351" y="289"/>
                  </a:moveTo>
                  <a:lnTo>
                    <a:pt x="373" y="295"/>
                  </a:lnTo>
                  <a:lnTo>
                    <a:pt x="394" y="295"/>
                  </a:lnTo>
                  <a:lnTo>
                    <a:pt x="412" y="265"/>
                  </a:lnTo>
                  <a:lnTo>
                    <a:pt x="420" y="236"/>
                  </a:lnTo>
                  <a:lnTo>
                    <a:pt x="422" y="195"/>
                  </a:lnTo>
                  <a:lnTo>
                    <a:pt x="423" y="137"/>
                  </a:lnTo>
                  <a:lnTo>
                    <a:pt x="399" y="104"/>
                  </a:lnTo>
                  <a:lnTo>
                    <a:pt x="389" y="74"/>
                  </a:lnTo>
                  <a:lnTo>
                    <a:pt x="354" y="18"/>
                  </a:lnTo>
                  <a:lnTo>
                    <a:pt x="323" y="27"/>
                  </a:lnTo>
                  <a:lnTo>
                    <a:pt x="289" y="44"/>
                  </a:lnTo>
                  <a:lnTo>
                    <a:pt x="256" y="29"/>
                  </a:lnTo>
                  <a:lnTo>
                    <a:pt x="224" y="9"/>
                  </a:lnTo>
                  <a:lnTo>
                    <a:pt x="212" y="14"/>
                  </a:lnTo>
                  <a:lnTo>
                    <a:pt x="188" y="11"/>
                  </a:lnTo>
                  <a:lnTo>
                    <a:pt x="165" y="17"/>
                  </a:lnTo>
                  <a:lnTo>
                    <a:pt x="145" y="10"/>
                  </a:lnTo>
                  <a:lnTo>
                    <a:pt x="126" y="8"/>
                  </a:lnTo>
                  <a:lnTo>
                    <a:pt x="114" y="0"/>
                  </a:lnTo>
                  <a:lnTo>
                    <a:pt x="96" y="0"/>
                  </a:lnTo>
                  <a:lnTo>
                    <a:pt x="81" y="0"/>
                  </a:lnTo>
                  <a:lnTo>
                    <a:pt x="83" y="15"/>
                  </a:lnTo>
                  <a:lnTo>
                    <a:pt x="78" y="24"/>
                  </a:lnTo>
                  <a:lnTo>
                    <a:pt x="66" y="29"/>
                  </a:lnTo>
                  <a:lnTo>
                    <a:pt x="77" y="44"/>
                  </a:lnTo>
                  <a:lnTo>
                    <a:pt x="75" y="57"/>
                  </a:lnTo>
                  <a:lnTo>
                    <a:pt x="63" y="62"/>
                  </a:lnTo>
                  <a:lnTo>
                    <a:pt x="47" y="62"/>
                  </a:lnTo>
                  <a:lnTo>
                    <a:pt x="35" y="69"/>
                  </a:lnTo>
                  <a:lnTo>
                    <a:pt x="23" y="74"/>
                  </a:lnTo>
                  <a:lnTo>
                    <a:pt x="9" y="99"/>
                  </a:lnTo>
                  <a:lnTo>
                    <a:pt x="0" y="108"/>
                  </a:lnTo>
                  <a:lnTo>
                    <a:pt x="24" y="117"/>
                  </a:lnTo>
                  <a:lnTo>
                    <a:pt x="37" y="135"/>
                  </a:lnTo>
                  <a:lnTo>
                    <a:pt x="63" y="153"/>
                  </a:lnTo>
                  <a:lnTo>
                    <a:pt x="96" y="172"/>
                  </a:lnTo>
                  <a:lnTo>
                    <a:pt x="114" y="207"/>
                  </a:lnTo>
                  <a:lnTo>
                    <a:pt x="135" y="191"/>
                  </a:lnTo>
                  <a:lnTo>
                    <a:pt x="154" y="168"/>
                  </a:lnTo>
                  <a:lnTo>
                    <a:pt x="163" y="145"/>
                  </a:lnTo>
                  <a:lnTo>
                    <a:pt x="194" y="142"/>
                  </a:lnTo>
                  <a:lnTo>
                    <a:pt x="214" y="148"/>
                  </a:lnTo>
                  <a:lnTo>
                    <a:pt x="235" y="165"/>
                  </a:lnTo>
                  <a:lnTo>
                    <a:pt x="259" y="192"/>
                  </a:lnTo>
                  <a:lnTo>
                    <a:pt x="269" y="214"/>
                  </a:lnTo>
                  <a:lnTo>
                    <a:pt x="279" y="235"/>
                  </a:lnTo>
                  <a:lnTo>
                    <a:pt x="291" y="243"/>
                  </a:lnTo>
                  <a:lnTo>
                    <a:pt x="300" y="261"/>
                  </a:lnTo>
                  <a:lnTo>
                    <a:pt x="322" y="260"/>
                  </a:lnTo>
                  <a:lnTo>
                    <a:pt x="336" y="274"/>
                  </a:lnTo>
                  <a:lnTo>
                    <a:pt x="351" y="289"/>
                  </a:lnTo>
                  <a:close/>
                </a:path>
              </a:pathLst>
            </a:custGeom>
            <a:solidFill>
              <a:srgbClr val="A3B18A"/>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7" name="Freeform 427">
              <a:extLst>
                <a:ext uri="{FF2B5EF4-FFF2-40B4-BE49-F238E27FC236}">
                  <a16:creationId xmlns:a16="http://schemas.microsoft.com/office/drawing/2014/main" id="{1BA010C1-9A11-7F98-C4E5-514803115A5B}"/>
                </a:ext>
              </a:extLst>
            </p:cNvPr>
            <p:cNvSpPr>
              <a:spLocks noChangeAspect="1"/>
            </p:cNvSpPr>
            <p:nvPr/>
          </p:nvSpPr>
          <p:spPr bwMode="auto">
            <a:xfrm rot="21398148">
              <a:off x="5593664" y="4429043"/>
              <a:ext cx="8965" cy="20744"/>
            </a:xfrm>
            <a:custGeom>
              <a:avLst/>
              <a:gdLst>
                <a:gd name="T0" fmla="*/ 1345433959 w 176"/>
                <a:gd name="T1" fmla="*/ 2147483647 h 342"/>
                <a:gd name="T2" fmla="*/ 0 w 176"/>
                <a:gd name="T3" fmla="*/ 2147483647 h 342"/>
                <a:gd name="T4" fmla="*/ 0 w 176"/>
                <a:gd name="T5" fmla="*/ 2147483647 h 342"/>
                <a:gd name="T6" fmla="*/ 2147483647 w 176"/>
                <a:gd name="T7" fmla="*/ 2147483647 h 342"/>
                <a:gd name="T8" fmla="*/ 2147483647 w 176"/>
                <a:gd name="T9" fmla="*/ 2147483647 h 342"/>
                <a:gd name="T10" fmla="*/ 2147483647 w 176"/>
                <a:gd name="T11" fmla="*/ 2147483647 h 342"/>
                <a:gd name="T12" fmla="*/ 2147483647 w 176"/>
                <a:gd name="T13" fmla="*/ 2147483647 h 342"/>
                <a:gd name="T14" fmla="*/ 2147483647 w 176"/>
                <a:gd name="T15" fmla="*/ 2147483647 h 342"/>
                <a:gd name="T16" fmla="*/ 2147483647 w 176"/>
                <a:gd name="T17" fmla="*/ 2147483647 h 342"/>
                <a:gd name="T18" fmla="*/ 2147483647 w 176"/>
                <a:gd name="T19" fmla="*/ 2147483647 h 342"/>
                <a:gd name="T20" fmla="*/ 2147483647 w 176"/>
                <a:gd name="T21" fmla="*/ 0 h 342"/>
                <a:gd name="T22" fmla="*/ 1345433959 w 176"/>
                <a:gd name="T23" fmla="*/ 2147483647 h 3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6"/>
                <a:gd name="T37" fmla="*/ 0 h 342"/>
                <a:gd name="T38" fmla="*/ 176 w 176"/>
                <a:gd name="T39" fmla="*/ 342 h 3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6" h="342">
                  <a:moveTo>
                    <a:pt x="22" y="72"/>
                  </a:moveTo>
                  <a:lnTo>
                    <a:pt x="0" y="122"/>
                  </a:lnTo>
                  <a:lnTo>
                    <a:pt x="0" y="222"/>
                  </a:lnTo>
                  <a:lnTo>
                    <a:pt x="64" y="258"/>
                  </a:lnTo>
                  <a:lnTo>
                    <a:pt x="116" y="342"/>
                  </a:lnTo>
                  <a:lnTo>
                    <a:pt x="164" y="306"/>
                  </a:lnTo>
                  <a:lnTo>
                    <a:pt x="124" y="226"/>
                  </a:lnTo>
                  <a:lnTo>
                    <a:pt x="100" y="158"/>
                  </a:lnTo>
                  <a:lnTo>
                    <a:pt x="176" y="78"/>
                  </a:lnTo>
                  <a:lnTo>
                    <a:pt x="144" y="18"/>
                  </a:lnTo>
                  <a:lnTo>
                    <a:pt x="82" y="0"/>
                  </a:lnTo>
                  <a:lnTo>
                    <a:pt x="22" y="7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8" name="Freeform 428">
              <a:extLst>
                <a:ext uri="{FF2B5EF4-FFF2-40B4-BE49-F238E27FC236}">
                  <a16:creationId xmlns:a16="http://schemas.microsoft.com/office/drawing/2014/main" id="{CFC9C8AA-38D3-1385-DE3C-CB50CA34F37E}"/>
                </a:ext>
              </a:extLst>
            </p:cNvPr>
            <p:cNvSpPr>
              <a:spLocks noChangeAspect="1"/>
            </p:cNvSpPr>
            <p:nvPr/>
          </p:nvSpPr>
          <p:spPr bwMode="auto">
            <a:xfrm rot="21398148">
              <a:off x="5604868" y="4452091"/>
              <a:ext cx="8965" cy="9220"/>
            </a:xfrm>
            <a:custGeom>
              <a:avLst/>
              <a:gdLst>
                <a:gd name="T0" fmla="*/ 2147483647 w 146"/>
                <a:gd name="T1" fmla="*/ 0 h 140"/>
                <a:gd name="T2" fmla="*/ 0 w 146"/>
                <a:gd name="T3" fmla="*/ 2147483647 h 140"/>
                <a:gd name="T4" fmla="*/ 2147483647 w 146"/>
                <a:gd name="T5" fmla="*/ 2147483647 h 140"/>
                <a:gd name="T6" fmla="*/ 2147483647 w 146"/>
                <a:gd name="T7" fmla="*/ 2147483647 h 140"/>
                <a:gd name="T8" fmla="*/ 2147483647 w 146"/>
                <a:gd name="T9" fmla="*/ 2147483647 h 140"/>
                <a:gd name="T10" fmla="*/ 2147483647 w 146"/>
                <a:gd name="T11" fmla="*/ 2147483647 h 140"/>
                <a:gd name="T12" fmla="*/ 2147483647 w 146"/>
                <a:gd name="T13" fmla="*/ 766090398 h 140"/>
                <a:gd name="T14" fmla="*/ 2147483647 w 146"/>
                <a:gd name="T15" fmla="*/ 0 h 140"/>
                <a:gd name="T16" fmla="*/ 0 60000 65536"/>
                <a:gd name="T17" fmla="*/ 0 60000 65536"/>
                <a:gd name="T18" fmla="*/ 0 60000 65536"/>
                <a:gd name="T19" fmla="*/ 0 60000 65536"/>
                <a:gd name="T20" fmla="*/ 0 60000 65536"/>
                <a:gd name="T21" fmla="*/ 0 60000 65536"/>
                <a:gd name="T22" fmla="*/ 0 60000 65536"/>
                <a:gd name="T23" fmla="*/ 0 60000 65536"/>
                <a:gd name="T24" fmla="*/ 0 w 146"/>
                <a:gd name="T25" fmla="*/ 0 h 140"/>
                <a:gd name="T26" fmla="*/ 146 w 146"/>
                <a:gd name="T27" fmla="*/ 140 h 1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6" h="140">
                  <a:moveTo>
                    <a:pt x="46" y="0"/>
                  </a:moveTo>
                  <a:lnTo>
                    <a:pt x="0" y="42"/>
                  </a:lnTo>
                  <a:lnTo>
                    <a:pt x="38" y="100"/>
                  </a:lnTo>
                  <a:lnTo>
                    <a:pt x="90" y="140"/>
                  </a:lnTo>
                  <a:lnTo>
                    <a:pt x="146" y="104"/>
                  </a:lnTo>
                  <a:lnTo>
                    <a:pt x="138" y="48"/>
                  </a:lnTo>
                  <a:lnTo>
                    <a:pt x="106" y="4"/>
                  </a:lnTo>
                  <a:lnTo>
                    <a:pt x="46"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59" name="Freeform 429">
              <a:extLst>
                <a:ext uri="{FF2B5EF4-FFF2-40B4-BE49-F238E27FC236}">
                  <a16:creationId xmlns:a16="http://schemas.microsoft.com/office/drawing/2014/main" id="{E45DE698-5536-D8BB-D962-B21944324CE0}"/>
                </a:ext>
              </a:extLst>
            </p:cNvPr>
            <p:cNvSpPr>
              <a:spLocks noChangeAspect="1"/>
            </p:cNvSpPr>
            <p:nvPr/>
          </p:nvSpPr>
          <p:spPr bwMode="auto">
            <a:xfrm rot="21398148">
              <a:off x="5618314" y="4449788"/>
              <a:ext cx="6724" cy="9220"/>
            </a:xfrm>
            <a:custGeom>
              <a:avLst/>
              <a:gdLst>
                <a:gd name="T0" fmla="*/ 2147483647 w 126"/>
                <a:gd name="T1" fmla="*/ 0 h 132"/>
                <a:gd name="T2" fmla="*/ 0 w 126"/>
                <a:gd name="T3" fmla="*/ 2147483647 h 132"/>
                <a:gd name="T4" fmla="*/ 2147483647 w 126"/>
                <a:gd name="T5" fmla="*/ 2147483647 h 132"/>
                <a:gd name="T6" fmla="*/ 2147483647 w 126"/>
                <a:gd name="T7" fmla="*/ 2147483647 h 132"/>
                <a:gd name="T8" fmla="*/ 2147483647 w 126"/>
                <a:gd name="T9" fmla="*/ 2147483647 h 132"/>
                <a:gd name="T10" fmla="*/ 2147483647 w 126"/>
                <a:gd name="T11" fmla="*/ 2147483647 h 132"/>
                <a:gd name="T12" fmla="*/ 2147483647 w 126"/>
                <a:gd name="T13" fmla="*/ 1028214321 h 132"/>
                <a:gd name="T14" fmla="*/ 2147483647 w 126"/>
                <a:gd name="T15" fmla="*/ 0 h 132"/>
                <a:gd name="T16" fmla="*/ 0 60000 65536"/>
                <a:gd name="T17" fmla="*/ 0 60000 65536"/>
                <a:gd name="T18" fmla="*/ 0 60000 65536"/>
                <a:gd name="T19" fmla="*/ 0 60000 65536"/>
                <a:gd name="T20" fmla="*/ 0 60000 65536"/>
                <a:gd name="T21" fmla="*/ 0 60000 65536"/>
                <a:gd name="T22" fmla="*/ 0 60000 65536"/>
                <a:gd name="T23" fmla="*/ 0 60000 65536"/>
                <a:gd name="T24" fmla="*/ 0 w 126"/>
                <a:gd name="T25" fmla="*/ 0 h 132"/>
                <a:gd name="T26" fmla="*/ 126 w 126"/>
                <a:gd name="T27" fmla="*/ 132 h 1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6" h="132">
                  <a:moveTo>
                    <a:pt x="46" y="0"/>
                  </a:moveTo>
                  <a:lnTo>
                    <a:pt x="0" y="42"/>
                  </a:lnTo>
                  <a:lnTo>
                    <a:pt x="38" y="100"/>
                  </a:lnTo>
                  <a:lnTo>
                    <a:pt x="70" y="132"/>
                  </a:lnTo>
                  <a:lnTo>
                    <a:pt x="126" y="116"/>
                  </a:lnTo>
                  <a:lnTo>
                    <a:pt x="122" y="60"/>
                  </a:lnTo>
                  <a:lnTo>
                    <a:pt x="106" y="4"/>
                  </a:lnTo>
                  <a:lnTo>
                    <a:pt x="46" y="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nvGrpSpPr>
            <p:cNvPr id="260" name="Group 430">
              <a:extLst>
                <a:ext uri="{FF2B5EF4-FFF2-40B4-BE49-F238E27FC236}">
                  <a16:creationId xmlns:a16="http://schemas.microsoft.com/office/drawing/2014/main" id="{D1FDA2B3-4C4E-7C73-B087-8EB5BE212F02}"/>
                </a:ext>
              </a:extLst>
            </p:cNvPr>
            <p:cNvGrpSpPr>
              <a:grpSpLocks noChangeAspect="1"/>
            </p:cNvGrpSpPr>
            <p:nvPr/>
          </p:nvGrpSpPr>
          <p:grpSpPr bwMode="auto">
            <a:xfrm rot="21398148">
              <a:off x="5640878" y="4350638"/>
              <a:ext cx="121025" cy="80666"/>
              <a:chOff x="3018" y="2803"/>
              <a:chExt cx="191" cy="122"/>
            </a:xfrm>
            <a:solidFill>
              <a:srgbClr val="E0E0E0"/>
            </a:solidFill>
          </p:grpSpPr>
          <p:sp>
            <p:nvSpPr>
              <p:cNvPr id="272" name="Freeform 431">
                <a:extLst>
                  <a:ext uri="{FF2B5EF4-FFF2-40B4-BE49-F238E27FC236}">
                    <a16:creationId xmlns:a16="http://schemas.microsoft.com/office/drawing/2014/main" id="{C8BC2B9E-B51D-4789-439A-19186AA1EBC2}"/>
                  </a:ext>
                </a:extLst>
              </p:cNvPr>
              <p:cNvSpPr>
                <a:spLocks noChangeAspect="1"/>
              </p:cNvSpPr>
              <p:nvPr/>
            </p:nvSpPr>
            <p:spPr bwMode="auto">
              <a:xfrm>
                <a:off x="3174" y="2821"/>
                <a:ext cx="14" cy="19"/>
              </a:xfrm>
              <a:custGeom>
                <a:avLst/>
                <a:gdLst>
                  <a:gd name="T0" fmla="*/ 0 w 155"/>
                  <a:gd name="T1" fmla="*/ 0 h 207"/>
                  <a:gd name="T2" fmla="*/ 0 w 155"/>
                  <a:gd name="T3" fmla="*/ 0 h 207"/>
                  <a:gd name="T4" fmla="*/ 0 w 155"/>
                  <a:gd name="T5" fmla="*/ 0 h 207"/>
                  <a:gd name="T6" fmla="*/ 0 w 155"/>
                  <a:gd name="T7" fmla="*/ 0 h 207"/>
                  <a:gd name="T8" fmla="*/ 0 w 155"/>
                  <a:gd name="T9" fmla="*/ 0 h 207"/>
                  <a:gd name="T10" fmla="*/ 0 w 155"/>
                  <a:gd name="T11" fmla="*/ 0 h 207"/>
                  <a:gd name="T12" fmla="*/ 0 w 155"/>
                  <a:gd name="T13" fmla="*/ 0 h 207"/>
                  <a:gd name="T14" fmla="*/ 0 w 155"/>
                  <a:gd name="T15" fmla="*/ 0 h 207"/>
                  <a:gd name="T16" fmla="*/ 0 w 155"/>
                  <a:gd name="T17" fmla="*/ 0 h 207"/>
                  <a:gd name="T18" fmla="*/ 0 w 155"/>
                  <a:gd name="T19" fmla="*/ 0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5"/>
                  <a:gd name="T31" fmla="*/ 0 h 207"/>
                  <a:gd name="T32" fmla="*/ 155 w 155"/>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5" h="207">
                    <a:moveTo>
                      <a:pt x="22" y="43"/>
                    </a:moveTo>
                    <a:lnTo>
                      <a:pt x="0" y="93"/>
                    </a:lnTo>
                    <a:lnTo>
                      <a:pt x="59" y="159"/>
                    </a:lnTo>
                    <a:lnTo>
                      <a:pt x="89" y="207"/>
                    </a:lnTo>
                    <a:lnTo>
                      <a:pt x="152" y="180"/>
                    </a:lnTo>
                    <a:lnTo>
                      <a:pt x="155" y="120"/>
                    </a:lnTo>
                    <a:lnTo>
                      <a:pt x="134" y="60"/>
                    </a:lnTo>
                    <a:lnTo>
                      <a:pt x="101" y="18"/>
                    </a:lnTo>
                    <a:lnTo>
                      <a:pt x="53" y="0"/>
                    </a:lnTo>
                    <a:lnTo>
                      <a:pt x="22" y="43"/>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3" name="Freeform 432">
                <a:extLst>
                  <a:ext uri="{FF2B5EF4-FFF2-40B4-BE49-F238E27FC236}">
                    <a16:creationId xmlns:a16="http://schemas.microsoft.com/office/drawing/2014/main" id="{CEE44364-33E8-4E26-6101-7CBD0A059260}"/>
                  </a:ext>
                </a:extLst>
              </p:cNvPr>
              <p:cNvSpPr>
                <a:spLocks noChangeAspect="1"/>
              </p:cNvSpPr>
              <p:nvPr/>
            </p:nvSpPr>
            <p:spPr bwMode="auto">
              <a:xfrm>
                <a:off x="3018" y="2895"/>
                <a:ext cx="16" cy="18"/>
              </a:xfrm>
              <a:custGeom>
                <a:avLst/>
                <a:gdLst>
                  <a:gd name="T0" fmla="*/ 0 w 176"/>
                  <a:gd name="T1" fmla="*/ 0 h 186"/>
                  <a:gd name="T2" fmla="*/ 0 w 176"/>
                  <a:gd name="T3" fmla="*/ 0 h 186"/>
                  <a:gd name="T4" fmla="*/ 0 w 176"/>
                  <a:gd name="T5" fmla="*/ 0 h 186"/>
                  <a:gd name="T6" fmla="*/ 0 w 176"/>
                  <a:gd name="T7" fmla="*/ 0 h 186"/>
                  <a:gd name="T8" fmla="*/ 0 w 176"/>
                  <a:gd name="T9" fmla="*/ 0 h 186"/>
                  <a:gd name="T10" fmla="*/ 0 w 176"/>
                  <a:gd name="T11" fmla="*/ 0 h 186"/>
                  <a:gd name="T12" fmla="*/ 0 w 176"/>
                  <a:gd name="T13" fmla="*/ 0 h 186"/>
                  <a:gd name="T14" fmla="*/ 0 w 176"/>
                  <a:gd name="T15" fmla="*/ 0 h 186"/>
                  <a:gd name="T16" fmla="*/ 0 w 176"/>
                  <a:gd name="T17" fmla="*/ 0 h 186"/>
                  <a:gd name="T18" fmla="*/ 0 w 176"/>
                  <a:gd name="T19" fmla="*/ 0 h 186"/>
                  <a:gd name="T20" fmla="*/ 0 w 176"/>
                  <a:gd name="T21" fmla="*/ 0 h 186"/>
                  <a:gd name="T22" fmla="*/ 0 w 176"/>
                  <a:gd name="T23" fmla="*/ 0 h 1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6"/>
                  <a:gd name="T37" fmla="*/ 0 h 186"/>
                  <a:gd name="T38" fmla="*/ 176 w 176"/>
                  <a:gd name="T39" fmla="*/ 186 h 1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6" h="186">
                    <a:moveTo>
                      <a:pt x="46" y="21"/>
                    </a:moveTo>
                    <a:lnTo>
                      <a:pt x="0" y="63"/>
                    </a:lnTo>
                    <a:lnTo>
                      <a:pt x="38" y="121"/>
                    </a:lnTo>
                    <a:lnTo>
                      <a:pt x="71" y="186"/>
                    </a:lnTo>
                    <a:lnTo>
                      <a:pt x="119" y="180"/>
                    </a:lnTo>
                    <a:lnTo>
                      <a:pt x="176" y="111"/>
                    </a:lnTo>
                    <a:lnTo>
                      <a:pt x="167" y="66"/>
                    </a:lnTo>
                    <a:lnTo>
                      <a:pt x="119" y="96"/>
                    </a:lnTo>
                    <a:lnTo>
                      <a:pt x="83" y="69"/>
                    </a:lnTo>
                    <a:lnTo>
                      <a:pt x="107" y="36"/>
                    </a:lnTo>
                    <a:lnTo>
                      <a:pt x="98" y="0"/>
                    </a:lnTo>
                    <a:lnTo>
                      <a:pt x="46" y="21"/>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4" name="Freeform 433">
                <a:extLst>
                  <a:ext uri="{FF2B5EF4-FFF2-40B4-BE49-F238E27FC236}">
                    <a16:creationId xmlns:a16="http://schemas.microsoft.com/office/drawing/2014/main" id="{3D27F33E-FE91-6872-8B0F-8F14A44B8062}"/>
                  </a:ext>
                </a:extLst>
              </p:cNvPr>
              <p:cNvSpPr>
                <a:spLocks noChangeAspect="1"/>
              </p:cNvSpPr>
              <p:nvPr/>
            </p:nvSpPr>
            <p:spPr bwMode="auto">
              <a:xfrm>
                <a:off x="3061" y="2915"/>
                <a:ext cx="14" cy="10"/>
              </a:xfrm>
              <a:custGeom>
                <a:avLst/>
                <a:gdLst>
                  <a:gd name="T0" fmla="*/ 0 w 153"/>
                  <a:gd name="T1" fmla="*/ 0 h 108"/>
                  <a:gd name="T2" fmla="*/ 0 w 153"/>
                  <a:gd name="T3" fmla="*/ 0 h 108"/>
                  <a:gd name="T4" fmla="*/ 0 w 153"/>
                  <a:gd name="T5" fmla="*/ 0 h 108"/>
                  <a:gd name="T6" fmla="*/ 0 w 153"/>
                  <a:gd name="T7" fmla="*/ 0 h 108"/>
                  <a:gd name="T8" fmla="*/ 0 w 153"/>
                  <a:gd name="T9" fmla="*/ 0 h 108"/>
                  <a:gd name="T10" fmla="*/ 0 w 153"/>
                  <a:gd name="T11" fmla="*/ 0 h 108"/>
                  <a:gd name="T12" fmla="*/ 0 w 153"/>
                  <a:gd name="T13" fmla="*/ 0 h 108"/>
                  <a:gd name="T14" fmla="*/ 0 w 153"/>
                  <a:gd name="T15" fmla="*/ 0 h 108"/>
                  <a:gd name="T16" fmla="*/ 0 60000 65536"/>
                  <a:gd name="T17" fmla="*/ 0 60000 65536"/>
                  <a:gd name="T18" fmla="*/ 0 60000 65536"/>
                  <a:gd name="T19" fmla="*/ 0 60000 65536"/>
                  <a:gd name="T20" fmla="*/ 0 60000 65536"/>
                  <a:gd name="T21" fmla="*/ 0 60000 65536"/>
                  <a:gd name="T22" fmla="*/ 0 60000 65536"/>
                  <a:gd name="T23" fmla="*/ 0 60000 65536"/>
                  <a:gd name="T24" fmla="*/ 0 w 153"/>
                  <a:gd name="T25" fmla="*/ 0 h 108"/>
                  <a:gd name="T26" fmla="*/ 153 w 153"/>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3" h="108">
                    <a:moveTo>
                      <a:pt x="36" y="0"/>
                    </a:moveTo>
                    <a:lnTo>
                      <a:pt x="0" y="32"/>
                    </a:lnTo>
                    <a:lnTo>
                      <a:pt x="38" y="90"/>
                    </a:lnTo>
                    <a:lnTo>
                      <a:pt x="96" y="108"/>
                    </a:lnTo>
                    <a:lnTo>
                      <a:pt x="126" y="106"/>
                    </a:lnTo>
                    <a:lnTo>
                      <a:pt x="153" y="66"/>
                    </a:lnTo>
                    <a:lnTo>
                      <a:pt x="99" y="30"/>
                    </a:lnTo>
                    <a:lnTo>
                      <a:pt x="36"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5" name="Freeform 434">
                <a:extLst>
                  <a:ext uri="{FF2B5EF4-FFF2-40B4-BE49-F238E27FC236}">
                    <a16:creationId xmlns:a16="http://schemas.microsoft.com/office/drawing/2014/main" id="{5ADDC71F-063B-6916-7609-B228203DF12B}"/>
                  </a:ext>
                </a:extLst>
              </p:cNvPr>
              <p:cNvSpPr>
                <a:spLocks noChangeAspect="1"/>
              </p:cNvSpPr>
              <p:nvPr/>
            </p:nvSpPr>
            <p:spPr bwMode="auto">
              <a:xfrm>
                <a:off x="3060" y="2890"/>
                <a:ext cx="11" cy="9"/>
              </a:xfrm>
              <a:custGeom>
                <a:avLst/>
                <a:gdLst>
                  <a:gd name="T0" fmla="*/ 0 w 111"/>
                  <a:gd name="T1" fmla="*/ 0 h 100"/>
                  <a:gd name="T2" fmla="*/ 0 w 111"/>
                  <a:gd name="T3" fmla="*/ 0 h 100"/>
                  <a:gd name="T4" fmla="*/ 0 w 111"/>
                  <a:gd name="T5" fmla="*/ 0 h 100"/>
                  <a:gd name="T6" fmla="*/ 0 w 111"/>
                  <a:gd name="T7" fmla="*/ 0 h 100"/>
                  <a:gd name="T8" fmla="*/ 0 w 111"/>
                  <a:gd name="T9" fmla="*/ 0 h 100"/>
                  <a:gd name="T10" fmla="*/ 0 w 111"/>
                  <a:gd name="T11" fmla="*/ 0 h 100"/>
                  <a:gd name="T12" fmla="*/ 0 w 111"/>
                  <a:gd name="T13" fmla="*/ 0 h 100"/>
                  <a:gd name="T14" fmla="*/ 0 60000 65536"/>
                  <a:gd name="T15" fmla="*/ 0 60000 65536"/>
                  <a:gd name="T16" fmla="*/ 0 60000 65536"/>
                  <a:gd name="T17" fmla="*/ 0 60000 65536"/>
                  <a:gd name="T18" fmla="*/ 0 60000 65536"/>
                  <a:gd name="T19" fmla="*/ 0 60000 65536"/>
                  <a:gd name="T20" fmla="*/ 0 60000 65536"/>
                  <a:gd name="T21" fmla="*/ 0 w 111"/>
                  <a:gd name="T22" fmla="*/ 0 h 100"/>
                  <a:gd name="T23" fmla="*/ 111 w 111"/>
                  <a:gd name="T24" fmla="*/ 100 h 1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 h="100">
                    <a:moveTo>
                      <a:pt x="46" y="0"/>
                    </a:moveTo>
                    <a:lnTo>
                      <a:pt x="0" y="42"/>
                    </a:lnTo>
                    <a:lnTo>
                      <a:pt x="38" y="100"/>
                    </a:lnTo>
                    <a:lnTo>
                      <a:pt x="87" y="94"/>
                    </a:lnTo>
                    <a:lnTo>
                      <a:pt x="111" y="58"/>
                    </a:lnTo>
                    <a:lnTo>
                      <a:pt x="106" y="4"/>
                    </a:lnTo>
                    <a:lnTo>
                      <a:pt x="46"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6" name="Freeform 435">
                <a:extLst>
                  <a:ext uri="{FF2B5EF4-FFF2-40B4-BE49-F238E27FC236}">
                    <a16:creationId xmlns:a16="http://schemas.microsoft.com/office/drawing/2014/main" id="{282EA0EE-C05C-7D5F-70CA-9A9EC06DC154}"/>
                  </a:ext>
                </a:extLst>
              </p:cNvPr>
              <p:cNvSpPr>
                <a:spLocks noChangeAspect="1"/>
              </p:cNvSpPr>
              <p:nvPr/>
            </p:nvSpPr>
            <p:spPr bwMode="auto">
              <a:xfrm>
                <a:off x="3053" y="2906"/>
                <a:ext cx="6" cy="7"/>
              </a:xfrm>
              <a:custGeom>
                <a:avLst/>
                <a:gdLst>
                  <a:gd name="T0" fmla="*/ 0 w 60"/>
                  <a:gd name="T1" fmla="*/ 0 h 75"/>
                  <a:gd name="T2" fmla="*/ 0 w 60"/>
                  <a:gd name="T3" fmla="*/ 0 h 75"/>
                  <a:gd name="T4" fmla="*/ 0 w 60"/>
                  <a:gd name="T5" fmla="*/ 0 h 75"/>
                  <a:gd name="T6" fmla="*/ 0 w 60"/>
                  <a:gd name="T7" fmla="*/ 0 h 75"/>
                  <a:gd name="T8" fmla="*/ 0 w 60"/>
                  <a:gd name="T9" fmla="*/ 0 h 75"/>
                  <a:gd name="T10" fmla="*/ 0 w 60"/>
                  <a:gd name="T11" fmla="*/ 0 h 75"/>
                  <a:gd name="T12" fmla="*/ 0 60000 65536"/>
                  <a:gd name="T13" fmla="*/ 0 60000 65536"/>
                  <a:gd name="T14" fmla="*/ 0 60000 65536"/>
                  <a:gd name="T15" fmla="*/ 0 60000 65536"/>
                  <a:gd name="T16" fmla="*/ 0 60000 65536"/>
                  <a:gd name="T17" fmla="*/ 0 60000 65536"/>
                  <a:gd name="T18" fmla="*/ 0 w 60"/>
                  <a:gd name="T19" fmla="*/ 0 h 75"/>
                  <a:gd name="T20" fmla="*/ 60 w 60"/>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60" h="75">
                    <a:moveTo>
                      <a:pt x="21" y="0"/>
                    </a:moveTo>
                    <a:lnTo>
                      <a:pt x="0" y="27"/>
                    </a:lnTo>
                    <a:lnTo>
                      <a:pt x="14" y="75"/>
                    </a:lnTo>
                    <a:lnTo>
                      <a:pt x="57" y="66"/>
                    </a:lnTo>
                    <a:lnTo>
                      <a:pt x="60" y="21"/>
                    </a:lnTo>
                    <a:lnTo>
                      <a:pt x="21"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7" name="Freeform 436">
                <a:extLst>
                  <a:ext uri="{FF2B5EF4-FFF2-40B4-BE49-F238E27FC236}">
                    <a16:creationId xmlns:a16="http://schemas.microsoft.com/office/drawing/2014/main" id="{9DFEF3FC-C9B0-EE9E-FB45-91D87666AE9D}"/>
                  </a:ext>
                </a:extLst>
              </p:cNvPr>
              <p:cNvSpPr>
                <a:spLocks noChangeAspect="1"/>
              </p:cNvSpPr>
              <p:nvPr/>
            </p:nvSpPr>
            <p:spPr bwMode="auto">
              <a:xfrm>
                <a:off x="3063" y="2904"/>
                <a:ext cx="8" cy="8"/>
              </a:xfrm>
              <a:custGeom>
                <a:avLst/>
                <a:gdLst>
                  <a:gd name="T0" fmla="*/ 0 w 75"/>
                  <a:gd name="T1" fmla="*/ 0 h 87"/>
                  <a:gd name="T2" fmla="*/ 0 w 75"/>
                  <a:gd name="T3" fmla="*/ 0 h 87"/>
                  <a:gd name="T4" fmla="*/ 0 w 75"/>
                  <a:gd name="T5" fmla="*/ 0 h 87"/>
                  <a:gd name="T6" fmla="*/ 0 w 75"/>
                  <a:gd name="T7" fmla="*/ 0 h 87"/>
                  <a:gd name="T8" fmla="*/ 0 w 75"/>
                  <a:gd name="T9" fmla="*/ 0 h 87"/>
                  <a:gd name="T10" fmla="*/ 0 w 75"/>
                  <a:gd name="T11" fmla="*/ 0 h 87"/>
                  <a:gd name="T12" fmla="*/ 0 w 75"/>
                  <a:gd name="T13" fmla="*/ 0 h 87"/>
                  <a:gd name="T14" fmla="*/ 0 60000 65536"/>
                  <a:gd name="T15" fmla="*/ 0 60000 65536"/>
                  <a:gd name="T16" fmla="*/ 0 60000 65536"/>
                  <a:gd name="T17" fmla="*/ 0 60000 65536"/>
                  <a:gd name="T18" fmla="*/ 0 60000 65536"/>
                  <a:gd name="T19" fmla="*/ 0 60000 65536"/>
                  <a:gd name="T20" fmla="*/ 0 60000 65536"/>
                  <a:gd name="T21" fmla="*/ 0 w 75"/>
                  <a:gd name="T22" fmla="*/ 0 h 87"/>
                  <a:gd name="T23" fmla="*/ 75 w 75"/>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87">
                    <a:moveTo>
                      <a:pt x="21" y="0"/>
                    </a:moveTo>
                    <a:lnTo>
                      <a:pt x="0" y="27"/>
                    </a:lnTo>
                    <a:lnTo>
                      <a:pt x="14" y="75"/>
                    </a:lnTo>
                    <a:lnTo>
                      <a:pt x="39" y="87"/>
                    </a:lnTo>
                    <a:lnTo>
                      <a:pt x="75" y="54"/>
                    </a:lnTo>
                    <a:lnTo>
                      <a:pt x="60" y="21"/>
                    </a:lnTo>
                    <a:lnTo>
                      <a:pt x="21"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8" name="Freeform 437">
                <a:extLst>
                  <a:ext uri="{FF2B5EF4-FFF2-40B4-BE49-F238E27FC236}">
                    <a16:creationId xmlns:a16="http://schemas.microsoft.com/office/drawing/2014/main" id="{41C013E1-B589-D7A7-2072-475B84D79E17}"/>
                  </a:ext>
                </a:extLst>
              </p:cNvPr>
              <p:cNvSpPr>
                <a:spLocks noChangeAspect="1"/>
              </p:cNvSpPr>
              <p:nvPr/>
            </p:nvSpPr>
            <p:spPr bwMode="auto">
              <a:xfrm>
                <a:off x="3135" y="2844"/>
                <a:ext cx="9" cy="9"/>
              </a:xfrm>
              <a:custGeom>
                <a:avLst/>
                <a:gdLst>
                  <a:gd name="T0" fmla="*/ 0 w 99"/>
                  <a:gd name="T1" fmla="*/ 0 h 96"/>
                  <a:gd name="T2" fmla="*/ 0 w 99"/>
                  <a:gd name="T3" fmla="*/ 0 h 96"/>
                  <a:gd name="T4" fmla="*/ 0 w 99"/>
                  <a:gd name="T5" fmla="*/ 0 h 96"/>
                  <a:gd name="T6" fmla="*/ 0 w 99"/>
                  <a:gd name="T7" fmla="*/ 0 h 96"/>
                  <a:gd name="T8" fmla="*/ 0 w 99"/>
                  <a:gd name="T9" fmla="*/ 0 h 96"/>
                  <a:gd name="T10" fmla="*/ 0 w 99"/>
                  <a:gd name="T11" fmla="*/ 0 h 96"/>
                  <a:gd name="T12" fmla="*/ 0 w 99"/>
                  <a:gd name="T13" fmla="*/ 0 h 96"/>
                  <a:gd name="T14" fmla="*/ 0 60000 65536"/>
                  <a:gd name="T15" fmla="*/ 0 60000 65536"/>
                  <a:gd name="T16" fmla="*/ 0 60000 65536"/>
                  <a:gd name="T17" fmla="*/ 0 60000 65536"/>
                  <a:gd name="T18" fmla="*/ 0 60000 65536"/>
                  <a:gd name="T19" fmla="*/ 0 60000 65536"/>
                  <a:gd name="T20" fmla="*/ 0 60000 65536"/>
                  <a:gd name="T21" fmla="*/ 0 w 99"/>
                  <a:gd name="T22" fmla="*/ 0 h 96"/>
                  <a:gd name="T23" fmla="*/ 99 w 99"/>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96">
                    <a:moveTo>
                      <a:pt x="48" y="0"/>
                    </a:moveTo>
                    <a:lnTo>
                      <a:pt x="0" y="39"/>
                    </a:lnTo>
                    <a:lnTo>
                      <a:pt x="0" y="84"/>
                    </a:lnTo>
                    <a:lnTo>
                      <a:pt x="48" y="96"/>
                    </a:lnTo>
                    <a:lnTo>
                      <a:pt x="84" y="66"/>
                    </a:lnTo>
                    <a:lnTo>
                      <a:pt x="99" y="27"/>
                    </a:lnTo>
                    <a:lnTo>
                      <a:pt x="48"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9" name="Freeform 438">
                <a:extLst>
                  <a:ext uri="{FF2B5EF4-FFF2-40B4-BE49-F238E27FC236}">
                    <a16:creationId xmlns:a16="http://schemas.microsoft.com/office/drawing/2014/main" id="{61475242-D375-DCB7-0D82-B5E050DF7F1D}"/>
                  </a:ext>
                </a:extLst>
              </p:cNvPr>
              <p:cNvSpPr>
                <a:spLocks noChangeAspect="1"/>
              </p:cNvSpPr>
              <p:nvPr/>
            </p:nvSpPr>
            <p:spPr bwMode="auto">
              <a:xfrm>
                <a:off x="3122" y="2853"/>
                <a:ext cx="7" cy="11"/>
              </a:xfrm>
              <a:custGeom>
                <a:avLst/>
                <a:gdLst>
                  <a:gd name="T0" fmla="*/ 0 w 81"/>
                  <a:gd name="T1" fmla="*/ 0 h 111"/>
                  <a:gd name="T2" fmla="*/ 0 w 81"/>
                  <a:gd name="T3" fmla="*/ 0 h 111"/>
                  <a:gd name="T4" fmla="*/ 0 w 81"/>
                  <a:gd name="T5" fmla="*/ 0 h 111"/>
                  <a:gd name="T6" fmla="*/ 0 w 81"/>
                  <a:gd name="T7" fmla="*/ 0 h 111"/>
                  <a:gd name="T8" fmla="*/ 0 w 81"/>
                  <a:gd name="T9" fmla="*/ 0 h 111"/>
                  <a:gd name="T10" fmla="*/ 0 w 81"/>
                  <a:gd name="T11" fmla="*/ 0 h 111"/>
                  <a:gd name="T12" fmla="*/ 0 w 81"/>
                  <a:gd name="T13" fmla="*/ 0 h 111"/>
                  <a:gd name="T14" fmla="*/ 0 w 81"/>
                  <a:gd name="T15" fmla="*/ 0 h 111"/>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111"/>
                  <a:gd name="T26" fmla="*/ 81 w 81"/>
                  <a:gd name="T27" fmla="*/ 111 h 1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111">
                    <a:moveTo>
                      <a:pt x="21" y="0"/>
                    </a:moveTo>
                    <a:lnTo>
                      <a:pt x="0" y="27"/>
                    </a:lnTo>
                    <a:lnTo>
                      <a:pt x="14" y="75"/>
                    </a:lnTo>
                    <a:lnTo>
                      <a:pt x="42" y="111"/>
                    </a:lnTo>
                    <a:lnTo>
                      <a:pt x="81" y="78"/>
                    </a:lnTo>
                    <a:lnTo>
                      <a:pt x="75" y="30"/>
                    </a:lnTo>
                    <a:lnTo>
                      <a:pt x="51" y="0"/>
                    </a:lnTo>
                    <a:lnTo>
                      <a:pt x="21"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0" name="Freeform 439">
                <a:extLst>
                  <a:ext uri="{FF2B5EF4-FFF2-40B4-BE49-F238E27FC236}">
                    <a16:creationId xmlns:a16="http://schemas.microsoft.com/office/drawing/2014/main" id="{A87E625F-E929-2833-9591-12DC2F3FBC5A}"/>
                  </a:ext>
                </a:extLst>
              </p:cNvPr>
              <p:cNvSpPr>
                <a:spLocks noChangeAspect="1"/>
              </p:cNvSpPr>
              <p:nvPr/>
            </p:nvSpPr>
            <p:spPr bwMode="auto">
              <a:xfrm>
                <a:off x="3142" y="2833"/>
                <a:ext cx="6" cy="8"/>
              </a:xfrm>
              <a:custGeom>
                <a:avLst/>
                <a:gdLst>
                  <a:gd name="T0" fmla="*/ 0 w 66"/>
                  <a:gd name="T1" fmla="*/ 0 h 93"/>
                  <a:gd name="T2" fmla="*/ 0 w 66"/>
                  <a:gd name="T3" fmla="*/ 0 h 93"/>
                  <a:gd name="T4" fmla="*/ 0 w 66"/>
                  <a:gd name="T5" fmla="*/ 0 h 93"/>
                  <a:gd name="T6" fmla="*/ 0 w 66"/>
                  <a:gd name="T7" fmla="*/ 0 h 93"/>
                  <a:gd name="T8" fmla="*/ 0 w 66"/>
                  <a:gd name="T9" fmla="*/ 0 h 93"/>
                  <a:gd name="T10" fmla="*/ 0 w 66"/>
                  <a:gd name="T11" fmla="*/ 0 h 93"/>
                  <a:gd name="T12" fmla="*/ 0 w 66"/>
                  <a:gd name="T13" fmla="*/ 0 h 93"/>
                  <a:gd name="T14" fmla="*/ 0 60000 65536"/>
                  <a:gd name="T15" fmla="*/ 0 60000 65536"/>
                  <a:gd name="T16" fmla="*/ 0 60000 65536"/>
                  <a:gd name="T17" fmla="*/ 0 60000 65536"/>
                  <a:gd name="T18" fmla="*/ 0 60000 65536"/>
                  <a:gd name="T19" fmla="*/ 0 60000 65536"/>
                  <a:gd name="T20" fmla="*/ 0 60000 65536"/>
                  <a:gd name="T21" fmla="*/ 0 w 66"/>
                  <a:gd name="T22" fmla="*/ 0 h 93"/>
                  <a:gd name="T23" fmla="*/ 66 w 66"/>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93">
                    <a:moveTo>
                      <a:pt x="27" y="0"/>
                    </a:moveTo>
                    <a:lnTo>
                      <a:pt x="6" y="27"/>
                    </a:lnTo>
                    <a:lnTo>
                      <a:pt x="0" y="69"/>
                    </a:lnTo>
                    <a:lnTo>
                      <a:pt x="21" y="93"/>
                    </a:lnTo>
                    <a:lnTo>
                      <a:pt x="66" y="84"/>
                    </a:lnTo>
                    <a:lnTo>
                      <a:pt x="66" y="21"/>
                    </a:lnTo>
                    <a:lnTo>
                      <a:pt x="27"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1" name="Freeform 440">
                <a:extLst>
                  <a:ext uri="{FF2B5EF4-FFF2-40B4-BE49-F238E27FC236}">
                    <a16:creationId xmlns:a16="http://schemas.microsoft.com/office/drawing/2014/main" id="{5CDA4219-95B1-0DD4-130F-2285A7922B19}"/>
                  </a:ext>
                </a:extLst>
              </p:cNvPr>
              <p:cNvSpPr>
                <a:spLocks noChangeAspect="1"/>
              </p:cNvSpPr>
              <p:nvPr/>
            </p:nvSpPr>
            <p:spPr bwMode="auto">
              <a:xfrm>
                <a:off x="3117" y="2866"/>
                <a:ext cx="6" cy="7"/>
              </a:xfrm>
              <a:custGeom>
                <a:avLst/>
                <a:gdLst>
                  <a:gd name="T0" fmla="*/ 0 w 60"/>
                  <a:gd name="T1" fmla="*/ 0 h 72"/>
                  <a:gd name="T2" fmla="*/ 0 w 60"/>
                  <a:gd name="T3" fmla="*/ 0 h 72"/>
                  <a:gd name="T4" fmla="*/ 0 w 60"/>
                  <a:gd name="T5" fmla="*/ 0 h 72"/>
                  <a:gd name="T6" fmla="*/ 0 w 60"/>
                  <a:gd name="T7" fmla="*/ 0 h 72"/>
                  <a:gd name="T8" fmla="*/ 0 w 60"/>
                  <a:gd name="T9" fmla="*/ 0 h 72"/>
                  <a:gd name="T10" fmla="*/ 0 w 60"/>
                  <a:gd name="T11" fmla="*/ 0 h 72"/>
                  <a:gd name="T12" fmla="*/ 0 60000 65536"/>
                  <a:gd name="T13" fmla="*/ 0 60000 65536"/>
                  <a:gd name="T14" fmla="*/ 0 60000 65536"/>
                  <a:gd name="T15" fmla="*/ 0 60000 65536"/>
                  <a:gd name="T16" fmla="*/ 0 60000 65536"/>
                  <a:gd name="T17" fmla="*/ 0 60000 65536"/>
                  <a:gd name="T18" fmla="*/ 0 w 60"/>
                  <a:gd name="T19" fmla="*/ 0 h 72"/>
                  <a:gd name="T20" fmla="*/ 60 w 6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60" h="72">
                    <a:moveTo>
                      <a:pt x="21" y="0"/>
                    </a:moveTo>
                    <a:lnTo>
                      <a:pt x="0" y="27"/>
                    </a:lnTo>
                    <a:lnTo>
                      <a:pt x="3" y="72"/>
                    </a:lnTo>
                    <a:lnTo>
                      <a:pt x="36" y="69"/>
                    </a:lnTo>
                    <a:lnTo>
                      <a:pt x="60" y="21"/>
                    </a:lnTo>
                    <a:lnTo>
                      <a:pt x="21"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2" name="Freeform 441">
                <a:extLst>
                  <a:ext uri="{FF2B5EF4-FFF2-40B4-BE49-F238E27FC236}">
                    <a16:creationId xmlns:a16="http://schemas.microsoft.com/office/drawing/2014/main" id="{572AD4F8-D1E8-50EA-2AE6-A15CCA922309}"/>
                  </a:ext>
                </a:extLst>
              </p:cNvPr>
              <p:cNvSpPr>
                <a:spLocks noChangeAspect="1"/>
              </p:cNvSpPr>
              <p:nvPr/>
            </p:nvSpPr>
            <p:spPr bwMode="auto">
              <a:xfrm>
                <a:off x="3193" y="2836"/>
                <a:ext cx="7" cy="8"/>
              </a:xfrm>
              <a:custGeom>
                <a:avLst/>
                <a:gdLst>
                  <a:gd name="T0" fmla="*/ 0 w 72"/>
                  <a:gd name="T1" fmla="*/ 0 h 84"/>
                  <a:gd name="T2" fmla="*/ 0 w 72"/>
                  <a:gd name="T3" fmla="*/ 0 h 84"/>
                  <a:gd name="T4" fmla="*/ 0 w 72"/>
                  <a:gd name="T5" fmla="*/ 0 h 84"/>
                  <a:gd name="T6" fmla="*/ 0 w 72"/>
                  <a:gd name="T7" fmla="*/ 0 h 84"/>
                  <a:gd name="T8" fmla="*/ 0 w 72"/>
                  <a:gd name="T9" fmla="*/ 0 h 84"/>
                  <a:gd name="T10" fmla="*/ 0 w 72"/>
                  <a:gd name="T11" fmla="*/ 0 h 84"/>
                  <a:gd name="T12" fmla="*/ 0 60000 65536"/>
                  <a:gd name="T13" fmla="*/ 0 60000 65536"/>
                  <a:gd name="T14" fmla="*/ 0 60000 65536"/>
                  <a:gd name="T15" fmla="*/ 0 60000 65536"/>
                  <a:gd name="T16" fmla="*/ 0 60000 65536"/>
                  <a:gd name="T17" fmla="*/ 0 60000 65536"/>
                  <a:gd name="T18" fmla="*/ 0 w 72"/>
                  <a:gd name="T19" fmla="*/ 0 h 84"/>
                  <a:gd name="T20" fmla="*/ 72 w 72"/>
                  <a:gd name="T21" fmla="*/ 84 h 84"/>
                </a:gdLst>
                <a:ahLst/>
                <a:cxnLst>
                  <a:cxn ang="T12">
                    <a:pos x="T0" y="T1"/>
                  </a:cxn>
                  <a:cxn ang="T13">
                    <a:pos x="T2" y="T3"/>
                  </a:cxn>
                  <a:cxn ang="T14">
                    <a:pos x="T4" y="T5"/>
                  </a:cxn>
                  <a:cxn ang="T15">
                    <a:pos x="T6" y="T7"/>
                  </a:cxn>
                  <a:cxn ang="T16">
                    <a:pos x="T8" y="T9"/>
                  </a:cxn>
                  <a:cxn ang="T17">
                    <a:pos x="T10" y="T11"/>
                  </a:cxn>
                </a:cxnLst>
                <a:rect l="T18" t="T19" r="T20" b="T21"/>
                <a:pathLst>
                  <a:path w="72" h="84">
                    <a:moveTo>
                      <a:pt x="30" y="0"/>
                    </a:moveTo>
                    <a:lnTo>
                      <a:pt x="0" y="36"/>
                    </a:lnTo>
                    <a:lnTo>
                      <a:pt x="32" y="84"/>
                    </a:lnTo>
                    <a:lnTo>
                      <a:pt x="69" y="60"/>
                    </a:lnTo>
                    <a:lnTo>
                      <a:pt x="72" y="15"/>
                    </a:lnTo>
                    <a:lnTo>
                      <a:pt x="30"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3" name="Freeform 442">
                <a:extLst>
                  <a:ext uri="{FF2B5EF4-FFF2-40B4-BE49-F238E27FC236}">
                    <a16:creationId xmlns:a16="http://schemas.microsoft.com/office/drawing/2014/main" id="{3A541712-9C68-98E4-2DBD-04D076030218}"/>
                  </a:ext>
                </a:extLst>
              </p:cNvPr>
              <p:cNvSpPr>
                <a:spLocks noChangeAspect="1"/>
              </p:cNvSpPr>
              <p:nvPr/>
            </p:nvSpPr>
            <p:spPr bwMode="auto">
              <a:xfrm>
                <a:off x="3174" y="2803"/>
                <a:ext cx="8" cy="8"/>
              </a:xfrm>
              <a:custGeom>
                <a:avLst/>
                <a:gdLst>
                  <a:gd name="T0" fmla="*/ 0 w 87"/>
                  <a:gd name="T1" fmla="*/ 0 h 84"/>
                  <a:gd name="T2" fmla="*/ 0 w 87"/>
                  <a:gd name="T3" fmla="*/ 0 h 84"/>
                  <a:gd name="T4" fmla="*/ 0 w 87"/>
                  <a:gd name="T5" fmla="*/ 0 h 84"/>
                  <a:gd name="T6" fmla="*/ 0 w 87"/>
                  <a:gd name="T7" fmla="*/ 0 h 84"/>
                  <a:gd name="T8" fmla="*/ 0 w 87"/>
                  <a:gd name="T9" fmla="*/ 0 h 84"/>
                  <a:gd name="T10" fmla="*/ 0 w 87"/>
                  <a:gd name="T11" fmla="*/ 0 h 84"/>
                  <a:gd name="T12" fmla="*/ 0 w 87"/>
                  <a:gd name="T13" fmla="*/ 0 h 84"/>
                  <a:gd name="T14" fmla="*/ 0 w 87"/>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84"/>
                  <a:gd name="T26" fmla="*/ 87 w 87"/>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84">
                    <a:moveTo>
                      <a:pt x="36" y="3"/>
                    </a:moveTo>
                    <a:lnTo>
                      <a:pt x="0" y="36"/>
                    </a:lnTo>
                    <a:lnTo>
                      <a:pt x="18" y="75"/>
                    </a:lnTo>
                    <a:lnTo>
                      <a:pt x="63" y="84"/>
                    </a:lnTo>
                    <a:lnTo>
                      <a:pt x="87" y="60"/>
                    </a:lnTo>
                    <a:lnTo>
                      <a:pt x="75" y="24"/>
                    </a:lnTo>
                    <a:lnTo>
                      <a:pt x="60" y="0"/>
                    </a:lnTo>
                    <a:lnTo>
                      <a:pt x="36" y="3"/>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4" name="Freeform 443">
                <a:extLst>
                  <a:ext uri="{FF2B5EF4-FFF2-40B4-BE49-F238E27FC236}">
                    <a16:creationId xmlns:a16="http://schemas.microsoft.com/office/drawing/2014/main" id="{FDEB4BB5-0AC0-1435-B7B0-C77674DBEA26}"/>
                  </a:ext>
                </a:extLst>
              </p:cNvPr>
              <p:cNvSpPr>
                <a:spLocks noChangeAspect="1"/>
              </p:cNvSpPr>
              <p:nvPr/>
            </p:nvSpPr>
            <p:spPr bwMode="auto">
              <a:xfrm>
                <a:off x="3200" y="2827"/>
                <a:ext cx="9" cy="8"/>
              </a:xfrm>
              <a:custGeom>
                <a:avLst/>
                <a:gdLst>
                  <a:gd name="T0" fmla="*/ 0 w 90"/>
                  <a:gd name="T1" fmla="*/ 0 h 84"/>
                  <a:gd name="T2" fmla="*/ 0 w 90"/>
                  <a:gd name="T3" fmla="*/ 0 h 84"/>
                  <a:gd name="T4" fmla="*/ 0 w 90"/>
                  <a:gd name="T5" fmla="*/ 0 h 84"/>
                  <a:gd name="T6" fmla="*/ 0 w 90"/>
                  <a:gd name="T7" fmla="*/ 0 h 84"/>
                  <a:gd name="T8" fmla="*/ 0 w 90"/>
                  <a:gd name="T9" fmla="*/ 0 h 84"/>
                  <a:gd name="T10" fmla="*/ 0 w 90"/>
                  <a:gd name="T11" fmla="*/ 0 h 84"/>
                  <a:gd name="T12" fmla="*/ 0 w 90"/>
                  <a:gd name="T13" fmla="*/ 0 h 84"/>
                  <a:gd name="T14" fmla="*/ 0 60000 65536"/>
                  <a:gd name="T15" fmla="*/ 0 60000 65536"/>
                  <a:gd name="T16" fmla="*/ 0 60000 65536"/>
                  <a:gd name="T17" fmla="*/ 0 60000 65536"/>
                  <a:gd name="T18" fmla="*/ 0 60000 65536"/>
                  <a:gd name="T19" fmla="*/ 0 60000 65536"/>
                  <a:gd name="T20" fmla="*/ 0 60000 65536"/>
                  <a:gd name="T21" fmla="*/ 0 w 90"/>
                  <a:gd name="T22" fmla="*/ 0 h 84"/>
                  <a:gd name="T23" fmla="*/ 90 w 90"/>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0" h="84">
                    <a:moveTo>
                      <a:pt x="45" y="0"/>
                    </a:moveTo>
                    <a:lnTo>
                      <a:pt x="0" y="27"/>
                    </a:lnTo>
                    <a:lnTo>
                      <a:pt x="6" y="66"/>
                    </a:lnTo>
                    <a:lnTo>
                      <a:pt x="47" y="84"/>
                    </a:lnTo>
                    <a:lnTo>
                      <a:pt x="90" y="66"/>
                    </a:lnTo>
                    <a:lnTo>
                      <a:pt x="87" y="15"/>
                    </a:lnTo>
                    <a:lnTo>
                      <a:pt x="45"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5" name="Freeform 444">
                <a:extLst>
                  <a:ext uri="{FF2B5EF4-FFF2-40B4-BE49-F238E27FC236}">
                    <a16:creationId xmlns:a16="http://schemas.microsoft.com/office/drawing/2014/main" id="{1006CC50-7060-1B32-E57B-5EF5FD61577D}"/>
                  </a:ext>
                </a:extLst>
              </p:cNvPr>
              <p:cNvSpPr>
                <a:spLocks noChangeAspect="1"/>
              </p:cNvSpPr>
              <p:nvPr/>
            </p:nvSpPr>
            <p:spPr bwMode="auto">
              <a:xfrm>
                <a:off x="3196" y="2811"/>
                <a:ext cx="6" cy="7"/>
              </a:xfrm>
              <a:custGeom>
                <a:avLst/>
                <a:gdLst>
                  <a:gd name="T0" fmla="*/ 0 w 60"/>
                  <a:gd name="T1" fmla="*/ 0 h 72"/>
                  <a:gd name="T2" fmla="*/ 0 w 60"/>
                  <a:gd name="T3" fmla="*/ 0 h 72"/>
                  <a:gd name="T4" fmla="*/ 0 w 60"/>
                  <a:gd name="T5" fmla="*/ 0 h 72"/>
                  <a:gd name="T6" fmla="*/ 0 w 60"/>
                  <a:gd name="T7" fmla="*/ 0 h 72"/>
                  <a:gd name="T8" fmla="*/ 0 w 60"/>
                  <a:gd name="T9" fmla="*/ 0 h 72"/>
                  <a:gd name="T10" fmla="*/ 0 w 60"/>
                  <a:gd name="T11" fmla="*/ 0 h 72"/>
                  <a:gd name="T12" fmla="*/ 0 60000 65536"/>
                  <a:gd name="T13" fmla="*/ 0 60000 65536"/>
                  <a:gd name="T14" fmla="*/ 0 60000 65536"/>
                  <a:gd name="T15" fmla="*/ 0 60000 65536"/>
                  <a:gd name="T16" fmla="*/ 0 60000 65536"/>
                  <a:gd name="T17" fmla="*/ 0 60000 65536"/>
                  <a:gd name="T18" fmla="*/ 0 w 60"/>
                  <a:gd name="T19" fmla="*/ 0 h 72"/>
                  <a:gd name="T20" fmla="*/ 60 w 60"/>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60" h="72">
                    <a:moveTo>
                      <a:pt x="21" y="0"/>
                    </a:moveTo>
                    <a:lnTo>
                      <a:pt x="0" y="27"/>
                    </a:lnTo>
                    <a:lnTo>
                      <a:pt x="3" y="72"/>
                    </a:lnTo>
                    <a:lnTo>
                      <a:pt x="48" y="60"/>
                    </a:lnTo>
                    <a:lnTo>
                      <a:pt x="60" y="21"/>
                    </a:lnTo>
                    <a:lnTo>
                      <a:pt x="21"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86" name="Freeform 445">
                <a:extLst>
                  <a:ext uri="{FF2B5EF4-FFF2-40B4-BE49-F238E27FC236}">
                    <a16:creationId xmlns:a16="http://schemas.microsoft.com/office/drawing/2014/main" id="{86A46A7D-B52C-05C6-1A4D-7827B05A8B7E}"/>
                  </a:ext>
                </a:extLst>
              </p:cNvPr>
              <p:cNvSpPr>
                <a:spLocks noChangeAspect="1"/>
              </p:cNvSpPr>
              <p:nvPr/>
            </p:nvSpPr>
            <p:spPr bwMode="auto">
              <a:xfrm>
                <a:off x="3204" y="2817"/>
                <a:ext cx="5" cy="6"/>
              </a:xfrm>
              <a:custGeom>
                <a:avLst/>
                <a:gdLst>
                  <a:gd name="T0" fmla="*/ 0 w 54"/>
                  <a:gd name="T1" fmla="*/ 0 h 69"/>
                  <a:gd name="T2" fmla="*/ 0 w 54"/>
                  <a:gd name="T3" fmla="*/ 0 h 69"/>
                  <a:gd name="T4" fmla="*/ 0 w 54"/>
                  <a:gd name="T5" fmla="*/ 0 h 69"/>
                  <a:gd name="T6" fmla="*/ 0 w 54"/>
                  <a:gd name="T7" fmla="*/ 0 h 69"/>
                  <a:gd name="T8" fmla="*/ 0 w 54"/>
                  <a:gd name="T9" fmla="*/ 0 h 69"/>
                  <a:gd name="T10" fmla="*/ 0 w 54"/>
                  <a:gd name="T11" fmla="*/ 0 h 69"/>
                  <a:gd name="T12" fmla="*/ 0 w 54"/>
                  <a:gd name="T13" fmla="*/ 0 h 69"/>
                  <a:gd name="T14" fmla="*/ 0 60000 65536"/>
                  <a:gd name="T15" fmla="*/ 0 60000 65536"/>
                  <a:gd name="T16" fmla="*/ 0 60000 65536"/>
                  <a:gd name="T17" fmla="*/ 0 60000 65536"/>
                  <a:gd name="T18" fmla="*/ 0 60000 65536"/>
                  <a:gd name="T19" fmla="*/ 0 60000 65536"/>
                  <a:gd name="T20" fmla="*/ 0 60000 65536"/>
                  <a:gd name="T21" fmla="*/ 0 w 54"/>
                  <a:gd name="T22" fmla="*/ 0 h 69"/>
                  <a:gd name="T23" fmla="*/ 54 w 54"/>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 h="69">
                    <a:moveTo>
                      <a:pt x="30" y="0"/>
                    </a:moveTo>
                    <a:lnTo>
                      <a:pt x="0" y="12"/>
                    </a:lnTo>
                    <a:lnTo>
                      <a:pt x="0" y="51"/>
                    </a:lnTo>
                    <a:lnTo>
                      <a:pt x="21" y="69"/>
                    </a:lnTo>
                    <a:lnTo>
                      <a:pt x="51" y="60"/>
                    </a:lnTo>
                    <a:lnTo>
                      <a:pt x="54" y="27"/>
                    </a:lnTo>
                    <a:lnTo>
                      <a:pt x="30" y="0"/>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261" name="Freeform 446">
              <a:extLst>
                <a:ext uri="{FF2B5EF4-FFF2-40B4-BE49-F238E27FC236}">
                  <a16:creationId xmlns:a16="http://schemas.microsoft.com/office/drawing/2014/main" id="{AD890DC4-69C3-C20B-2FA1-601603F5D404}"/>
                </a:ext>
              </a:extLst>
            </p:cNvPr>
            <p:cNvSpPr>
              <a:spLocks noChangeAspect="1"/>
            </p:cNvSpPr>
            <p:nvPr/>
          </p:nvSpPr>
          <p:spPr bwMode="auto">
            <a:xfrm rot="21398148">
              <a:off x="5934297" y="4671046"/>
              <a:ext cx="13445" cy="16133"/>
            </a:xfrm>
            <a:custGeom>
              <a:avLst/>
              <a:gdLst>
                <a:gd name="T0" fmla="*/ 2147483647 w 144"/>
                <a:gd name="T1" fmla="*/ 2147483647 h 196"/>
                <a:gd name="T2" fmla="*/ 0 w 144"/>
                <a:gd name="T3" fmla="*/ 2147483647 h 196"/>
                <a:gd name="T4" fmla="*/ 2147483647 w 144"/>
                <a:gd name="T5" fmla="*/ 2147483647 h 196"/>
                <a:gd name="T6" fmla="*/ 2147483647 w 144"/>
                <a:gd name="T7" fmla="*/ 2147483647 h 196"/>
                <a:gd name="T8" fmla="*/ 2147483647 w 144"/>
                <a:gd name="T9" fmla="*/ 2147483647 h 196"/>
                <a:gd name="T10" fmla="*/ 2147483647 w 144"/>
                <a:gd name="T11" fmla="*/ 2147483647 h 196"/>
                <a:gd name="T12" fmla="*/ 2147483647 w 144"/>
                <a:gd name="T13" fmla="*/ 0 h 196"/>
                <a:gd name="T14" fmla="*/ 2147483647 w 144"/>
                <a:gd name="T15" fmla="*/ 2147483647 h 196"/>
                <a:gd name="T16" fmla="*/ 0 60000 65536"/>
                <a:gd name="T17" fmla="*/ 0 60000 65536"/>
                <a:gd name="T18" fmla="*/ 0 60000 65536"/>
                <a:gd name="T19" fmla="*/ 0 60000 65536"/>
                <a:gd name="T20" fmla="*/ 0 60000 65536"/>
                <a:gd name="T21" fmla="*/ 0 60000 65536"/>
                <a:gd name="T22" fmla="*/ 0 60000 65536"/>
                <a:gd name="T23" fmla="*/ 0 60000 65536"/>
                <a:gd name="T24" fmla="*/ 0 w 144"/>
                <a:gd name="T25" fmla="*/ 0 h 196"/>
                <a:gd name="T26" fmla="*/ 144 w 144"/>
                <a:gd name="T27" fmla="*/ 196 h 1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 h="196">
                  <a:moveTo>
                    <a:pt x="22" y="72"/>
                  </a:moveTo>
                  <a:lnTo>
                    <a:pt x="0" y="122"/>
                  </a:lnTo>
                  <a:lnTo>
                    <a:pt x="26" y="192"/>
                  </a:lnTo>
                  <a:lnTo>
                    <a:pt x="94" y="196"/>
                  </a:lnTo>
                  <a:lnTo>
                    <a:pt x="144" y="93"/>
                  </a:lnTo>
                  <a:lnTo>
                    <a:pt x="118" y="32"/>
                  </a:lnTo>
                  <a:lnTo>
                    <a:pt x="82" y="0"/>
                  </a:lnTo>
                  <a:lnTo>
                    <a:pt x="22" y="72"/>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62" name="Freeform 447">
              <a:extLst>
                <a:ext uri="{FF2B5EF4-FFF2-40B4-BE49-F238E27FC236}">
                  <a16:creationId xmlns:a16="http://schemas.microsoft.com/office/drawing/2014/main" id="{C9BAFE8D-1E8A-52D8-2E31-53B1748FEEB9}"/>
                </a:ext>
              </a:extLst>
            </p:cNvPr>
            <p:cNvSpPr>
              <a:spLocks noChangeAspect="1"/>
            </p:cNvSpPr>
            <p:nvPr/>
          </p:nvSpPr>
          <p:spPr bwMode="auto">
            <a:xfrm rot="21398148">
              <a:off x="5882753" y="4689483"/>
              <a:ext cx="17928" cy="18438"/>
            </a:xfrm>
            <a:custGeom>
              <a:avLst/>
              <a:gdLst>
                <a:gd name="T0" fmla="*/ 2147483647 w 203"/>
                <a:gd name="T1" fmla="*/ 2147483647 h 212"/>
                <a:gd name="T2" fmla="*/ 0 w 203"/>
                <a:gd name="T3" fmla="*/ 2147483647 h 212"/>
                <a:gd name="T4" fmla="*/ 2147483647 w 203"/>
                <a:gd name="T5" fmla="*/ 2147483647 h 212"/>
                <a:gd name="T6" fmla="*/ 2147483647 w 203"/>
                <a:gd name="T7" fmla="*/ 2147483647 h 212"/>
                <a:gd name="T8" fmla="*/ 2147483647 w 203"/>
                <a:gd name="T9" fmla="*/ 2147483647 h 212"/>
                <a:gd name="T10" fmla="*/ 2147483647 w 203"/>
                <a:gd name="T11" fmla="*/ 2147483647 h 212"/>
                <a:gd name="T12" fmla="*/ 2147483647 w 203"/>
                <a:gd name="T13" fmla="*/ 2147483647 h 212"/>
                <a:gd name="T14" fmla="*/ 2147483647 w 203"/>
                <a:gd name="T15" fmla="*/ 0 h 212"/>
                <a:gd name="T16" fmla="*/ 2147483647 w 203"/>
                <a:gd name="T17" fmla="*/ 2147483647 h 212"/>
                <a:gd name="T18" fmla="*/ 2147483647 w 203"/>
                <a:gd name="T19" fmla="*/ 2147483647 h 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3"/>
                <a:gd name="T31" fmla="*/ 0 h 212"/>
                <a:gd name="T32" fmla="*/ 203 w 203"/>
                <a:gd name="T33" fmla="*/ 212 h 2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3" h="212">
                  <a:moveTo>
                    <a:pt x="36" y="56"/>
                  </a:moveTo>
                  <a:lnTo>
                    <a:pt x="0" y="116"/>
                  </a:lnTo>
                  <a:lnTo>
                    <a:pt x="60" y="184"/>
                  </a:lnTo>
                  <a:lnTo>
                    <a:pt x="116" y="212"/>
                  </a:lnTo>
                  <a:lnTo>
                    <a:pt x="174" y="148"/>
                  </a:lnTo>
                  <a:lnTo>
                    <a:pt x="203" y="85"/>
                  </a:lnTo>
                  <a:lnTo>
                    <a:pt x="192" y="20"/>
                  </a:lnTo>
                  <a:lnTo>
                    <a:pt x="152" y="0"/>
                  </a:lnTo>
                  <a:lnTo>
                    <a:pt x="104" y="20"/>
                  </a:lnTo>
                  <a:lnTo>
                    <a:pt x="36" y="5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63" name="Freeform 448">
              <a:extLst>
                <a:ext uri="{FF2B5EF4-FFF2-40B4-BE49-F238E27FC236}">
                  <a16:creationId xmlns:a16="http://schemas.microsoft.com/office/drawing/2014/main" id="{DE543B7F-888C-D640-E143-4EC436D06F4C}"/>
                </a:ext>
              </a:extLst>
            </p:cNvPr>
            <p:cNvSpPr>
              <a:spLocks noChangeAspect="1"/>
            </p:cNvSpPr>
            <p:nvPr/>
          </p:nvSpPr>
          <p:spPr bwMode="auto">
            <a:xfrm rot="21398148">
              <a:off x="6003768" y="4666436"/>
              <a:ext cx="13445" cy="9220"/>
            </a:xfrm>
            <a:custGeom>
              <a:avLst/>
              <a:gdLst>
                <a:gd name="T0" fmla="*/ 2147483647 w 172"/>
                <a:gd name="T1" fmla="*/ 2147483647 h 108"/>
                <a:gd name="T2" fmla="*/ 0 w 172"/>
                <a:gd name="T3" fmla="*/ 2147483647 h 108"/>
                <a:gd name="T4" fmla="*/ 2147483647 w 172"/>
                <a:gd name="T5" fmla="*/ 2147483647 h 108"/>
                <a:gd name="T6" fmla="*/ 2147483647 w 172"/>
                <a:gd name="T7" fmla="*/ 2147483647 h 108"/>
                <a:gd name="T8" fmla="*/ 2147483647 w 172"/>
                <a:gd name="T9" fmla="*/ 2147483647 h 108"/>
                <a:gd name="T10" fmla="*/ 2147483647 w 172"/>
                <a:gd name="T11" fmla="*/ 2147483647 h 108"/>
                <a:gd name="T12" fmla="*/ 2147483647 w 172"/>
                <a:gd name="T13" fmla="*/ 0 h 108"/>
                <a:gd name="T14" fmla="*/ 2147483647 w 172"/>
                <a:gd name="T15" fmla="*/ 2147483647 h 108"/>
                <a:gd name="T16" fmla="*/ 0 60000 65536"/>
                <a:gd name="T17" fmla="*/ 0 60000 65536"/>
                <a:gd name="T18" fmla="*/ 0 60000 65536"/>
                <a:gd name="T19" fmla="*/ 0 60000 65536"/>
                <a:gd name="T20" fmla="*/ 0 60000 65536"/>
                <a:gd name="T21" fmla="*/ 0 60000 65536"/>
                <a:gd name="T22" fmla="*/ 0 60000 65536"/>
                <a:gd name="T23" fmla="*/ 0 60000 65536"/>
                <a:gd name="T24" fmla="*/ 0 w 172"/>
                <a:gd name="T25" fmla="*/ 0 h 108"/>
                <a:gd name="T26" fmla="*/ 172 w 172"/>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2" h="108">
                  <a:moveTo>
                    <a:pt x="44" y="4"/>
                  </a:moveTo>
                  <a:lnTo>
                    <a:pt x="0" y="72"/>
                  </a:lnTo>
                  <a:lnTo>
                    <a:pt x="48" y="108"/>
                  </a:lnTo>
                  <a:lnTo>
                    <a:pt x="136" y="104"/>
                  </a:lnTo>
                  <a:lnTo>
                    <a:pt x="164" y="64"/>
                  </a:lnTo>
                  <a:lnTo>
                    <a:pt x="172" y="4"/>
                  </a:lnTo>
                  <a:lnTo>
                    <a:pt x="100" y="0"/>
                  </a:lnTo>
                  <a:lnTo>
                    <a:pt x="44" y="4"/>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nvGrpSpPr>
            <p:cNvPr id="264" name="Group 450">
              <a:extLst>
                <a:ext uri="{FF2B5EF4-FFF2-40B4-BE49-F238E27FC236}">
                  <a16:creationId xmlns:a16="http://schemas.microsoft.com/office/drawing/2014/main" id="{2A162C1D-35B8-4CAE-D806-DD377170B253}"/>
                </a:ext>
              </a:extLst>
            </p:cNvPr>
            <p:cNvGrpSpPr>
              <a:grpSpLocks noChangeAspect="1"/>
            </p:cNvGrpSpPr>
            <p:nvPr/>
          </p:nvGrpSpPr>
          <p:grpSpPr bwMode="auto">
            <a:xfrm>
              <a:off x="3838957" y="3647712"/>
              <a:ext cx="24653" cy="43788"/>
              <a:chOff x="997" y="8534"/>
              <a:chExt cx="375" cy="631"/>
            </a:xfrm>
            <a:solidFill>
              <a:srgbClr val="E0E0E0"/>
            </a:solidFill>
          </p:grpSpPr>
          <p:sp>
            <p:nvSpPr>
              <p:cNvPr id="269" name="Freeform 451">
                <a:extLst>
                  <a:ext uri="{FF2B5EF4-FFF2-40B4-BE49-F238E27FC236}">
                    <a16:creationId xmlns:a16="http://schemas.microsoft.com/office/drawing/2014/main" id="{41523549-C787-ABFE-084E-4D19F09C2680}"/>
                  </a:ext>
                </a:extLst>
              </p:cNvPr>
              <p:cNvSpPr>
                <a:spLocks noChangeAspect="1"/>
              </p:cNvSpPr>
              <p:nvPr/>
            </p:nvSpPr>
            <p:spPr bwMode="auto">
              <a:xfrm>
                <a:off x="997" y="8534"/>
                <a:ext cx="126" cy="155"/>
              </a:xfrm>
              <a:custGeom>
                <a:avLst/>
                <a:gdLst>
                  <a:gd name="T0" fmla="*/ 49 w 105"/>
                  <a:gd name="T1" fmla="*/ 35 h 129"/>
                  <a:gd name="T2" fmla="*/ 0 w 105"/>
                  <a:gd name="T3" fmla="*/ 143 h 129"/>
                  <a:gd name="T4" fmla="*/ 28 w 105"/>
                  <a:gd name="T5" fmla="*/ 286 h 129"/>
                  <a:gd name="T6" fmla="*/ 103 w 105"/>
                  <a:gd name="T7" fmla="*/ 322 h 129"/>
                  <a:gd name="T8" fmla="*/ 232 w 105"/>
                  <a:gd name="T9" fmla="*/ 270 h 129"/>
                  <a:gd name="T10" fmla="*/ 260 w 105"/>
                  <a:gd name="T11" fmla="*/ 127 h 129"/>
                  <a:gd name="T12" fmla="*/ 196 w 105"/>
                  <a:gd name="T13" fmla="*/ 0 h 129"/>
                  <a:gd name="T14" fmla="*/ 49 w 105"/>
                  <a:gd name="T15" fmla="*/ 35 h 129"/>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129"/>
                  <a:gd name="T26" fmla="*/ 105 w 105"/>
                  <a:gd name="T27" fmla="*/ 129 h 1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129">
                    <a:moveTo>
                      <a:pt x="19" y="14"/>
                    </a:moveTo>
                    <a:lnTo>
                      <a:pt x="0" y="57"/>
                    </a:lnTo>
                    <a:lnTo>
                      <a:pt x="11" y="114"/>
                    </a:lnTo>
                    <a:lnTo>
                      <a:pt x="42" y="129"/>
                    </a:lnTo>
                    <a:lnTo>
                      <a:pt x="93" y="108"/>
                    </a:lnTo>
                    <a:lnTo>
                      <a:pt x="105" y="51"/>
                    </a:lnTo>
                    <a:lnTo>
                      <a:pt x="78" y="0"/>
                    </a:lnTo>
                    <a:lnTo>
                      <a:pt x="19" y="14"/>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0" name="Freeform 452">
                <a:extLst>
                  <a:ext uri="{FF2B5EF4-FFF2-40B4-BE49-F238E27FC236}">
                    <a16:creationId xmlns:a16="http://schemas.microsoft.com/office/drawing/2014/main" id="{6DFD2187-3AEB-D674-A542-607A634C5EA1}"/>
                  </a:ext>
                </a:extLst>
              </p:cNvPr>
              <p:cNvSpPr>
                <a:spLocks noChangeAspect="1"/>
              </p:cNvSpPr>
              <p:nvPr/>
            </p:nvSpPr>
            <p:spPr bwMode="auto">
              <a:xfrm>
                <a:off x="1134" y="8657"/>
                <a:ext cx="126" cy="130"/>
              </a:xfrm>
              <a:custGeom>
                <a:avLst/>
                <a:gdLst>
                  <a:gd name="T0" fmla="*/ 49 w 105"/>
                  <a:gd name="T1" fmla="*/ 12 h 108"/>
                  <a:gd name="T2" fmla="*/ 0 w 105"/>
                  <a:gd name="T3" fmla="*/ 122 h 108"/>
                  <a:gd name="T4" fmla="*/ 23 w 105"/>
                  <a:gd name="T5" fmla="*/ 220 h 108"/>
                  <a:gd name="T6" fmla="*/ 113 w 105"/>
                  <a:gd name="T7" fmla="*/ 272 h 108"/>
                  <a:gd name="T8" fmla="*/ 200 w 105"/>
                  <a:gd name="T9" fmla="*/ 206 h 108"/>
                  <a:gd name="T10" fmla="*/ 260 w 105"/>
                  <a:gd name="T11" fmla="*/ 106 h 108"/>
                  <a:gd name="T12" fmla="*/ 173 w 105"/>
                  <a:gd name="T13" fmla="*/ 0 h 108"/>
                  <a:gd name="T14" fmla="*/ 49 w 105"/>
                  <a:gd name="T15" fmla="*/ 12 h 108"/>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108"/>
                  <a:gd name="T26" fmla="*/ 105 w 105"/>
                  <a:gd name="T27" fmla="*/ 108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108">
                    <a:moveTo>
                      <a:pt x="19" y="5"/>
                    </a:moveTo>
                    <a:lnTo>
                      <a:pt x="0" y="48"/>
                    </a:lnTo>
                    <a:lnTo>
                      <a:pt x="9" y="87"/>
                    </a:lnTo>
                    <a:lnTo>
                      <a:pt x="45" y="108"/>
                    </a:lnTo>
                    <a:lnTo>
                      <a:pt x="81" y="81"/>
                    </a:lnTo>
                    <a:lnTo>
                      <a:pt x="105" y="42"/>
                    </a:lnTo>
                    <a:lnTo>
                      <a:pt x="69" y="0"/>
                    </a:lnTo>
                    <a:lnTo>
                      <a:pt x="19" y="5"/>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71" name="Freeform 453">
                <a:extLst>
                  <a:ext uri="{FF2B5EF4-FFF2-40B4-BE49-F238E27FC236}">
                    <a16:creationId xmlns:a16="http://schemas.microsoft.com/office/drawing/2014/main" id="{76ADB2BA-C7F8-6192-D873-153A0400E696}"/>
                  </a:ext>
                </a:extLst>
              </p:cNvPr>
              <p:cNvSpPr>
                <a:spLocks noChangeAspect="1"/>
              </p:cNvSpPr>
              <p:nvPr/>
            </p:nvSpPr>
            <p:spPr bwMode="auto">
              <a:xfrm>
                <a:off x="1145" y="8859"/>
                <a:ext cx="227" cy="306"/>
              </a:xfrm>
              <a:custGeom>
                <a:avLst/>
                <a:gdLst>
                  <a:gd name="T0" fmla="*/ 309 w 189"/>
                  <a:gd name="T1" fmla="*/ 52 h 255"/>
                  <a:gd name="T2" fmla="*/ 196 w 189"/>
                  <a:gd name="T3" fmla="*/ 196 h 255"/>
                  <a:gd name="T4" fmla="*/ 103 w 189"/>
                  <a:gd name="T5" fmla="*/ 336 h 255"/>
                  <a:gd name="T6" fmla="*/ 0 w 189"/>
                  <a:gd name="T7" fmla="*/ 509 h 255"/>
                  <a:gd name="T8" fmla="*/ 37 w 189"/>
                  <a:gd name="T9" fmla="*/ 634 h 255"/>
                  <a:gd name="T10" fmla="*/ 173 w 189"/>
                  <a:gd name="T11" fmla="*/ 612 h 255"/>
                  <a:gd name="T12" fmla="*/ 277 w 189"/>
                  <a:gd name="T13" fmla="*/ 425 h 255"/>
                  <a:gd name="T14" fmla="*/ 396 w 189"/>
                  <a:gd name="T15" fmla="*/ 239 h 255"/>
                  <a:gd name="T16" fmla="*/ 473 w 189"/>
                  <a:gd name="T17" fmla="*/ 127 h 255"/>
                  <a:gd name="T18" fmla="*/ 405 w 189"/>
                  <a:gd name="T19" fmla="*/ 0 h 255"/>
                  <a:gd name="T20" fmla="*/ 309 w 189"/>
                  <a:gd name="T21" fmla="*/ 52 h 2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9"/>
                  <a:gd name="T34" fmla="*/ 0 h 255"/>
                  <a:gd name="T35" fmla="*/ 189 w 189"/>
                  <a:gd name="T36" fmla="*/ 255 h 2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9" h="255">
                    <a:moveTo>
                      <a:pt x="123" y="21"/>
                    </a:moveTo>
                    <a:lnTo>
                      <a:pt x="78" y="78"/>
                    </a:lnTo>
                    <a:lnTo>
                      <a:pt x="42" y="135"/>
                    </a:lnTo>
                    <a:lnTo>
                      <a:pt x="0" y="204"/>
                    </a:lnTo>
                    <a:lnTo>
                      <a:pt x="15" y="255"/>
                    </a:lnTo>
                    <a:lnTo>
                      <a:pt x="69" y="246"/>
                    </a:lnTo>
                    <a:lnTo>
                      <a:pt x="111" y="171"/>
                    </a:lnTo>
                    <a:lnTo>
                      <a:pt x="159" y="96"/>
                    </a:lnTo>
                    <a:lnTo>
                      <a:pt x="189" y="51"/>
                    </a:lnTo>
                    <a:lnTo>
                      <a:pt x="162" y="0"/>
                    </a:lnTo>
                    <a:lnTo>
                      <a:pt x="123" y="21"/>
                    </a:lnTo>
                    <a:close/>
                  </a:path>
                </a:pathLst>
              </a:custGeom>
              <a:grp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265" name="任意多边形 7">
              <a:extLst>
                <a:ext uri="{FF2B5EF4-FFF2-40B4-BE49-F238E27FC236}">
                  <a16:creationId xmlns:a16="http://schemas.microsoft.com/office/drawing/2014/main" id="{84ABCC77-F183-3916-E518-5EFEE06F707C}"/>
                </a:ext>
              </a:extLst>
            </p:cNvPr>
            <p:cNvSpPr>
              <a:spLocks noChangeAspect="1"/>
            </p:cNvSpPr>
            <p:nvPr/>
          </p:nvSpPr>
          <p:spPr bwMode="auto">
            <a:xfrm>
              <a:off x="4636753" y="4159387"/>
              <a:ext cx="4482" cy="4610"/>
            </a:xfrm>
            <a:custGeom>
              <a:avLst/>
              <a:gdLst>
                <a:gd name="T0" fmla="*/ 0 w 3560387"/>
                <a:gd name="T1" fmla="*/ 0 h 6001569"/>
                <a:gd name="T2" fmla="*/ 0 w 3560387"/>
                <a:gd name="T3" fmla="*/ 0 h 6001569"/>
                <a:gd name="T4" fmla="*/ 0 w 3560387"/>
                <a:gd name="T5" fmla="*/ 0 h 6001569"/>
                <a:gd name="T6" fmla="*/ 0 w 3560387"/>
                <a:gd name="T7" fmla="*/ 0 h 6001569"/>
                <a:gd name="T8" fmla="*/ 0 w 3560387"/>
                <a:gd name="T9" fmla="*/ 0 h 6001569"/>
                <a:gd name="T10" fmla="*/ 0 w 3560387"/>
                <a:gd name="T11" fmla="*/ 0 h 6001569"/>
                <a:gd name="T12" fmla="*/ 0 w 3560387"/>
                <a:gd name="T13" fmla="*/ 0 h 6001569"/>
                <a:gd name="T14" fmla="*/ 0 w 3560387"/>
                <a:gd name="T15" fmla="*/ 0 h 6001569"/>
                <a:gd name="T16" fmla="*/ 0 w 3560387"/>
                <a:gd name="T17" fmla="*/ 0 h 6001569"/>
                <a:gd name="T18" fmla="*/ 0 w 3560387"/>
                <a:gd name="T19" fmla="*/ 0 h 6001569"/>
                <a:gd name="T20" fmla="*/ 0 w 3560387"/>
                <a:gd name="T21" fmla="*/ 0 h 6001569"/>
                <a:gd name="T22" fmla="*/ 0 w 3560387"/>
                <a:gd name="T23" fmla="*/ 0 h 6001569"/>
                <a:gd name="T24" fmla="*/ 0 w 3560387"/>
                <a:gd name="T25" fmla="*/ 0 h 6001569"/>
                <a:gd name="T26" fmla="*/ 0 w 3560387"/>
                <a:gd name="T27" fmla="*/ 0 h 6001569"/>
                <a:gd name="T28" fmla="*/ 0 w 3560387"/>
                <a:gd name="T29" fmla="*/ 0 h 6001569"/>
                <a:gd name="T30" fmla="*/ 0 w 3560387"/>
                <a:gd name="T31" fmla="*/ 0 h 6001569"/>
                <a:gd name="T32" fmla="*/ 0 w 3560387"/>
                <a:gd name="T33" fmla="*/ 0 h 6001569"/>
                <a:gd name="T34" fmla="*/ 0 w 3560387"/>
                <a:gd name="T35" fmla="*/ 0 h 6001569"/>
                <a:gd name="T36" fmla="*/ 0 w 3560387"/>
                <a:gd name="T37" fmla="*/ 0 h 6001569"/>
                <a:gd name="T38" fmla="*/ 0 w 3560387"/>
                <a:gd name="T39" fmla="*/ 0 h 6001569"/>
                <a:gd name="T40" fmla="*/ 0 w 3560387"/>
                <a:gd name="T41" fmla="*/ 0 h 6001569"/>
                <a:gd name="T42" fmla="*/ 0 w 3560387"/>
                <a:gd name="T43" fmla="*/ 0 h 6001569"/>
                <a:gd name="T44" fmla="*/ 0 w 3560387"/>
                <a:gd name="T45" fmla="*/ 0 h 6001569"/>
                <a:gd name="T46" fmla="*/ 0 w 3560387"/>
                <a:gd name="T47" fmla="*/ 0 h 6001569"/>
                <a:gd name="T48" fmla="*/ 0 w 3560387"/>
                <a:gd name="T49" fmla="*/ 0 h 6001569"/>
                <a:gd name="T50" fmla="*/ 0 w 3560387"/>
                <a:gd name="T51" fmla="*/ 0 h 6001569"/>
                <a:gd name="T52" fmla="*/ 0 w 3560387"/>
                <a:gd name="T53" fmla="*/ 0 h 6001569"/>
                <a:gd name="T54" fmla="*/ 0 w 3560387"/>
                <a:gd name="T55" fmla="*/ 0 h 6001569"/>
                <a:gd name="T56" fmla="*/ 0 w 3560387"/>
                <a:gd name="T57" fmla="*/ 0 h 6001569"/>
                <a:gd name="T58" fmla="*/ 0 w 3560387"/>
                <a:gd name="T59" fmla="*/ 0 h 6001569"/>
                <a:gd name="T60" fmla="*/ 0 w 3560387"/>
                <a:gd name="T61" fmla="*/ 0 h 6001569"/>
                <a:gd name="T62" fmla="*/ 0 w 3560387"/>
                <a:gd name="T63" fmla="*/ 0 h 6001569"/>
                <a:gd name="T64" fmla="*/ 0 w 3560387"/>
                <a:gd name="T65" fmla="*/ 0 h 6001569"/>
                <a:gd name="T66" fmla="*/ 0 w 3560387"/>
                <a:gd name="T67" fmla="*/ 0 h 6001569"/>
                <a:gd name="T68" fmla="*/ 0 w 3560387"/>
                <a:gd name="T69" fmla="*/ 0 h 6001569"/>
                <a:gd name="T70" fmla="*/ 0 w 3560387"/>
                <a:gd name="T71" fmla="*/ 0 h 6001569"/>
                <a:gd name="T72" fmla="*/ 0 w 3560387"/>
                <a:gd name="T73" fmla="*/ 0 h 6001569"/>
                <a:gd name="T74" fmla="*/ 0 w 3560387"/>
                <a:gd name="T75" fmla="*/ 0 h 6001569"/>
                <a:gd name="T76" fmla="*/ 0 w 3560387"/>
                <a:gd name="T77" fmla="*/ 0 h 6001569"/>
                <a:gd name="T78" fmla="*/ 0 w 3560387"/>
                <a:gd name="T79" fmla="*/ 0 h 6001569"/>
                <a:gd name="T80" fmla="*/ 0 w 3560387"/>
                <a:gd name="T81" fmla="*/ 0 h 6001569"/>
                <a:gd name="T82" fmla="*/ 0 w 3560387"/>
                <a:gd name="T83" fmla="*/ 0 h 6001569"/>
                <a:gd name="T84" fmla="*/ 0 w 3560387"/>
                <a:gd name="T85" fmla="*/ 0 h 6001569"/>
                <a:gd name="T86" fmla="*/ 0 w 3560387"/>
                <a:gd name="T87" fmla="*/ 0 h 6001569"/>
                <a:gd name="T88" fmla="*/ 0 w 3560387"/>
                <a:gd name="T89" fmla="*/ 0 h 6001569"/>
                <a:gd name="T90" fmla="*/ 0 w 3560387"/>
                <a:gd name="T91" fmla="*/ 0 h 6001569"/>
                <a:gd name="T92" fmla="*/ 0 w 3560387"/>
                <a:gd name="T93" fmla="*/ 0 h 6001569"/>
                <a:gd name="T94" fmla="*/ 0 w 3560387"/>
                <a:gd name="T95" fmla="*/ 0 h 6001569"/>
                <a:gd name="T96" fmla="*/ 0 w 3560387"/>
                <a:gd name="T97" fmla="*/ 0 h 60015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60387"/>
                <a:gd name="T148" fmla="*/ 0 h 6001569"/>
                <a:gd name="T149" fmla="*/ 3560387 w 3560387"/>
                <a:gd name="T150" fmla="*/ 6001569 h 600156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60387" h="6001569">
                  <a:moveTo>
                    <a:pt x="28925" y="1128680"/>
                  </a:moveTo>
                  <a:lnTo>
                    <a:pt x="112277" y="1133748"/>
                  </a:lnTo>
                  <a:lnTo>
                    <a:pt x="216203" y="1139923"/>
                  </a:lnTo>
                  <a:lnTo>
                    <a:pt x="329214" y="1202425"/>
                  </a:lnTo>
                  <a:lnTo>
                    <a:pt x="229286" y="1277276"/>
                  </a:lnTo>
                  <a:lnTo>
                    <a:pt x="315588" y="1335781"/>
                  </a:lnTo>
                  <a:lnTo>
                    <a:pt x="238370" y="1417540"/>
                  </a:lnTo>
                  <a:lnTo>
                    <a:pt x="247454" y="1562890"/>
                  </a:lnTo>
                  <a:lnTo>
                    <a:pt x="165695" y="1630478"/>
                  </a:lnTo>
                  <a:lnTo>
                    <a:pt x="138987" y="1745855"/>
                  </a:lnTo>
                  <a:lnTo>
                    <a:pt x="182776" y="1828892"/>
                  </a:lnTo>
                  <a:lnTo>
                    <a:pt x="265623" y="1906653"/>
                  </a:lnTo>
                  <a:lnTo>
                    <a:pt x="328670" y="1892482"/>
                  </a:lnTo>
                  <a:lnTo>
                    <a:pt x="428598" y="1829436"/>
                  </a:lnTo>
                  <a:cubicBezTo>
                    <a:pt x="428235" y="1858203"/>
                    <a:pt x="427873" y="1886971"/>
                    <a:pt x="427510" y="1915738"/>
                  </a:cubicBezTo>
                  <a:lnTo>
                    <a:pt x="368461" y="1952076"/>
                  </a:lnTo>
                  <a:lnTo>
                    <a:pt x="387174" y="2089618"/>
                  </a:lnTo>
                  <a:lnTo>
                    <a:pt x="500729" y="2084532"/>
                  </a:lnTo>
                  <a:lnTo>
                    <a:pt x="531981" y="2146845"/>
                  </a:lnTo>
                  <a:lnTo>
                    <a:pt x="449677" y="2264398"/>
                  </a:lnTo>
                  <a:lnTo>
                    <a:pt x="591029" y="2396121"/>
                  </a:lnTo>
                  <a:lnTo>
                    <a:pt x="497487" y="2458246"/>
                  </a:lnTo>
                  <a:cubicBezTo>
                    <a:pt x="496588" y="2554295"/>
                    <a:pt x="491456" y="2506292"/>
                    <a:pt x="490557" y="2602341"/>
                  </a:cubicBezTo>
                  <a:cubicBezTo>
                    <a:pt x="489095" y="2635867"/>
                    <a:pt x="554691" y="2649761"/>
                    <a:pt x="554691" y="2669929"/>
                  </a:cubicBezTo>
                  <a:lnTo>
                    <a:pt x="490556" y="2723347"/>
                  </a:lnTo>
                  <a:lnTo>
                    <a:pt x="571772" y="2845442"/>
                  </a:lnTo>
                  <a:lnTo>
                    <a:pt x="627578" y="2899758"/>
                  </a:lnTo>
                  <a:lnTo>
                    <a:pt x="572860" y="2990249"/>
                  </a:lnTo>
                  <a:lnTo>
                    <a:pt x="590485" y="3052750"/>
                  </a:lnTo>
                  <a:lnTo>
                    <a:pt x="535978" y="3134509"/>
                  </a:lnTo>
                  <a:lnTo>
                    <a:pt x="502551" y="3182836"/>
                  </a:lnTo>
                  <a:lnTo>
                    <a:pt x="575226" y="3331096"/>
                  </a:lnTo>
                  <a:lnTo>
                    <a:pt x="647901" y="3380516"/>
                  </a:lnTo>
                  <a:lnTo>
                    <a:pt x="775082" y="3507697"/>
                  </a:lnTo>
                  <a:lnTo>
                    <a:pt x="833587" y="3662131"/>
                  </a:lnTo>
                  <a:lnTo>
                    <a:pt x="855753" y="3741714"/>
                  </a:lnTo>
                  <a:lnTo>
                    <a:pt x="929517" y="3879068"/>
                  </a:lnTo>
                  <a:lnTo>
                    <a:pt x="829589" y="3905233"/>
                  </a:lnTo>
                  <a:lnTo>
                    <a:pt x="825590" y="4054581"/>
                  </a:lnTo>
                  <a:lnTo>
                    <a:pt x="744919" y="4141426"/>
                  </a:lnTo>
                  <a:lnTo>
                    <a:pt x="604656" y="4119259"/>
                  </a:lnTo>
                  <a:lnTo>
                    <a:pt x="513812" y="4239178"/>
                  </a:lnTo>
                  <a:lnTo>
                    <a:pt x="482561" y="4379441"/>
                  </a:lnTo>
                  <a:lnTo>
                    <a:pt x="386653" y="4514998"/>
                  </a:lnTo>
                  <a:lnTo>
                    <a:pt x="324128" y="4608372"/>
                  </a:lnTo>
                  <a:lnTo>
                    <a:pt x="356468" y="4829307"/>
                  </a:lnTo>
                  <a:lnTo>
                    <a:pt x="269622" y="4873641"/>
                  </a:lnTo>
                  <a:lnTo>
                    <a:pt x="334280" y="5014217"/>
                  </a:lnTo>
                  <a:lnTo>
                    <a:pt x="360111" y="5103661"/>
                  </a:lnTo>
                  <a:lnTo>
                    <a:pt x="453131" y="5162166"/>
                  </a:lnTo>
                  <a:lnTo>
                    <a:pt x="606477" y="5193417"/>
                  </a:lnTo>
                  <a:lnTo>
                    <a:pt x="714402" y="5202501"/>
                  </a:lnTo>
                  <a:lnTo>
                    <a:pt x="809243" y="5311514"/>
                  </a:lnTo>
                  <a:lnTo>
                    <a:pt x="949507" y="5301341"/>
                  </a:lnTo>
                  <a:lnTo>
                    <a:pt x="1021094" y="5346763"/>
                  </a:lnTo>
                  <a:lnTo>
                    <a:pt x="1061429" y="5492113"/>
                  </a:lnTo>
                  <a:lnTo>
                    <a:pt x="1039262" y="5600037"/>
                  </a:lnTo>
                  <a:lnTo>
                    <a:pt x="1066516" y="5680708"/>
                  </a:lnTo>
                  <a:lnTo>
                    <a:pt x="1025092" y="5766465"/>
                  </a:lnTo>
                  <a:lnTo>
                    <a:pt x="1139191" y="5870390"/>
                  </a:lnTo>
                  <a:lnTo>
                    <a:pt x="1265283" y="5874388"/>
                  </a:lnTo>
                  <a:lnTo>
                    <a:pt x="1251113" y="5765376"/>
                  </a:lnTo>
                  <a:lnTo>
                    <a:pt x="1236942" y="5652365"/>
                  </a:lnTo>
                  <a:lnTo>
                    <a:pt x="1377206" y="5689791"/>
                  </a:lnTo>
                  <a:lnTo>
                    <a:pt x="1554540" y="5658540"/>
                  </a:lnTo>
                  <a:lnTo>
                    <a:pt x="1689718" y="5713046"/>
                  </a:lnTo>
                  <a:lnTo>
                    <a:pt x="1806726" y="5731215"/>
                  </a:lnTo>
                  <a:lnTo>
                    <a:pt x="1806726" y="5876564"/>
                  </a:lnTo>
                  <a:cubicBezTo>
                    <a:pt x="1806482" y="5918232"/>
                    <a:pt x="1806237" y="5959901"/>
                    <a:pt x="1805993" y="6001569"/>
                  </a:cubicBezTo>
                  <a:lnTo>
                    <a:pt x="1977508" y="5951061"/>
                  </a:lnTo>
                  <a:lnTo>
                    <a:pt x="2145758" y="5875476"/>
                  </a:lnTo>
                  <a:lnTo>
                    <a:pt x="2286021" y="5789719"/>
                  </a:lnTo>
                  <a:lnTo>
                    <a:pt x="2208260" y="5935069"/>
                  </a:lnTo>
                  <a:lnTo>
                    <a:pt x="2362695" y="5911814"/>
                  </a:lnTo>
                  <a:lnTo>
                    <a:pt x="2508044" y="5866392"/>
                  </a:lnTo>
                  <a:lnTo>
                    <a:pt x="2548380" y="5744297"/>
                  </a:lnTo>
                  <a:lnTo>
                    <a:pt x="2461534" y="5713046"/>
                  </a:lnTo>
                  <a:lnTo>
                    <a:pt x="2475705" y="5594949"/>
                  </a:lnTo>
                  <a:lnTo>
                    <a:pt x="2615969" y="5518276"/>
                  </a:lnTo>
                  <a:lnTo>
                    <a:pt x="2734065" y="5487025"/>
                  </a:lnTo>
                  <a:lnTo>
                    <a:pt x="2723893" y="5378012"/>
                  </a:lnTo>
                  <a:lnTo>
                    <a:pt x="2869243" y="5401267"/>
                  </a:lnTo>
                  <a:lnTo>
                    <a:pt x="3023253" y="5343826"/>
                  </a:lnTo>
                  <a:lnTo>
                    <a:pt x="3188882" y="5333008"/>
                  </a:lnTo>
                  <a:lnTo>
                    <a:pt x="3086179" y="5162519"/>
                  </a:lnTo>
                  <a:lnTo>
                    <a:pt x="3100350" y="5055328"/>
                  </a:lnTo>
                  <a:lnTo>
                    <a:pt x="3027675" y="4905980"/>
                  </a:lnTo>
                  <a:lnTo>
                    <a:pt x="2996424" y="4730467"/>
                  </a:lnTo>
                  <a:lnTo>
                    <a:pt x="3000422" y="4612370"/>
                  </a:lnTo>
                  <a:lnTo>
                    <a:pt x="3049842" y="4490276"/>
                  </a:lnTo>
                  <a:lnTo>
                    <a:pt x="3177023" y="4495362"/>
                  </a:lnTo>
                  <a:lnTo>
                    <a:pt x="3241702" y="4436858"/>
                  </a:lnTo>
                  <a:lnTo>
                    <a:pt x="3208274" y="4330022"/>
                  </a:lnTo>
                  <a:lnTo>
                    <a:pt x="3149770" y="4222097"/>
                  </a:lnTo>
                  <a:lnTo>
                    <a:pt x="3068011" y="4171589"/>
                  </a:lnTo>
                  <a:lnTo>
                    <a:pt x="3027675" y="4018243"/>
                  </a:lnTo>
                  <a:lnTo>
                    <a:pt x="3150858" y="3915405"/>
                  </a:lnTo>
                  <a:lnTo>
                    <a:pt x="3291122" y="3793310"/>
                  </a:lnTo>
                  <a:lnTo>
                    <a:pt x="3426299" y="3734806"/>
                  </a:lnTo>
                  <a:lnTo>
                    <a:pt x="3534223" y="3658133"/>
                  </a:lnTo>
                  <a:lnTo>
                    <a:pt x="3547304" y="3559293"/>
                  </a:lnTo>
                  <a:lnTo>
                    <a:pt x="3505881" y="3331101"/>
                  </a:lnTo>
                  <a:lnTo>
                    <a:pt x="3464457" y="3245343"/>
                  </a:lnTo>
                  <a:lnTo>
                    <a:pt x="3446288" y="3118162"/>
                  </a:lnTo>
                  <a:lnTo>
                    <a:pt x="3528048" y="3091997"/>
                  </a:lnTo>
                  <a:lnTo>
                    <a:pt x="3560387" y="2986983"/>
                  </a:lnTo>
                  <a:lnTo>
                    <a:pt x="3411039" y="2964816"/>
                  </a:lnTo>
                  <a:lnTo>
                    <a:pt x="3292943" y="2951734"/>
                  </a:lnTo>
                  <a:lnTo>
                    <a:pt x="3183930" y="2788215"/>
                  </a:lnTo>
                  <a:lnTo>
                    <a:pt x="3234438" y="2703546"/>
                  </a:lnTo>
                  <a:lnTo>
                    <a:pt x="3179932" y="2608704"/>
                  </a:lnTo>
                  <a:lnTo>
                    <a:pt x="3229352" y="2437189"/>
                  </a:lnTo>
                  <a:lnTo>
                    <a:pt x="3317286" y="2356518"/>
                  </a:lnTo>
                  <a:lnTo>
                    <a:pt x="3162852" y="2141758"/>
                  </a:lnTo>
                  <a:lnTo>
                    <a:pt x="3058925" y="2006581"/>
                  </a:lnTo>
                  <a:lnTo>
                    <a:pt x="2986914" y="1900856"/>
                  </a:lnTo>
                  <a:lnTo>
                    <a:pt x="2958997" y="1752219"/>
                  </a:lnTo>
                  <a:lnTo>
                    <a:pt x="2982252" y="1607957"/>
                  </a:lnTo>
                  <a:lnTo>
                    <a:pt x="2935156" y="1462713"/>
                  </a:lnTo>
                  <a:lnTo>
                    <a:pt x="2766404" y="1281274"/>
                  </a:lnTo>
                  <a:lnTo>
                    <a:pt x="2567636" y="1109760"/>
                  </a:lnTo>
                  <a:lnTo>
                    <a:pt x="2449539" y="960412"/>
                  </a:lnTo>
                  <a:lnTo>
                    <a:pt x="2396901" y="881160"/>
                  </a:lnTo>
                  <a:lnTo>
                    <a:pt x="2278024" y="748561"/>
                  </a:lnTo>
                  <a:lnTo>
                    <a:pt x="2294371" y="595215"/>
                  </a:lnTo>
                  <a:lnTo>
                    <a:pt x="2176275" y="510546"/>
                  </a:lnTo>
                  <a:lnTo>
                    <a:pt x="2030925" y="524717"/>
                  </a:lnTo>
                  <a:lnTo>
                    <a:pt x="1968422" y="424789"/>
                  </a:lnTo>
                  <a:lnTo>
                    <a:pt x="1829247" y="376457"/>
                  </a:lnTo>
                  <a:lnTo>
                    <a:pt x="1630479" y="203854"/>
                  </a:lnTo>
                  <a:lnTo>
                    <a:pt x="1499300" y="177689"/>
                  </a:lnTo>
                  <a:lnTo>
                    <a:pt x="1395374" y="0"/>
                  </a:lnTo>
                  <a:lnTo>
                    <a:pt x="1292536" y="5087"/>
                  </a:lnTo>
                  <a:lnTo>
                    <a:pt x="1188209" y="65813"/>
                  </a:lnTo>
                  <a:lnTo>
                    <a:pt x="1080685" y="145348"/>
                  </a:lnTo>
                  <a:lnTo>
                    <a:pt x="1000014" y="185685"/>
                  </a:lnTo>
                  <a:lnTo>
                    <a:pt x="828499" y="198766"/>
                  </a:lnTo>
                  <a:lnTo>
                    <a:pt x="737656" y="271441"/>
                  </a:lnTo>
                  <a:lnTo>
                    <a:pt x="666069" y="230017"/>
                  </a:lnTo>
                  <a:lnTo>
                    <a:pt x="553058" y="339028"/>
                  </a:lnTo>
                  <a:lnTo>
                    <a:pt x="549060" y="420788"/>
                  </a:lnTo>
                  <a:lnTo>
                    <a:pt x="440048" y="406617"/>
                  </a:lnTo>
                  <a:lnTo>
                    <a:pt x="364463" y="474206"/>
                  </a:lnTo>
                  <a:lnTo>
                    <a:pt x="265623" y="532710"/>
                  </a:lnTo>
                  <a:lnTo>
                    <a:pt x="160609" y="604296"/>
                  </a:lnTo>
                  <a:lnTo>
                    <a:pt x="99928" y="734387"/>
                  </a:lnTo>
                  <a:lnTo>
                    <a:pt x="79938" y="892819"/>
                  </a:lnTo>
                  <a:lnTo>
                    <a:pt x="0" y="1018911"/>
                  </a:lnTo>
                  <a:lnTo>
                    <a:pt x="28925" y="112868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66" name="Freeform 449">
              <a:extLst>
                <a:ext uri="{FF2B5EF4-FFF2-40B4-BE49-F238E27FC236}">
                  <a16:creationId xmlns:a16="http://schemas.microsoft.com/office/drawing/2014/main" id="{80C40A9F-0835-69CD-209F-A5067F33CDDC}"/>
                </a:ext>
              </a:extLst>
            </p:cNvPr>
            <p:cNvSpPr>
              <a:spLocks noChangeAspect="1"/>
            </p:cNvSpPr>
            <p:nvPr/>
          </p:nvSpPr>
          <p:spPr bwMode="auto">
            <a:xfrm>
              <a:off x="4609861" y="4198567"/>
              <a:ext cx="11206" cy="16135"/>
            </a:xfrm>
            <a:custGeom>
              <a:avLst/>
              <a:gdLst>
                <a:gd name="T0" fmla="*/ 0 w 125"/>
                <a:gd name="T1" fmla="*/ 2147483647 h 187"/>
                <a:gd name="T2" fmla="*/ 2147483647 w 125"/>
                <a:gd name="T3" fmla="*/ 2147483647 h 187"/>
                <a:gd name="T4" fmla="*/ 2147483647 w 125"/>
                <a:gd name="T5" fmla="*/ 2147483647 h 187"/>
                <a:gd name="T6" fmla="*/ 2147483647 w 125"/>
                <a:gd name="T7" fmla="*/ 2147483647 h 187"/>
                <a:gd name="T8" fmla="*/ 2147483647 w 125"/>
                <a:gd name="T9" fmla="*/ 2147483647 h 187"/>
                <a:gd name="T10" fmla="*/ 2147483647 w 125"/>
                <a:gd name="T11" fmla="*/ 2147483647 h 187"/>
                <a:gd name="T12" fmla="*/ 2147483647 w 125"/>
                <a:gd name="T13" fmla="*/ 0 h 187"/>
                <a:gd name="T14" fmla="*/ 0 w 125"/>
                <a:gd name="T15" fmla="*/ 2147483647 h 187"/>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187"/>
                <a:gd name="T26" fmla="*/ 125 w 125"/>
                <a:gd name="T27" fmla="*/ 187 h 1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187">
                  <a:moveTo>
                    <a:pt x="0" y="33"/>
                  </a:moveTo>
                  <a:lnTo>
                    <a:pt x="7" y="103"/>
                  </a:lnTo>
                  <a:lnTo>
                    <a:pt x="14" y="187"/>
                  </a:lnTo>
                  <a:lnTo>
                    <a:pt x="86" y="173"/>
                  </a:lnTo>
                  <a:lnTo>
                    <a:pt x="115" y="110"/>
                  </a:lnTo>
                  <a:lnTo>
                    <a:pt x="125" y="24"/>
                  </a:lnTo>
                  <a:lnTo>
                    <a:pt x="53" y="0"/>
                  </a:lnTo>
                  <a:lnTo>
                    <a:pt x="0" y="33"/>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67" name="Freeform 30">
              <a:extLst>
                <a:ext uri="{FF2B5EF4-FFF2-40B4-BE49-F238E27FC236}">
                  <a16:creationId xmlns:a16="http://schemas.microsoft.com/office/drawing/2014/main" id="{DCFDB17B-A146-2315-1030-EE1AA690DF93}"/>
                </a:ext>
              </a:extLst>
            </p:cNvPr>
            <p:cNvSpPr>
              <a:spLocks/>
            </p:cNvSpPr>
            <p:nvPr/>
          </p:nvSpPr>
          <p:spPr bwMode="auto">
            <a:xfrm>
              <a:off x="5815523" y="3451823"/>
              <a:ext cx="190486" cy="225868"/>
            </a:xfrm>
            <a:custGeom>
              <a:avLst/>
              <a:gdLst>
                <a:gd name="T0" fmla="*/ 0 w 1135"/>
                <a:gd name="T1" fmla="*/ 2147483647 h 1311"/>
                <a:gd name="T2" fmla="*/ 2147483647 w 1135"/>
                <a:gd name="T3" fmla="*/ 2147483647 h 1311"/>
                <a:gd name="T4" fmla="*/ 2147483647 w 1135"/>
                <a:gd name="T5" fmla="*/ 2147483647 h 1311"/>
                <a:gd name="T6" fmla="*/ 2147483647 w 1135"/>
                <a:gd name="T7" fmla="*/ 2147483647 h 1311"/>
                <a:gd name="T8" fmla="*/ 2147483647 w 1135"/>
                <a:gd name="T9" fmla="*/ 2147483647 h 1311"/>
                <a:gd name="T10" fmla="*/ 2147483647 w 1135"/>
                <a:gd name="T11" fmla="*/ 2147483647 h 1311"/>
                <a:gd name="T12" fmla="*/ 2147483647 w 1135"/>
                <a:gd name="T13" fmla="*/ 2147483647 h 1311"/>
                <a:gd name="T14" fmla="*/ 2147483647 w 1135"/>
                <a:gd name="T15" fmla="*/ 2147483647 h 1311"/>
                <a:gd name="T16" fmla="*/ 2147483647 w 1135"/>
                <a:gd name="T17" fmla="*/ 2147483647 h 1311"/>
                <a:gd name="T18" fmla="*/ 2147483647 w 1135"/>
                <a:gd name="T19" fmla="*/ 2147483647 h 1311"/>
                <a:gd name="T20" fmla="*/ 2147483647 w 1135"/>
                <a:gd name="T21" fmla="*/ 2147483647 h 1311"/>
                <a:gd name="T22" fmla="*/ 2147483647 w 1135"/>
                <a:gd name="T23" fmla="*/ 2147483647 h 1311"/>
                <a:gd name="T24" fmla="*/ 2147483647 w 1135"/>
                <a:gd name="T25" fmla="*/ 2147483647 h 1311"/>
                <a:gd name="T26" fmla="*/ 2147483647 w 1135"/>
                <a:gd name="T27" fmla="*/ 2147483647 h 1311"/>
                <a:gd name="T28" fmla="*/ 2147483647 w 1135"/>
                <a:gd name="T29" fmla="*/ 2147483647 h 1311"/>
                <a:gd name="T30" fmla="*/ 2147483647 w 1135"/>
                <a:gd name="T31" fmla="*/ 2147483647 h 1311"/>
                <a:gd name="T32" fmla="*/ 2147483647 w 1135"/>
                <a:gd name="T33" fmla="*/ 2147483647 h 1311"/>
                <a:gd name="T34" fmla="*/ 2147483647 w 1135"/>
                <a:gd name="T35" fmla="*/ 2147483647 h 1311"/>
                <a:gd name="T36" fmla="*/ 2147483647 w 1135"/>
                <a:gd name="T37" fmla="*/ 2147483647 h 1311"/>
                <a:gd name="T38" fmla="*/ 2147483647 w 1135"/>
                <a:gd name="T39" fmla="*/ 2147483647 h 1311"/>
                <a:gd name="T40" fmla="*/ 2147483647 w 1135"/>
                <a:gd name="T41" fmla="*/ 2147483647 h 1311"/>
                <a:gd name="T42" fmla="*/ 2147483647 w 1135"/>
                <a:gd name="T43" fmla="*/ 2147483647 h 1311"/>
                <a:gd name="T44" fmla="*/ 2147483647 w 1135"/>
                <a:gd name="T45" fmla="*/ 2147483647 h 1311"/>
                <a:gd name="T46" fmla="*/ 2147483647 w 1135"/>
                <a:gd name="T47" fmla="*/ 2147483647 h 1311"/>
                <a:gd name="T48" fmla="*/ 2147483647 w 1135"/>
                <a:gd name="T49" fmla="*/ 0 h 1311"/>
                <a:gd name="T50" fmla="*/ 2147483647 w 1135"/>
                <a:gd name="T51" fmla="*/ 2147483647 h 1311"/>
                <a:gd name="T52" fmla="*/ 2147483647 w 1135"/>
                <a:gd name="T53" fmla="*/ 2147483647 h 1311"/>
                <a:gd name="T54" fmla="*/ 2147483647 w 1135"/>
                <a:gd name="T55" fmla="*/ 2147483647 h 1311"/>
                <a:gd name="T56" fmla="*/ 2147483647 w 1135"/>
                <a:gd name="T57" fmla="*/ 2147483647 h 1311"/>
                <a:gd name="T58" fmla="*/ 2147483647 w 1135"/>
                <a:gd name="T59" fmla="*/ 2147483647 h 1311"/>
                <a:gd name="T60" fmla="*/ 2147483647 w 1135"/>
                <a:gd name="T61" fmla="*/ 2147483647 h 1311"/>
                <a:gd name="T62" fmla="*/ 2147483647 w 1135"/>
                <a:gd name="T63" fmla="*/ 2147483647 h 1311"/>
                <a:gd name="T64" fmla="*/ 2147483647 w 1135"/>
                <a:gd name="T65" fmla="*/ 2147483647 h 1311"/>
                <a:gd name="T66" fmla="*/ 2147483647 w 1135"/>
                <a:gd name="T67" fmla="*/ 2147483647 h 1311"/>
                <a:gd name="T68" fmla="*/ 2147483647 w 1135"/>
                <a:gd name="T69" fmla="*/ 2147483647 h 1311"/>
                <a:gd name="T70" fmla="*/ 2147483647 w 1135"/>
                <a:gd name="T71" fmla="*/ 2147483647 h 1311"/>
                <a:gd name="T72" fmla="*/ 0 w 1135"/>
                <a:gd name="T73" fmla="*/ 2147483647 h 13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35"/>
                <a:gd name="T112" fmla="*/ 0 h 1311"/>
                <a:gd name="T113" fmla="*/ 1132 w 1135"/>
                <a:gd name="T114" fmla="*/ 1257 h 13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35" h="1311">
                  <a:moveTo>
                    <a:pt x="0" y="960"/>
                  </a:moveTo>
                  <a:lnTo>
                    <a:pt x="57" y="1153"/>
                  </a:lnTo>
                  <a:lnTo>
                    <a:pt x="107" y="1221"/>
                  </a:lnTo>
                  <a:lnTo>
                    <a:pt x="154" y="1311"/>
                  </a:lnTo>
                  <a:lnTo>
                    <a:pt x="274" y="1309"/>
                  </a:lnTo>
                  <a:lnTo>
                    <a:pt x="384" y="1230"/>
                  </a:lnTo>
                  <a:lnTo>
                    <a:pt x="463" y="1183"/>
                  </a:lnTo>
                  <a:lnTo>
                    <a:pt x="495" y="1120"/>
                  </a:lnTo>
                  <a:lnTo>
                    <a:pt x="637" y="1105"/>
                  </a:lnTo>
                  <a:lnTo>
                    <a:pt x="708" y="995"/>
                  </a:lnTo>
                  <a:lnTo>
                    <a:pt x="787" y="940"/>
                  </a:lnTo>
                  <a:lnTo>
                    <a:pt x="850" y="932"/>
                  </a:lnTo>
                  <a:lnTo>
                    <a:pt x="803" y="822"/>
                  </a:lnTo>
                  <a:lnTo>
                    <a:pt x="811" y="735"/>
                  </a:lnTo>
                  <a:lnTo>
                    <a:pt x="882" y="696"/>
                  </a:lnTo>
                  <a:lnTo>
                    <a:pt x="993" y="681"/>
                  </a:lnTo>
                  <a:lnTo>
                    <a:pt x="1072" y="571"/>
                  </a:lnTo>
                  <a:lnTo>
                    <a:pt x="1127" y="500"/>
                  </a:lnTo>
                  <a:lnTo>
                    <a:pt x="1135" y="406"/>
                  </a:lnTo>
                  <a:lnTo>
                    <a:pt x="1056" y="343"/>
                  </a:lnTo>
                  <a:lnTo>
                    <a:pt x="1017" y="249"/>
                  </a:lnTo>
                  <a:lnTo>
                    <a:pt x="937" y="194"/>
                  </a:lnTo>
                  <a:lnTo>
                    <a:pt x="819" y="202"/>
                  </a:lnTo>
                  <a:lnTo>
                    <a:pt x="724" y="139"/>
                  </a:lnTo>
                  <a:lnTo>
                    <a:pt x="630" y="76"/>
                  </a:lnTo>
                  <a:lnTo>
                    <a:pt x="632" y="9"/>
                  </a:lnTo>
                  <a:lnTo>
                    <a:pt x="617" y="1"/>
                  </a:lnTo>
                  <a:lnTo>
                    <a:pt x="599" y="27"/>
                  </a:lnTo>
                  <a:lnTo>
                    <a:pt x="584" y="37"/>
                  </a:lnTo>
                  <a:lnTo>
                    <a:pt x="571" y="24"/>
                  </a:lnTo>
                  <a:lnTo>
                    <a:pt x="571" y="0"/>
                  </a:lnTo>
                  <a:lnTo>
                    <a:pt x="544" y="10"/>
                  </a:lnTo>
                  <a:lnTo>
                    <a:pt x="550" y="45"/>
                  </a:lnTo>
                  <a:lnTo>
                    <a:pt x="545" y="66"/>
                  </a:lnTo>
                  <a:lnTo>
                    <a:pt x="542" y="100"/>
                  </a:lnTo>
                  <a:lnTo>
                    <a:pt x="495" y="186"/>
                  </a:lnTo>
                  <a:lnTo>
                    <a:pt x="495" y="272"/>
                  </a:lnTo>
                  <a:lnTo>
                    <a:pt x="471" y="343"/>
                  </a:lnTo>
                  <a:lnTo>
                    <a:pt x="487" y="402"/>
                  </a:lnTo>
                  <a:lnTo>
                    <a:pt x="543" y="511"/>
                  </a:lnTo>
                  <a:lnTo>
                    <a:pt x="492" y="611"/>
                  </a:lnTo>
                  <a:lnTo>
                    <a:pt x="418" y="706"/>
                  </a:lnTo>
                  <a:lnTo>
                    <a:pt x="373" y="817"/>
                  </a:lnTo>
                  <a:lnTo>
                    <a:pt x="300" y="888"/>
                  </a:lnTo>
                  <a:lnTo>
                    <a:pt x="141" y="949"/>
                  </a:lnTo>
                  <a:lnTo>
                    <a:pt x="0" y="960"/>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sp>
          <p:nvSpPr>
            <p:cNvPr id="268" name="Freeform 95">
              <a:extLst>
                <a:ext uri="{FF2B5EF4-FFF2-40B4-BE49-F238E27FC236}">
                  <a16:creationId xmlns:a16="http://schemas.microsoft.com/office/drawing/2014/main" id="{105AE510-6025-82C9-4AE9-B2FCFE3A9959}"/>
                </a:ext>
              </a:extLst>
            </p:cNvPr>
            <p:cNvSpPr>
              <a:spLocks noChangeAspect="1"/>
            </p:cNvSpPr>
            <p:nvPr/>
          </p:nvSpPr>
          <p:spPr bwMode="auto">
            <a:xfrm>
              <a:off x="5914128" y="3414947"/>
              <a:ext cx="8965" cy="18438"/>
            </a:xfrm>
            <a:custGeom>
              <a:avLst/>
              <a:gdLst>
                <a:gd name="T0" fmla="*/ 160823448 w 55"/>
                <a:gd name="T1" fmla="*/ 0 h 108"/>
                <a:gd name="T2" fmla="*/ 139655781 w 55"/>
                <a:gd name="T3" fmla="*/ 128047515 h 108"/>
                <a:gd name="T4" fmla="*/ 152359129 w 55"/>
                <a:gd name="T5" fmla="*/ 260367756 h 108"/>
                <a:gd name="T6" fmla="*/ 160823448 w 55"/>
                <a:gd name="T7" fmla="*/ 362805721 h 108"/>
                <a:gd name="T8" fmla="*/ 25393188 w 55"/>
                <a:gd name="T9" fmla="*/ 358546635 h 108"/>
                <a:gd name="T10" fmla="*/ 0 w 55"/>
                <a:gd name="T11" fmla="*/ 196343999 h 108"/>
                <a:gd name="T12" fmla="*/ 59250811 w 55"/>
                <a:gd name="T13" fmla="*/ 25609432 h 108"/>
                <a:gd name="T14" fmla="*/ 160823448 w 55"/>
                <a:gd name="T15" fmla="*/ 0 h 108"/>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108"/>
                <a:gd name="T26" fmla="*/ 38 w 55"/>
                <a:gd name="T27" fmla="*/ 85 h 1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108">
                  <a:moveTo>
                    <a:pt x="22" y="26"/>
                  </a:moveTo>
                  <a:lnTo>
                    <a:pt x="33" y="12"/>
                  </a:lnTo>
                  <a:lnTo>
                    <a:pt x="42" y="0"/>
                  </a:lnTo>
                  <a:lnTo>
                    <a:pt x="55" y="8"/>
                  </a:lnTo>
                  <a:lnTo>
                    <a:pt x="42" y="27"/>
                  </a:lnTo>
                  <a:lnTo>
                    <a:pt x="49" y="45"/>
                  </a:lnTo>
                  <a:lnTo>
                    <a:pt x="46" y="59"/>
                  </a:lnTo>
                  <a:lnTo>
                    <a:pt x="43" y="78"/>
                  </a:lnTo>
                  <a:lnTo>
                    <a:pt x="34" y="98"/>
                  </a:lnTo>
                  <a:lnTo>
                    <a:pt x="22" y="108"/>
                  </a:lnTo>
                  <a:lnTo>
                    <a:pt x="4" y="108"/>
                  </a:lnTo>
                  <a:lnTo>
                    <a:pt x="6" y="84"/>
                  </a:lnTo>
                  <a:lnTo>
                    <a:pt x="4" y="63"/>
                  </a:lnTo>
                  <a:lnTo>
                    <a:pt x="0" y="42"/>
                  </a:lnTo>
                  <a:lnTo>
                    <a:pt x="10" y="20"/>
                  </a:lnTo>
                  <a:lnTo>
                    <a:pt x="22" y="26"/>
                  </a:lnTo>
                  <a:close/>
                </a:path>
              </a:pathLst>
            </a:custGeom>
            <a:solidFill>
              <a:srgbClr val="E0E0E0"/>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zh-CN" altLang="en-US"/>
            </a:p>
          </p:txBody>
        </p:sp>
      </p:grpSp>
      <p:sp>
        <p:nvSpPr>
          <p:cNvPr id="344" name="Rectangle 343">
            <a:extLst>
              <a:ext uri="{FF2B5EF4-FFF2-40B4-BE49-F238E27FC236}">
                <a16:creationId xmlns:a16="http://schemas.microsoft.com/office/drawing/2014/main" id="{216B44BA-72C7-7744-8B8F-0AFB3C08BE47}"/>
              </a:ext>
            </a:extLst>
          </p:cNvPr>
          <p:cNvSpPr>
            <a:spLocks/>
          </p:cNvSpPr>
          <p:nvPr/>
        </p:nvSpPr>
        <p:spPr>
          <a:xfrm>
            <a:off x="0" y="0"/>
            <a:ext cx="9338389" cy="1056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338" name="Rectangle 337">
            <a:extLst>
              <a:ext uri="{FF2B5EF4-FFF2-40B4-BE49-F238E27FC236}">
                <a16:creationId xmlns:a16="http://schemas.microsoft.com/office/drawing/2014/main" id="{C235B70D-8F8C-61E0-8023-393F23B2E75D}"/>
              </a:ext>
            </a:extLst>
          </p:cNvPr>
          <p:cNvSpPr>
            <a:spLocks/>
          </p:cNvSpPr>
          <p:nvPr/>
        </p:nvSpPr>
        <p:spPr>
          <a:xfrm>
            <a:off x="9485343" y="1309112"/>
            <a:ext cx="264978" cy="678705"/>
          </a:xfrm>
          <a:prstGeom prst="rect">
            <a:avLst/>
          </a:prstGeom>
          <a:solidFill>
            <a:srgbClr val="3A5A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a:ln>
                <a:noFill/>
              </a:ln>
              <a:solidFill>
                <a:schemeClr val="bg1"/>
              </a:solidFill>
              <a:latin typeface="Avenir Next LT Pro" panose="020B0504020202020204" pitchFamily="34" charset="0"/>
            </a:endParaRPr>
          </a:p>
        </p:txBody>
      </p:sp>
      <p:sp>
        <p:nvSpPr>
          <p:cNvPr id="339" name="Rectangle 338">
            <a:extLst>
              <a:ext uri="{FF2B5EF4-FFF2-40B4-BE49-F238E27FC236}">
                <a16:creationId xmlns:a16="http://schemas.microsoft.com/office/drawing/2014/main" id="{4F66D52D-0748-7D93-741E-535787EF0417}"/>
              </a:ext>
            </a:extLst>
          </p:cNvPr>
          <p:cNvSpPr>
            <a:spLocks/>
          </p:cNvSpPr>
          <p:nvPr/>
        </p:nvSpPr>
        <p:spPr>
          <a:xfrm>
            <a:off x="9750321" y="1309112"/>
            <a:ext cx="2174980" cy="6787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a:ln>
                <a:noFill/>
              </a:ln>
              <a:solidFill>
                <a:schemeClr val="bg1"/>
              </a:solidFill>
              <a:latin typeface="Avenir Next LT Pro" panose="020B0504020202020204" pitchFamily="34" charset="0"/>
            </a:endParaRPr>
          </a:p>
        </p:txBody>
      </p:sp>
      <p:sp>
        <p:nvSpPr>
          <p:cNvPr id="340" name="Rectangle 339">
            <a:extLst>
              <a:ext uri="{FF2B5EF4-FFF2-40B4-BE49-F238E27FC236}">
                <a16:creationId xmlns:a16="http://schemas.microsoft.com/office/drawing/2014/main" id="{17008B46-E3A4-2B6E-6C49-DC50DC9FB309}"/>
              </a:ext>
            </a:extLst>
          </p:cNvPr>
          <p:cNvSpPr>
            <a:spLocks/>
          </p:cNvSpPr>
          <p:nvPr/>
        </p:nvSpPr>
        <p:spPr>
          <a:xfrm>
            <a:off x="9485343" y="2089930"/>
            <a:ext cx="264978" cy="678705"/>
          </a:xfrm>
          <a:prstGeom prst="rect">
            <a:avLst/>
          </a:prstGeom>
          <a:solidFill>
            <a:srgbClr val="A3B1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a:ln>
                <a:noFill/>
              </a:ln>
              <a:solidFill>
                <a:schemeClr val="bg1"/>
              </a:solidFill>
              <a:latin typeface="Avenir Next LT Pro" panose="020B0504020202020204" pitchFamily="34" charset="0"/>
            </a:endParaRPr>
          </a:p>
        </p:txBody>
      </p:sp>
      <p:sp>
        <p:nvSpPr>
          <p:cNvPr id="341" name="Rectangle 340">
            <a:extLst>
              <a:ext uri="{FF2B5EF4-FFF2-40B4-BE49-F238E27FC236}">
                <a16:creationId xmlns:a16="http://schemas.microsoft.com/office/drawing/2014/main" id="{C203A77A-5E7D-09B9-87B8-E1A98EBE210A}"/>
              </a:ext>
            </a:extLst>
          </p:cNvPr>
          <p:cNvSpPr>
            <a:spLocks/>
          </p:cNvSpPr>
          <p:nvPr/>
        </p:nvSpPr>
        <p:spPr>
          <a:xfrm>
            <a:off x="9750321" y="2089930"/>
            <a:ext cx="2174980" cy="6787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a:ln>
                <a:noFill/>
              </a:ln>
              <a:solidFill>
                <a:schemeClr val="bg1"/>
              </a:solidFill>
              <a:latin typeface="Avenir Next LT Pro" panose="020B0504020202020204" pitchFamily="34" charset="0"/>
            </a:endParaRPr>
          </a:p>
        </p:txBody>
      </p:sp>
      <p:sp>
        <p:nvSpPr>
          <p:cNvPr id="321" name="TextBox 320">
            <a:extLst>
              <a:ext uri="{FF2B5EF4-FFF2-40B4-BE49-F238E27FC236}">
                <a16:creationId xmlns:a16="http://schemas.microsoft.com/office/drawing/2014/main" id="{3D97FB25-34B6-548C-3D55-8B0DAADAA7B8}"/>
              </a:ext>
            </a:extLst>
          </p:cNvPr>
          <p:cNvSpPr txBox="1">
            <a:spLocks/>
          </p:cNvSpPr>
          <p:nvPr/>
        </p:nvSpPr>
        <p:spPr>
          <a:xfrm>
            <a:off x="1034350" y="2912080"/>
            <a:ext cx="1046170" cy="172014"/>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050" b="1">
                <a:solidFill>
                  <a:srgbClr val="F7990F"/>
                </a:solidFill>
                <a:latin typeface="Avenir Next LT Pro" panose="020B0504020202020204" pitchFamily="34" charset="0"/>
              </a:rPr>
              <a:t>Latin America</a:t>
            </a:r>
          </a:p>
        </p:txBody>
      </p:sp>
      <p:sp>
        <p:nvSpPr>
          <p:cNvPr id="322" name="Freeform: Shape 321">
            <a:extLst>
              <a:ext uri="{FF2B5EF4-FFF2-40B4-BE49-F238E27FC236}">
                <a16:creationId xmlns:a16="http://schemas.microsoft.com/office/drawing/2014/main" id="{7F27AEFD-640F-A9EE-93A1-EA58CE3AD858}"/>
              </a:ext>
            </a:extLst>
          </p:cNvPr>
          <p:cNvSpPr>
            <a:spLocks/>
          </p:cNvSpPr>
          <p:nvPr/>
        </p:nvSpPr>
        <p:spPr>
          <a:xfrm>
            <a:off x="3800870" y="3115313"/>
            <a:ext cx="2085903" cy="2346194"/>
          </a:xfrm>
          <a:custGeom>
            <a:avLst/>
            <a:gdLst>
              <a:gd name="connsiteX0" fmla="*/ 0 w 2144485"/>
              <a:gd name="connsiteY0" fmla="*/ 0 h 2318657"/>
              <a:gd name="connsiteX1" fmla="*/ 1382485 w 2144485"/>
              <a:gd name="connsiteY1" fmla="*/ 10886 h 2318657"/>
              <a:gd name="connsiteX2" fmla="*/ 2122714 w 2144485"/>
              <a:gd name="connsiteY2" fmla="*/ 816428 h 2318657"/>
              <a:gd name="connsiteX3" fmla="*/ 2144485 w 2144485"/>
              <a:gd name="connsiteY3" fmla="*/ 2318657 h 2318657"/>
              <a:gd name="connsiteX4" fmla="*/ 21771 w 2144485"/>
              <a:gd name="connsiteY4" fmla="*/ 2318657 h 2318657"/>
              <a:gd name="connsiteX5" fmla="*/ 0 w 2144485"/>
              <a:gd name="connsiteY5" fmla="*/ 0 h 231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4485" h="2318657">
                <a:moveTo>
                  <a:pt x="0" y="0"/>
                </a:moveTo>
                <a:lnTo>
                  <a:pt x="1382485" y="10886"/>
                </a:lnTo>
                <a:lnTo>
                  <a:pt x="2122714" y="816428"/>
                </a:lnTo>
                <a:lnTo>
                  <a:pt x="2144485" y="2318657"/>
                </a:lnTo>
                <a:lnTo>
                  <a:pt x="21771" y="2318657"/>
                </a:lnTo>
                <a:lnTo>
                  <a:pt x="0" y="0"/>
                </a:lnTo>
                <a:close/>
              </a:path>
            </a:pathLst>
          </a:custGeom>
          <a:noFill/>
          <a:ln>
            <a:solidFill>
              <a:srgbClr val="F7990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323" name="TextBox 322">
            <a:extLst>
              <a:ext uri="{FF2B5EF4-FFF2-40B4-BE49-F238E27FC236}">
                <a16:creationId xmlns:a16="http://schemas.microsoft.com/office/drawing/2014/main" id="{C941C544-495C-953B-2B21-281A3802A73A}"/>
              </a:ext>
            </a:extLst>
          </p:cNvPr>
          <p:cNvSpPr txBox="1">
            <a:spLocks/>
          </p:cNvSpPr>
          <p:nvPr/>
        </p:nvSpPr>
        <p:spPr>
          <a:xfrm>
            <a:off x="3800870" y="2912080"/>
            <a:ext cx="1046170" cy="172014"/>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050" b="1" dirty="0">
                <a:solidFill>
                  <a:srgbClr val="F7990F"/>
                </a:solidFill>
                <a:latin typeface="Avenir Next LT Pro" panose="020B0504020202020204" pitchFamily="34" charset="0"/>
              </a:rPr>
              <a:t>Africa</a:t>
            </a:r>
          </a:p>
        </p:txBody>
      </p:sp>
      <p:sp>
        <p:nvSpPr>
          <p:cNvPr id="325" name="TextBox 324">
            <a:extLst>
              <a:ext uri="{FF2B5EF4-FFF2-40B4-BE49-F238E27FC236}">
                <a16:creationId xmlns:a16="http://schemas.microsoft.com/office/drawing/2014/main" id="{5603CBC7-6AED-B4C9-84C1-5A6CD50592C6}"/>
              </a:ext>
            </a:extLst>
          </p:cNvPr>
          <p:cNvSpPr txBox="1">
            <a:spLocks/>
          </p:cNvSpPr>
          <p:nvPr/>
        </p:nvSpPr>
        <p:spPr>
          <a:xfrm>
            <a:off x="5148904" y="1093832"/>
            <a:ext cx="1046170" cy="172014"/>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050" b="1" dirty="0">
                <a:solidFill>
                  <a:srgbClr val="F7990F"/>
                </a:solidFill>
                <a:latin typeface="Avenir Next LT Pro" panose="020B0504020202020204" pitchFamily="34" charset="0"/>
              </a:rPr>
              <a:t>Asia</a:t>
            </a:r>
          </a:p>
        </p:txBody>
      </p:sp>
      <p:sp>
        <p:nvSpPr>
          <p:cNvPr id="2" name="Title 1">
            <a:extLst>
              <a:ext uri="{FF2B5EF4-FFF2-40B4-BE49-F238E27FC236}">
                <a16:creationId xmlns:a16="http://schemas.microsoft.com/office/drawing/2014/main" id="{03E3A6AC-84E2-4974-0529-920C2457733C}"/>
              </a:ext>
            </a:extLst>
          </p:cNvPr>
          <p:cNvSpPr>
            <a:spLocks noGrp="1"/>
          </p:cNvSpPr>
          <p:nvPr>
            <p:ph type="title"/>
          </p:nvPr>
        </p:nvSpPr>
        <p:spPr/>
        <p:txBody>
          <a:bodyPr vert="horz" wrap="square" lIns="0" tIns="0" rIns="0" bIns="0" rtlCol="0" anchor="ctr" anchorCtr="0">
            <a:noAutofit/>
          </a:bodyPr>
          <a:lstStyle/>
          <a:p>
            <a:pPr>
              <a:tabLst>
                <a:tab pos="10028238" algn="l"/>
              </a:tabLst>
            </a:pPr>
            <a:r>
              <a:rPr lang="en-US" b="1" dirty="0">
                <a:latin typeface="Avenir Next LT Pro"/>
              </a:rPr>
              <a:t>Map of Priority Countries</a:t>
            </a:r>
          </a:p>
        </p:txBody>
      </p:sp>
      <p:sp>
        <p:nvSpPr>
          <p:cNvPr id="23" name="TextBox 22">
            <a:extLst>
              <a:ext uri="{FF2B5EF4-FFF2-40B4-BE49-F238E27FC236}">
                <a16:creationId xmlns:a16="http://schemas.microsoft.com/office/drawing/2014/main" id="{DED7A6EE-393D-D04B-B7D9-84446EBF8C4B}"/>
              </a:ext>
            </a:extLst>
          </p:cNvPr>
          <p:cNvSpPr txBox="1">
            <a:spLocks/>
          </p:cNvSpPr>
          <p:nvPr/>
        </p:nvSpPr>
        <p:spPr>
          <a:xfrm>
            <a:off x="642796" y="5979976"/>
            <a:ext cx="10253804" cy="769441"/>
          </a:xfrm>
          <a:prstGeom prst="rect">
            <a:avLst/>
          </a:prstGeom>
          <a:noFill/>
        </p:spPr>
        <p:txBody>
          <a:bodyPr wrap="square" lIns="0" tIns="0" rIns="0" bIns="0" rtlCol="0" anchor="ctr">
            <a:spAutoFit/>
          </a:bodyPr>
          <a:lstStyle/>
          <a:p>
            <a:r>
              <a:rPr lang="en-GB" sz="1000" b="1" dirty="0">
                <a:solidFill>
                  <a:schemeClr val="bg1">
                    <a:lumMod val="50000"/>
                  </a:schemeClr>
                </a:solidFill>
                <a:latin typeface="Avenir Next LT Pro"/>
              </a:rPr>
              <a:t>Darker</a:t>
            </a:r>
            <a:r>
              <a:rPr lang="en-GB" sz="1000" dirty="0">
                <a:solidFill>
                  <a:schemeClr val="bg1">
                    <a:lumMod val="50000"/>
                  </a:schemeClr>
                </a:solidFill>
                <a:latin typeface="Avenir Next LT Pro"/>
              </a:rPr>
              <a:t>: Brazil, Cameroon, China, Colombia, Côte d'Ivoire, Democratic Republic of the Congo, Gabon, India, Indonesia, Madagascar, Malaysia, Paraguay, Papua New Guinea, Peru, Thailand.</a:t>
            </a:r>
          </a:p>
          <a:p>
            <a:r>
              <a:rPr lang="en-GB" sz="1000" b="1" dirty="0">
                <a:solidFill>
                  <a:schemeClr val="bg1">
                    <a:lumMod val="50000"/>
                  </a:schemeClr>
                </a:solidFill>
                <a:latin typeface="Avenir Next LT Pro"/>
              </a:rPr>
              <a:t>Lighter</a:t>
            </a:r>
            <a:r>
              <a:rPr lang="en-GB" sz="1000" dirty="0">
                <a:solidFill>
                  <a:schemeClr val="bg1">
                    <a:lumMod val="50000"/>
                  </a:schemeClr>
                </a:solidFill>
                <a:latin typeface="Avenir Next LT Pro"/>
              </a:rPr>
              <a:t>: Angola, Argentina, Benin, Bolivia, Burkina Faso, Cambodia, Central African Republic, Chad, Chile, Dominican Republic, Ecuador, Equatorial Guinea, Ethiopia, Ghana, Guatemala, Guinea, Honduras, Kazakhstan, Laos, Liberia, Mali, Mexico, Nicaragua, Nigeria, Pakistan, Panama, Philippines, Republic of the Congo, South Africa, Sri Lanka, Uganda, United Republic of Tanzania, Uruguay, Uzbekistan, Vietnam, Zimbabwe</a:t>
            </a:r>
          </a:p>
        </p:txBody>
      </p:sp>
      <p:sp>
        <p:nvSpPr>
          <p:cNvPr id="328" name="Freeform: Shape 327">
            <a:extLst>
              <a:ext uri="{FF2B5EF4-FFF2-40B4-BE49-F238E27FC236}">
                <a16:creationId xmlns:a16="http://schemas.microsoft.com/office/drawing/2014/main" id="{EF690126-0FF4-03B1-F090-05ABC9A040A9}"/>
              </a:ext>
            </a:extLst>
          </p:cNvPr>
          <p:cNvSpPr>
            <a:spLocks/>
          </p:cNvSpPr>
          <p:nvPr/>
        </p:nvSpPr>
        <p:spPr>
          <a:xfrm>
            <a:off x="5148904" y="1309112"/>
            <a:ext cx="4204003" cy="3139171"/>
          </a:xfrm>
          <a:custGeom>
            <a:avLst/>
            <a:gdLst>
              <a:gd name="connsiteX0" fmla="*/ 0 w 3690257"/>
              <a:gd name="connsiteY0" fmla="*/ 1023257 h 2656114"/>
              <a:gd name="connsiteX1" fmla="*/ 1524000 w 3690257"/>
              <a:gd name="connsiteY1" fmla="*/ 2645228 h 2656114"/>
              <a:gd name="connsiteX2" fmla="*/ 3690257 w 3690257"/>
              <a:gd name="connsiteY2" fmla="*/ 2656114 h 2656114"/>
              <a:gd name="connsiteX3" fmla="*/ 3657600 w 3690257"/>
              <a:gd name="connsiteY3" fmla="*/ 0 h 2656114"/>
              <a:gd name="connsiteX4" fmla="*/ 43543 w 3690257"/>
              <a:gd name="connsiteY4" fmla="*/ 0 h 2656114"/>
              <a:gd name="connsiteX5" fmla="*/ 0 w 3690257"/>
              <a:gd name="connsiteY5" fmla="*/ 1023257 h 2656114"/>
              <a:gd name="connsiteX0" fmla="*/ 0 w 3690257"/>
              <a:gd name="connsiteY0" fmla="*/ 1023257 h 2656114"/>
              <a:gd name="connsiteX1" fmla="*/ 1383639 w 3690257"/>
              <a:gd name="connsiteY1" fmla="*/ 2624238 h 2656114"/>
              <a:gd name="connsiteX2" fmla="*/ 3690257 w 3690257"/>
              <a:gd name="connsiteY2" fmla="*/ 2656114 h 2656114"/>
              <a:gd name="connsiteX3" fmla="*/ 3657600 w 3690257"/>
              <a:gd name="connsiteY3" fmla="*/ 0 h 2656114"/>
              <a:gd name="connsiteX4" fmla="*/ 43543 w 3690257"/>
              <a:gd name="connsiteY4" fmla="*/ 0 h 2656114"/>
              <a:gd name="connsiteX5" fmla="*/ 0 w 3690257"/>
              <a:gd name="connsiteY5" fmla="*/ 1023257 h 2656114"/>
              <a:gd name="connsiteX0" fmla="*/ 0 w 3654395"/>
              <a:gd name="connsiteY0" fmla="*/ 1058031 h 2656114"/>
              <a:gd name="connsiteX1" fmla="*/ 1347777 w 3654395"/>
              <a:gd name="connsiteY1" fmla="*/ 2624238 h 2656114"/>
              <a:gd name="connsiteX2" fmla="*/ 3654395 w 3654395"/>
              <a:gd name="connsiteY2" fmla="*/ 2656114 h 2656114"/>
              <a:gd name="connsiteX3" fmla="*/ 3621738 w 3654395"/>
              <a:gd name="connsiteY3" fmla="*/ 0 h 2656114"/>
              <a:gd name="connsiteX4" fmla="*/ 7681 w 3654395"/>
              <a:gd name="connsiteY4" fmla="*/ 0 h 2656114"/>
              <a:gd name="connsiteX5" fmla="*/ 0 w 3654395"/>
              <a:gd name="connsiteY5" fmla="*/ 1058031 h 2656114"/>
              <a:gd name="connsiteX0" fmla="*/ 0 w 3654395"/>
              <a:gd name="connsiteY0" fmla="*/ 1058031 h 2656114"/>
              <a:gd name="connsiteX1" fmla="*/ 1347777 w 3654395"/>
              <a:gd name="connsiteY1" fmla="*/ 2624238 h 2656114"/>
              <a:gd name="connsiteX2" fmla="*/ 3654395 w 3654395"/>
              <a:gd name="connsiteY2" fmla="*/ 2656114 h 2656114"/>
              <a:gd name="connsiteX3" fmla="*/ 3621738 w 3654395"/>
              <a:gd name="connsiteY3" fmla="*/ 0 h 2656114"/>
              <a:gd name="connsiteX4" fmla="*/ 238085 w 3654395"/>
              <a:gd name="connsiteY4" fmla="*/ 0 h 2656114"/>
              <a:gd name="connsiteX5" fmla="*/ 0 w 3654395"/>
              <a:gd name="connsiteY5" fmla="*/ 1058031 h 2656114"/>
              <a:gd name="connsiteX0" fmla="*/ 0 w 3495496"/>
              <a:gd name="connsiteY0" fmla="*/ 1371092 h 2656114"/>
              <a:gd name="connsiteX1" fmla="*/ 1188878 w 3495496"/>
              <a:gd name="connsiteY1" fmla="*/ 2624238 h 2656114"/>
              <a:gd name="connsiteX2" fmla="*/ 3495496 w 3495496"/>
              <a:gd name="connsiteY2" fmla="*/ 2656114 h 2656114"/>
              <a:gd name="connsiteX3" fmla="*/ 3462839 w 3495496"/>
              <a:gd name="connsiteY3" fmla="*/ 0 h 2656114"/>
              <a:gd name="connsiteX4" fmla="*/ 79186 w 3495496"/>
              <a:gd name="connsiteY4" fmla="*/ 0 h 2656114"/>
              <a:gd name="connsiteX5" fmla="*/ 0 w 3495496"/>
              <a:gd name="connsiteY5" fmla="*/ 1371092 h 2656114"/>
              <a:gd name="connsiteX0" fmla="*/ 0 w 3495496"/>
              <a:gd name="connsiteY0" fmla="*/ 1371092 h 2656114"/>
              <a:gd name="connsiteX1" fmla="*/ 1149153 w 3495496"/>
              <a:gd name="connsiteY1" fmla="*/ 2639510 h 2656114"/>
              <a:gd name="connsiteX2" fmla="*/ 3495496 w 3495496"/>
              <a:gd name="connsiteY2" fmla="*/ 2656114 h 2656114"/>
              <a:gd name="connsiteX3" fmla="*/ 3462839 w 3495496"/>
              <a:gd name="connsiteY3" fmla="*/ 0 h 2656114"/>
              <a:gd name="connsiteX4" fmla="*/ 79186 w 3495496"/>
              <a:gd name="connsiteY4" fmla="*/ 0 h 2656114"/>
              <a:gd name="connsiteX5" fmla="*/ 0 w 3495496"/>
              <a:gd name="connsiteY5" fmla="*/ 1371092 h 2656114"/>
              <a:gd name="connsiteX0" fmla="*/ 0 w 3495496"/>
              <a:gd name="connsiteY0" fmla="*/ 1371092 h 2656114"/>
              <a:gd name="connsiteX1" fmla="*/ 1149153 w 3495496"/>
              <a:gd name="connsiteY1" fmla="*/ 2639510 h 2656114"/>
              <a:gd name="connsiteX2" fmla="*/ 3495496 w 3495496"/>
              <a:gd name="connsiteY2" fmla="*/ 2656114 h 2656114"/>
              <a:gd name="connsiteX3" fmla="*/ 3462839 w 3495496"/>
              <a:gd name="connsiteY3" fmla="*/ 0 h 2656114"/>
              <a:gd name="connsiteX4" fmla="*/ 31516 w 3495496"/>
              <a:gd name="connsiteY4" fmla="*/ 0 h 2656114"/>
              <a:gd name="connsiteX5" fmla="*/ 0 w 3495496"/>
              <a:gd name="connsiteY5" fmla="*/ 1371092 h 2656114"/>
              <a:gd name="connsiteX0" fmla="*/ 11135 w 3506631"/>
              <a:gd name="connsiteY0" fmla="*/ 1371092 h 2656114"/>
              <a:gd name="connsiteX1" fmla="*/ 1160288 w 3506631"/>
              <a:gd name="connsiteY1" fmla="*/ 2639510 h 2656114"/>
              <a:gd name="connsiteX2" fmla="*/ 3506631 w 3506631"/>
              <a:gd name="connsiteY2" fmla="*/ 2656114 h 2656114"/>
              <a:gd name="connsiteX3" fmla="*/ 3473974 w 3506631"/>
              <a:gd name="connsiteY3" fmla="*/ 0 h 2656114"/>
              <a:gd name="connsiteX4" fmla="*/ 278 w 3506631"/>
              <a:gd name="connsiteY4" fmla="*/ 0 h 2656114"/>
              <a:gd name="connsiteX5" fmla="*/ 11135 w 3506631"/>
              <a:gd name="connsiteY5" fmla="*/ 1371092 h 2656114"/>
              <a:gd name="connsiteX0" fmla="*/ 11135 w 3506631"/>
              <a:gd name="connsiteY0" fmla="*/ 1371092 h 2639510"/>
              <a:gd name="connsiteX1" fmla="*/ 1160288 w 3506631"/>
              <a:gd name="connsiteY1" fmla="*/ 2639510 h 2639510"/>
              <a:gd name="connsiteX2" fmla="*/ 3506631 w 3506631"/>
              <a:gd name="connsiteY2" fmla="*/ 2516490 h 2639510"/>
              <a:gd name="connsiteX3" fmla="*/ 3473974 w 3506631"/>
              <a:gd name="connsiteY3" fmla="*/ 0 h 2639510"/>
              <a:gd name="connsiteX4" fmla="*/ 278 w 3506631"/>
              <a:gd name="connsiteY4" fmla="*/ 0 h 2639510"/>
              <a:gd name="connsiteX5" fmla="*/ 11135 w 3506631"/>
              <a:gd name="connsiteY5" fmla="*/ 1371092 h 2639510"/>
              <a:gd name="connsiteX0" fmla="*/ 11135 w 3506631"/>
              <a:gd name="connsiteY0" fmla="*/ 1371092 h 2516490"/>
              <a:gd name="connsiteX1" fmla="*/ 1087649 w 3506631"/>
              <a:gd name="connsiteY1" fmla="*/ 2511522 h 2516490"/>
              <a:gd name="connsiteX2" fmla="*/ 3506631 w 3506631"/>
              <a:gd name="connsiteY2" fmla="*/ 2516490 h 2516490"/>
              <a:gd name="connsiteX3" fmla="*/ 3473974 w 3506631"/>
              <a:gd name="connsiteY3" fmla="*/ 0 h 2516490"/>
              <a:gd name="connsiteX4" fmla="*/ 278 w 3506631"/>
              <a:gd name="connsiteY4" fmla="*/ 0 h 2516490"/>
              <a:gd name="connsiteX5" fmla="*/ 11135 w 3506631"/>
              <a:gd name="connsiteY5" fmla="*/ 1371092 h 251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6631" h="2516490">
                <a:moveTo>
                  <a:pt x="11135" y="1371092"/>
                </a:moveTo>
                <a:lnTo>
                  <a:pt x="1087649" y="2511522"/>
                </a:lnTo>
                <a:lnTo>
                  <a:pt x="3506631" y="2516490"/>
                </a:lnTo>
                <a:lnTo>
                  <a:pt x="3473974" y="0"/>
                </a:lnTo>
                <a:lnTo>
                  <a:pt x="278" y="0"/>
                </a:lnTo>
                <a:cubicBezTo>
                  <a:pt x="-2282" y="352677"/>
                  <a:pt x="13695" y="1018415"/>
                  <a:pt x="11135" y="1371092"/>
                </a:cubicBezTo>
                <a:close/>
              </a:path>
            </a:pathLst>
          </a:custGeom>
          <a:noFill/>
          <a:ln>
            <a:solidFill>
              <a:srgbClr val="F7990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
        <p:nvSpPr>
          <p:cNvPr id="333" name="TextBox 332">
            <a:extLst>
              <a:ext uri="{FF2B5EF4-FFF2-40B4-BE49-F238E27FC236}">
                <a16:creationId xmlns:a16="http://schemas.microsoft.com/office/drawing/2014/main" id="{D868ECBC-532D-B823-EB9B-32DD4B670113}"/>
              </a:ext>
            </a:extLst>
          </p:cNvPr>
          <p:cNvSpPr txBox="1">
            <a:spLocks/>
          </p:cNvSpPr>
          <p:nvPr/>
        </p:nvSpPr>
        <p:spPr>
          <a:xfrm>
            <a:off x="9794211" y="1463798"/>
            <a:ext cx="2096978" cy="369332"/>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200" dirty="0">
                <a:solidFill>
                  <a:schemeClr val="tx1">
                    <a:lumMod val="95000"/>
                    <a:lumOff val="5000"/>
                  </a:schemeClr>
                </a:solidFill>
                <a:latin typeface="Avenir Next LT Pro" panose="020B0504020202020204" pitchFamily="34" charset="0"/>
              </a:rPr>
              <a:t>Higher Priority Geographic Areas</a:t>
            </a:r>
          </a:p>
        </p:txBody>
      </p:sp>
      <p:sp>
        <p:nvSpPr>
          <p:cNvPr id="337" name="TextBox 336">
            <a:extLst>
              <a:ext uri="{FF2B5EF4-FFF2-40B4-BE49-F238E27FC236}">
                <a16:creationId xmlns:a16="http://schemas.microsoft.com/office/drawing/2014/main" id="{D7E9E54E-BCDC-A1CD-67A8-FA3FEB94EBC5}"/>
              </a:ext>
            </a:extLst>
          </p:cNvPr>
          <p:cNvSpPr txBox="1">
            <a:spLocks/>
          </p:cNvSpPr>
          <p:nvPr/>
        </p:nvSpPr>
        <p:spPr>
          <a:xfrm>
            <a:off x="9794211" y="2336949"/>
            <a:ext cx="2096978" cy="184666"/>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chemeClr val="tx1">
                    <a:lumMod val="95000"/>
                    <a:lumOff val="5000"/>
                  </a:schemeClr>
                </a:solidFill>
                <a:latin typeface="Avenir Next LT Pro" panose="020B0504020202020204" pitchFamily="34" charset="0"/>
              </a:rPr>
              <a:t>Priority Geographic Areas</a:t>
            </a:r>
          </a:p>
        </p:txBody>
      </p:sp>
      <p:sp>
        <p:nvSpPr>
          <p:cNvPr id="3" name="Rectangle 2">
            <a:extLst>
              <a:ext uri="{FF2B5EF4-FFF2-40B4-BE49-F238E27FC236}">
                <a16:creationId xmlns:a16="http://schemas.microsoft.com/office/drawing/2014/main" id="{0019A86C-7FB9-7D17-225F-A4F9507A68E4}"/>
              </a:ext>
            </a:extLst>
          </p:cNvPr>
          <p:cNvSpPr>
            <a:spLocks/>
          </p:cNvSpPr>
          <p:nvPr/>
        </p:nvSpPr>
        <p:spPr>
          <a:xfrm>
            <a:off x="1034350" y="3115313"/>
            <a:ext cx="2661350" cy="2763427"/>
          </a:xfrm>
          <a:prstGeom prst="rect">
            <a:avLst/>
          </a:prstGeom>
          <a:noFill/>
          <a:ln>
            <a:solidFill>
              <a:srgbClr val="F7990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ln>
                <a:noFill/>
              </a:ln>
              <a:solidFill>
                <a:schemeClr val="bg1"/>
              </a:solidFill>
            </a:endParaRPr>
          </a:p>
        </p:txBody>
      </p:sp>
    </p:spTree>
    <p:extLst>
      <p:ext uri="{BB962C8B-B14F-4D97-AF65-F5344CB8AC3E}">
        <p14:creationId xmlns:p14="http://schemas.microsoft.com/office/powerpoint/2010/main" val="25389745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4ABA5C-1266-82C7-2C0F-408A8359DE7C}"/>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C68F11A-32B1-E422-D102-18C7DD93D2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think-cell data - do not delete" hidden="1">
                        <a:extLst>
                          <a:ext uri="{FF2B5EF4-FFF2-40B4-BE49-F238E27FC236}">
                            <a16:creationId xmlns:a16="http://schemas.microsoft.com/office/drawing/2014/main" id="{DC68F11A-32B1-E422-D102-18C7DD93D2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0" name="Group 49">
            <a:extLst>
              <a:ext uri="{FF2B5EF4-FFF2-40B4-BE49-F238E27FC236}">
                <a16:creationId xmlns:a16="http://schemas.microsoft.com/office/drawing/2014/main" id="{942B76FD-DB4B-3D5F-BF82-3DEA9560BC7B}"/>
              </a:ext>
            </a:extLst>
          </p:cNvPr>
          <p:cNvGrpSpPr/>
          <p:nvPr/>
        </p:nvGrpSpPr>
        <p:grpSpPr>
          <a:xfrm>
            <a:off x="0" y="0"/>
            <a:ext cx="4920342" cy="6858000"/>
            <a:chOff x="0" y="0"/>
            <a:chExt cx="4920342" cy="6858000"/>
          </a:xfrm>
        </p:grpSpPr>
        <p:pic>
          <p:nvPicPr>
            <p:cNvPr id="9" name="Picture 8">
              <a:extLst>
                <a:ext uri="{FF2B5EF4-FFF2-40B4-BE49-F238E27FC236}">
                  <a16:creationId xmlns:a16="http://schemas.microsoft.com/office/drawing/2014/main" id="{6D59701F-1DA8-B67D-7937-A3EE85E06AAC}"/>
                </a:ext>
              </a:extLst>
            </p:cNvPr>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0" y="0"/>
              <a:ext cx="4920342" cy="6858000"/>
            </a:xfrm>
            <a:prstGeom prst="rect">
              <a:avLst/>
            </a:prstGeom>
          </p:spPr>
        </p:pic>
        <p:sp>
          <p:nvSpPr>
            <p:cNvPr id="10" name="Rectangle 9">
              <a:extLst>
                <a:ext uri="{FF2B5EF4-FFF2-40B4-BE49-F238E27FC236}">
                  <a16:creationId xmlns:a16="http://schemas.microsoft.com/office/drawing/2014/main" id="{09002954-5E55-6E8F-33B4-B020EA3AE1FF}"/>
                </a:ext>
              </a:extLst>
            </p:cNvPr>
            <p:cNvSpPr>
              <a:spLocks/>
            </p:cNvSpPr>
            <p:nvPr/>
          </p:nvSpPr>
          <p:spPr>
            <a:xfrm>
              <a:off x="0" y="0"/>
              <a:ext cx="4920342" cy="6858000"/>
            </a:xfrm>
            <a:prstGeom prst="rect">
              <a:avLst/>
            </a:prstGeom>
            <a:solidFill>
              <a:srgbClr val="031F35">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2700"/>
            </a:p>
          </p:txBody>
        </p:sp>
      </p:grpSp>
      <p:sp>
        <p:nvSpPr>
          <p:cNvPr id="14" name="Title 1">
            <a:extLst>
              <a:ext uri="{FF2B5EF4-FFF2-40B4-BE49-F238E27FC236}">
                <a16:creationId xmlns:a16="http://schemas.microsoft.com/office/drawing/2014/main" id="{913D387B-5147-3AA4-FE09-EB78A6354EF1}"/>
              </a:ext>
            </a:extLst>
          </p:cNvPr>
          <p:cNvSpPr>
            <a:spLocks noGrp="1"/>
          </p:cNvSpPr>
          <p:nvPr>
            <p:ph type="title"/>
          </p:nvPr>
        </p:nvSpPr>
        <p:spPr>
          <a:xfrm>
            <a:off x="179387" y="339846"/>
            <a:ext cx="11831639" cy="387798"/>
          </a:xfrm>
        </p:spPr>
        <p:txBody>
          <a:bodyPr vert="horz" lIns="0" tIns="0" rIns="0" bIns="0" rtlCol="0" anchor="ctr">
            <a:spAutoFit/>
          </a:bodyPr>
          <a:lstStyle/>
          <a:p>
            <a:r>
              <a:rPr lang="en-GB" sz="2800" b="1">
                <a:solidFill>
                  <a:schemeClr val="bg1"/>
                </a:solidFill>
                <a:latin typeface="Avenir Next LT Pro" panose="020B0504020202020204" pitchFamily="34" charset="0"/>
                <a:ea typeface="Tahoma" panose="020B0604030504040204" pitchFamily="34" charset="0"/>
                <a:cs typeface="Tahoma" panose="020B0604030504040204" pitchFamily="34" charset="0"/>
              </a:rPr>
              <a:t>Agenda</a:t>
            </a:r>
          </a:p>
        </p:txBody>
      </p:sp>
      <p:sp>
        <p:nvSpPr>
          <p:cNvPr id="6" name="Slide Number Placeholder 4">
            <a:extLst>
              <a:ext uri="{FF2B5EF4-FFF2-40B4-BE49-F238E27FC236}">
                <a16:creationId xmlns:a16="http://schemas.microsoft.com/office/drawing/2014/main" id="{235B1A2A-64D7-F7EA-9B30-5E6AA3F61263}"/>
              </a:ext>
            </a:extLst>
          </p:cNvPr>
          <p:cNvSpPr>
            <a:spLocks noGrp="1"/>
          </p:cNvSpPr>
          <p:nvPr>
            <p:ph type="sldNum" sz="quarter" idx="12"/>
          </p:nvPr>
        </p:nvSpPr>
        <p:spPr/>
        <p:txBody>
          <a:bodyPr/>
          <a:lstStyle/>
          <a:p>
            <a:fld id="{ABB6D191-819E-455F-BC39-F2381519C0C1}" type="slidenum">
              <a:rPr lang="en-GB" smtClean="0">
                <a:solidFill>
                  <a:schemeClr val="bg1"/>
                </a:solidFill>
              </a:rPr>
              <a:pPr/>
              <a:t>19</a:t>
            </a:fld>
            <a:endParaRPr lang="en-GB">
              <a:solidFill>
                <a:schemeClr val="bg1"/>
              </a:solidFill>
            </a:endParaRPr>
          </a:p>
        </p:txBody>
      </p:sp>
      <p:sp>
        <p:nvSpPr>
          <p:cNvPr id="29" name="Freeform: Shape 28">
            <a:extLst>
              <a:ext uri="{FF2B5EF4-FFF2-40B4-BE49-F238E27FC236}">
                <a16:creationId xmlns:a16="http://schemas.microsoft.com/office/drawing/2014/main" id="{2F405346-719B-3AE0-D55C-F6DE22185015}"/>
              </a:ext>
            </a:extLst>
          </p:cNvPr>
          <p:cNvSpPr>
            <a:spLocks/>
          </p:cNvSpPr>
          <p:nvPr/>
        </p:nvSpPr>
        <p:spPr>
          <a:xfrm>
            <a:off x="4920343" y="1140589"/>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altLang="ko-KR" sz="1200" b="1">
              <a:solidFill>
                <a:schemeClr val="bg1"/>
              </a:solidFill>
              <a:latin typeface="Helvetica" panose="020B0604020202020204" pitchFamily="34" charset="0"/>
              <a:cs typeface="Calibri" panose="020F0502020204030204" pitchFamily="34" charset="0"/>
            </a:endParaRPr>
          </a:p>
        </p:txBody>
      </p:sp>
      <p:sp>
        <p:nvSpPr>
          <p:cNvPr id="30" name="Freeform: Shape 29">
            <a:extLst>
              <a:ext uri="{FF2B5EF4-FFF2-40B4-BE49-F238E27FC236}">
                <a16:creationId xmlns:a16="http://schemas.microsoft.com/office/drawing/2014/main" id="{2B4B89A4-F3F9-5ECA-C773-A46EF6302569}"/>
              </a:ext>
            </a:extLst>
          </p:cNvPr>
          <p:cNvSpPr>
            <a:spLocks/>
          </p:cNvSpPr>
          <p:nvPr/>
        </p:nvSpPr>
        <p:spPr>
          <a:xfrm>
            <a:off x="4920343" y="2850468"/>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altLang="ko-KR" sz="1200" b="1">
              <a:solidFill>
                <a:schemeClr val="bg1"/>
              </a:solidFill>
              <a:latin typeface="Helvetica" panose="020B0604020202020204" pitchFamily="34" charset="0"/>
              <a:cs typeface="Calibri" panose="020F0502020204030204" pitchFamily="34" charset="0"/>
            </a:endParaRPr>
          </a:p>
        </p:txBody>
      </p:sp>
      <p:sp>
        <p:nvSpPr>
          <p:cNvPr id="31" name="Freeform: Shape 30">
            <a:extLst>
              <a:ext uri="{FF2B5EF4-FFF2-40B4-BE49-F238E27FC236}">
                <a16:creationId xmlns:a16="http://schemas.microsoft.com/office/drawing/2014/main" id="{98143950-DE60-0882-EC7B-100D4CF306E5}"/>
              </a:ext>
            </a:extLst>
          </p:cNvPr>
          <p:cNvSpPr>
            <a:spLocks/>
          </p:cNvSpPr>
          <p:nvPr/>
        </p:nvSpPr>
        <p:spPr>
          <a:xfrm>
            <a:off x="4920343" y="4560346"/>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rgbClr val="227C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solidFill>
                <a:schemeClr val="tx1"/>
              </a:solidFill>
            </a:endParaRPr>
          </a:p>
        </p:txBody>
      </p:sp>
      <p:sp>
        <p:nvSpPr>
          <p:cNvPr id="23" name="TextBox 22">
            <a:extLst>
              <a:ext uri="{FF2B5EF4-FFF2-40B4-BE49-F238E27FC236}">
                <a16:creationId xmlns:a16="http://schemas.microsoft.com/office/drawing/2014/main" id="{781B3D96-B489-1149-A1C1-67E0DF6D590E}"/>
              </a:ext>
            </a:extLst>
          </p:cNvPr>
          <p:cNvSpPr txBox="1">
            <a:spLocks/>
          </p:cNvSpPr>
          <p:nvPr/>
        </p:nvSpPr>
        <p:spPr>
          <a:xfrm>
            <a:off x="5358260" y="3372218"/>
            <a:ext cx="5061140" cy="307777"/>
          </a:xfrm>
          <a:prstGeom prst="rect">
            <a:avLst/>
          </a:prstGeom>
          <a:noFill/>
        </p:spPr>
        <p:txBody>
          <a:bodyPr wrap="square" lIns="0" tIns="0" rIns="0" bIns="0" rtlCol="0" anchor="ctr">
            <a:spAutoFit/>
          </a:bodyPr>
          <a:lstStyle>
            <a:defPPr>
              <a:defRPr lang="en-US"/>
            </a:defPPr>
            <a:lvl1pPr>
              <a:defRPr sz="2000" b="1">
                <a:solidFill>
                  <a:schemeClr val="bg1">
                    <a:lumMod val="75000"/>
                  </a:schemeClr>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latin typeface="Avenir Next LT Pro" panose="020B0504020202020204" pitchFamily="34" charset="0"/>
              </a:rPr>
              <a:t>Approach and activities</a:t>
            </a:r>
          </a:p>
        </p:txBody>
      </p:sp>
      <p:sp>
        <p:nvSpPr>
          <p:cNvPr id="17" name="TextBox 16">
            <a:extLst>
              <a:ext uri="{FF2B5EF4-FFF2-40B4-BE49-F238E27FC236}">
                <a16:creationId xmlns:a16="http://schemas.microsoft.com/office/drawing/2014/main" id="{B54F29A7-07A5-CF4E-9603-890DF551074D}"/>
              </a:ext>
            </a:extLst>
          </p:cNvPr>
          <p:cNvSpPr txBox="1">
            <a:spLocks/>
          </p:cNvSpPr>
          <p:nvPr/>
        </p:nvSpPr>
        <p:spPr>
          <a:xfrm>
            <a:off x="5358260" y="1662339"/>
            <a:ext cx="5061140" cy="307777"/>
          </a:xfrm>
          <a:prstGeom prst="rect">
            <a:avLst/>
          </a:prstGeom>
          <a:noFill/>
        </p:spPr>
        <p:txBody>
          <a:bodyPr wrap="square" lIns="0" tIns="0" rIns="0" bIns="0" rtlCol="0" anchor="ctr">
            <a:spAutoFit/>
          </a:bodyPr>
          <a:lstStyle>
            <a:defPPr>
              <a:defRPr lang="en-US"/>
            </a:defPPr>
            <a:lvl1pPr>
              <a:defRPr sz="2000" b="1">
                <a:solidFill>
                  <a:schemeClr val="bg1">
                    <a:lumMod val="75000"/>
                  </a:schemeClr>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latin typeface="Avenir Next LT Pro" panose="020B0504020202020204" pitchFamily="34" charset="0"/>
              </a:rPr>
              <a:t>Vision and background</a:t>
            </a:r>
          </a:p>
        </p:txBody>
      </p:sp>
      <p:sp>
        <p:nvSpPr>
          <p:cNvPr id="2" name="TextBox 1">
            <a:extLst>
              <a:ext uri="{FF2B5EF4-FFF2-40B4-BE49-F238E27FC236}">
                <a16:creationId xmlns:a16="http://schemas.microsoft.com/office/drawing/2014/main" id="{B0538BC5-1397-4032-B48E-8DDDEC9CF37F}"/>
              </a:ext>
            </a:extLst>
          </p:cNvPr>
          <p:cNvSpPr txBox="1">
            <a:spLocks/>
          </p:cNvSpPr>
          <p:nvPr/>
        </p:nvSpPr>
        <p:spPr>
          <a:xfrm>
            <a:off x="5358260" y="5114384"/>
            <a:ext cx="4800061" cy="307777"/>
          </a:xfrm>
          <a:prstGeom prst="rect">
            <a:avLst/>
          </a:prstGeom>
          <a:noFill/>
        </p:spPr>
        <p:txBody>
          <a:bodyPr wrap="square" lIns="0" tIns="0" rIns="0" bIns="0" rtlCol="0" anchor="ctr">
            <a:spAutoFit/>
          </a:bodyPr>
          <a:lstStyle>
            <a:defPPr>
              <a:defRPr lang="en-US"/>
            </a:defPPr>
            <a:lvl1pPr>
              <a:defRPr sz="2000" b="1">
                <a:solidFill>
                  <a:schemeClr val="bg1"/>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latin typeface="Avenir Next LT Pro"/>
                <a:ea typeface="Verdana"/>
              </a:rPr>
              <a:t>Governance</a:t>
            </a:r>
            <a:endParaRPr lang="en-US" dirty="0"/>
          </a:p>
        </p:txBody>
      </p:sp>
      <p:sp>
        <p:nvSpPr>
          <p:cNvPr id="19" name="Oval 18">
            <a:extLst>
              <a:ext uri="{FF2B5EF4-FFF2-40B4-BE49-F238E27FC236}">
                <a16:creationId xmlns:a16="http://schemas.microsoft.com/office/drawing/2014/main" id="{24B38EDA-DD1D-97F9-37C3-396C88578875}"/>
              </a:ext>
            </a:extLst>
          </p:cNvPr>
          <p:cNvSpPr>
            <a:spLocks/>
          </p:cNvSpPr>
          <p:nvPr/>
        </p:nvSpPr>
        <p:spPr>
          <a:xfrm>
            <a:off x="4663828" y="3273262"/>
            <a:ext cx="497790" cy="505690"/>
          </a:xfrm>
          <a:prstGeom prst="ellipse">
            <a:avLst/>
          </a:prstGeom>
          <a:solidFill>
            <a:schemeClr val="bg1">
              <a:lumMod val="75000"/>
            </a:schemeClr>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solidFill>
                  <a:schemeClr val="bg1"/>
                </a:solidFill>
                <a:latin typeface="Helvetica" panose="020B0604020202020204" pitchFamily="34" charset="0"/>
                <a:cs typeface="Helvetica" panose="020B0604020202020204" pitchFamily="34" charset="0"/>
              </a:rPr>
              <a:t>2</a:t>
            </a:r>
          </a:p>
        </p:txBody>
      </p:sp>
      <p:sp>
        <p:nvSpPr>
          <p:cNvPr id="13" name="Oval 12">
            <a:extLst>
              <a:ext uri="{FF2B5EF4-FFF2-40B4-BE49-F238E27FC236}">
                <a16:creationId xmlns:a16="http://schemas.microsoft.com/office/drawing/2014/main" id="{F4380F0A-16CF-0B41-200B-9A58C2E9838B}"/>
              </a:ext>
            </a:extLst>
          </p:cNvPr>
          <p:cNvSpPr>
            <a:spLocks/>
          </p:cNvSpPr>
          <p:nvPr/>
        </p:nvSpPr>
        <p:spPr>
          <a:xfrm>
            <a:off x="4663828" y="1563383"/>
            <a:ext cx="497790" cy="505690"/>
          </a:xfrm>
          <a:prstGeom prst="ellipse">
            <a:avLst/>
          </a:prstGeom>
          <a:solidFill>
            <a:schemeClr val="bg1">
              <a:lumMod val="75000"/>
            </a:schemeClr>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solidFill>
                  <a:schemeClr val="bg1"/>
                </a:solidFill>
                <a:latin typeface="Helvetica" panose="020B0604020202020204" pitchFamily="34" charset="0"/>
                <a:cs typeface="Helvetica" panose="020B0604020202020204" pitchFamily="34" charset="0"/>
              </a:rPr>
              <a:t>1</a:t>
            </a:r>
          </a:p>
        </p:txBody>
      </p:sp>
      <p:sp>
        <p:nvSpPr>
          <p:cNvPr id="3" name="Oval 2">
            <a:extLst>
              <a:ext uri="{FF2B5EF4-FFF2-40B4-BE49-F238E27FC236}">
                <a16:creationId xmlns:a16="http://schemas.microsoft.com/office/drawing/2014/main" id="{07DED1DE-A421-8ABF-AF7E-2428E61F32E0}"/>
              </a:ext>
            </a:extLst>
          </p:cNvPr>
          <p:cNvSpPr>
            <a:spLocks/>
          </p:cNvSpPr>
          <p:nvPr/>
        </p:nvSpPr>
        <p:spPr>
          <a:xfrm>
            <a:off x="4679068" y="4983140"/>
            <a:ext cx="497790" cy="505690"/>
          </a:xfrm>
          <a:prstGeom prst="ellipse">
            <a:avLst/>
          </a:prstGeom>
          <a:solidFill>
            <a:srgbClr val="227C9D"/>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solidFill>
                  <a:schemeClr val="bg1"/>
                </a:solidFill>
                <a:latin typeface="Helvetica" panose="020B0604020202020204" pitchFamily="34" charset="0"/>
                <a:cs typeface="Helvetica" panose="020B0604020202020204" pitchFamily="34" charset="0"/>
              </a:rPr>
              <a:t>3</a:t>
            </a:r>
          </a:p>
        </p:txBody>
      </p:sp>
      <p:pic>
        <p:nvPicPr>
          <p:cNvPr id="40" name="Graphic 39">
            <a:extLst>
              <a:ext uri="{FF2B5EF4-FFF2-40B4-BE49-F238E27FC236}">
                <a16:creationId xmlns:a16="http://schemas.microsoft.com/office/drawing/2014/main" id="{9ECBA54D-A595-6C9E-5CB9-1D5732D045A2}"/>
              </a:ext>
            </a:extLst>
          </p:cNvPr>
          <p:cNvPicPr>
            <a:picLocks noChangeAspect="1"/>
          </p:cNvPicPr>
          <p:nvPr/>
        </p:nvPicPr>
        <p:blipFill>
          <a:blip r:embed="rId7">
            <a:extLst>
              <a:ext uri="{96DAC541-7B7A-43D3-8B79-37D633B846F1}">
                <asvg:svgBlip xmlns:asvg="http://schemas.microsoft.com/office/drawing/2016/SVG/main" r:embed="rId8"/>
              </a:ext>
            </a:extLst>
          </a:blip>
          <a:srcRect l="47489" b="7081"/>
          <a:stretch>
            <a:fillRect/>
          </a:stretch>
        </p:blipFill>
        <p:spPr>
          <a:xfrm>
            <a:off x="0" y="1229087"/>
            <a:ext cx="3171048" cy="5628913"/>
          </a:xfrm>
          <a:custGeom>
            <a:avLst/>
            <a:gdLst>
              <a:gd name="connsiteX0" fmla="*/ 0 w 3171048"/>
              <a:gd name="connsiteY0" fmla="*/ 0 h 5628913"/>
              <a:gd name="connsiteX1" fmla="*/ 3171048 w 3171048"/>
              <a:gd name="connsiteY1" fmla="*/ 0 h 5628913"/>
              <a:gd name="connsiteX2" fmla="*/ 3171048 w 3171048"/>
              <a:gd name="connsiteY2" fmla="*/ 5628913 h 5628913"/>
              <a:gd name="connsiteX3" fmla="*/ 0 w 3171048"/>
              <a:gd name="connsiteY3" fmla="*/ 5628913 h 5628913"/>
            </a:gdLst>
            <a:ahLst/>
            <a:cxnLst>
              <a:cxn ang="0">
                <a:pos x="connsiteX0" y="connsiteY0"/>
              </a:cxn>
              <a:cxn ang="0">
                <a:pos x="connsiteX1" y="connsiteY1"/>
              </a:cxn>
              <a:cxn ang="0">
                <a:pos x="connsiteX2" y="connsiteY2"/>
              </a:cxn>
              <a:cxn ang="0">
                <a:pos x="connsiteX3" y="connsiteY3"/>
              </a:cxn>
            </a:cxnLst>
            <a:rect l="l" t="t" r="r" b="b"/>
            <a:pathLst>
              <a:path w="3171048" h="5628913">
                <a:moveTo>
                  <a:pt x="0" y="0"/>
                </a:moveTo>
                <a:lnTo>
                  <a:pt x="3171048" y="0"/>
                </a:lnTo>
                <a:lnTo>
                  <a:pt x="3171048" y="5628913"/>
                </a:lnTo>
                <a:lnTo>
                  <a:pt x="0" y="5628913"/>
                </a:lnTo>
                <a:close/>
              </a:path>
            </a:pathLst>
          </a:custGeom>
        </p:spPr>
      </p:pic>
      <p:sp>
        <p:nvSpPr>
          <p:cNvPr id="12" name="Oval 11">
            <a:extLst>
              <a:ext uri="{FF2B5EF4-FFF2-40B4-BE49-F238E27FC236}">
                <a16:creationId xmlns:a16="http://schemas.microsoft.com/office/drawing/2014/main" id="{7457BFD4-0FF1-18BD-B50A-D695F4C1D4D0}"/>
              </a:ext>
            </a:extLst>
          </p:cNvPr>
          <p:cNvSpPr>
            <a:spLocks noChangeAspect="1"/>
          </p:cNvSpPr>
          <p:nvPr/>
        </p:nvSpPr>
        <p:spPr>
          <a:xfrm>
            <a:off x="10549539" y="1391959"/>
            <a:ext cx="848537" cy="848536"/>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15" name="Arc 14">
            <a:extLst>
              <a:ext uri="{FF2B5EF4-FFF2-40B4-BE49-F238E27FC236}">
                <a16:creationId xmlns:a16="http://schemas.microsoft.com/office/drawing/2014/main" id="{DE9AB808-6B85-F70F-A1B2-8A582DC40C35}"/>
              </a:ext>
            </a:extLst>
          </p:cNvPr>
          <p:cNvSpPr>
            <a:spLocks noChangeAspect="1"/>
          </p:cNvSpPr>
          <p:nvPr/>
        </p:nvSpPr>
        <p:spPr>
          <a:xfrm>
            <a:off x="10549539" y="1392424"/>
            <a:ext cx="847610" cy="847609"/>
          </a:xfrm>
          <a:prstGeom prst="arc">
            <a:avLst/>
          </a:prstGeom>
          <a:noFill/>
          <a:ln w="28575" cap="rnd" cmpd="sng" algn="ctr">
            <a:solidFill>
              <a:srgbClr val="FFC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16" name="Graphic 15">
            <a:extLst>
              <a:ext uri="{FF2B5EF4-FFF2-40B4-BE49-F238E27FC236}">
                <a16:creationId xmlns:a16="http://schemas.microsoft.com/office/drawing/2014/main" id="{ED52B75F-CBFB-E490-A802-8C3D88B4AF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89615" y="1532035"/>
            <a:ext cx="568383" cy="568382"/>
          </a:xfrm>
          <a:prstGeom prst="rect">
            <a:avLst/>
          </a:prstGeom>
        </p:spPr>
      </p:pic>
      <p:pic>
        <p:nvPicPr>
          <p:cNvPr id="11" name="Graphic 10">
            <a:extLst>
              <a:ext uri="{FF2B5EF4-FFF2-40B4-BE49-F238E27FC236}">
                <a16:creationId xmlns:a16="http://schemas.microsoft.com/office/drawing/2014/main" id="{232EC9A1-1A98-4282-D9A2-FF83B03F404A}"/>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10729433" y="1571852"/>
            <a:ext cx="488748" cy="488750"/>
          </a:xfrm>
          <a:prstGeom prst="rect">
            <a:avLst/>
          </a:prstGeom>
        </p:spPr>
      </p:pic>
      <p:sp>
        <p:nvSpPr>
          <p:cNvPr id="22" name="Oval 21">
            <a:extLst>
              <a:ext uri="{FF2B5EF4-FFF2-40B4-BE49-F238E27FC236}">
                <a16:creationId xmlns:a16="http://schemas.microsoft.com/office/drawing/2014/main" id="{B9B2C364-7A1E-EEC9-2488-058610109F7A}"/>
              </a:ext>
            </a:extLst>
          </p:cNvPr>
          <p:cNvSpPr>
            <a:spLocks noChangeAspect="1"/>
          </p:cNvSpPr>
          <p:nvPr/>
        </p:nvSpPr>
        <p:spPr>
          <a:xfrm>
            <a:off x="10549539" y="3101838"/>
            <a:ext cx="848537" cy="848536"/>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24" name="Arc 23">
            <a:extLst>
              <a:ext uri="{FF2B5EF4-FFF2-40B4-BE49-F238E27FC236}">
                <a16:creationId xmlns:a16="http://schemas.microsoft.com/office/drawing/2014/main" id="{B4332092-33BA-B4E2-5F57-84A8ECFCCDAC}"/>
              </a:ext>
            </a:extLst>
          </p:cNvPr>
          <p:cNvSpPr>
            <a:spLocks noChangeAspect="1"/>
          </p:cNvSpPr>
          <p:nvPr/>
        </p:nvSpPr>
        <p:spPr>
          <a:xfrm>
            <a:off x="10549539" y="3102303"/>
            <a:ext cx="847610" cy="847609"/>
          </a:xfrm>
          <a:prstGeom prst="arc">
            <a:avLst/>
          </a:prstGeom>
          <a:noFill/>
          <a:ln w="28575" cap="rnd" cmpd="sng" algn="ctr">
            <a:solidFill>
              <a:srgbClr val="FFC000"/>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25" name="Graphic 24">
            <a:extLst>
              <a:ext uri="{FF2B5EF4-FFF2-40B4-BE49-F238E27FC236}">
                <a16:creationId xmlns:a16="http://schemas.microsoft.com/office/drawing/2014/main" id="{744E9ADF-11F9-E0C1-9498-A7D09550E25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89615" y="3241914"/>
            <a:ext cx="568383" cy="568382"/>
          </a:xfrm>
          <a:prstGeom prst="rect">
            <a:avLst/>
          </a:prstGeom>
        </p:spPr>
      </p:pic>
      <p:pic>
        <p:nvPicPr>
          <p:cNvPr id="21" name="Graphic 20">
            <a:extLst>
              <a:ext uri="{FF2B5EF4-FFF2-40B4-BE49-F238E27FC236}">
                <a16:creationId xmlns:a16="http://schemas.microsoft.com/office/drawing/2014/main" id="{77BF1BF6-7FF1-BCC5-17B4-A16B51916F9D}"/>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10729433" y="3281731"/>
            <a:ext cx="488748" cy="488750"/>
          </a:xfrm>
          <a:prstGeom prst="rect">
            <a:avLst/>
          </a:prstGeom>
        </p:spPr>
      </p:pic>
      <p:sp>
        <p:nvSpPr>
          <p:cNvPr id="32" name="Oval 31">
            <a:extLst>
              <a:ext uri="{FF2B5EF4-FFF2-40B4-BE49-F238E27FC236}">
                <a16:creationId xmlns:a16="http://schemas.microsoft.com/office/drawing/2014/main" id="{D198C68C-DC2E-0FF0-AA33-9AC5226EBB50}"/>
              </a:ext>
            </a:extLst>
          </p:cNvPr>
          <p:cNvSpPr>
            <a:spLocks noChangeAspect="1"/>
          </p:cNvSpPr>
          <p:nvPr/>
        </p:nvSpPr>
        <p:spPr>
          <a:xfrm>
            <a:off x="10549539" y="4811716"/>
            <a:ext cx="848537" cy="848536"/>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33" name="Arc 32">
            <a:extLst>
              <a:ext uri="{FF2B5EF4-FFF2-40B4-BE49-F238E27FC236}">
                <a16:creationId xmlns:a16="http://schemas.microsoft.com/office/drawing/2014/main" id="{C93D2078-922B-0B13-ECA5-EEC2365FB7F5}"/>
              </a:ext>
            </a:extLst>
          </p:cNvPr>
          <p:cNvSpPr>
            <a:spLocks noChangeAspect="1"/>
          </p:cNvSpPr>
          <p:nvPr/>
        </p:nvSpPr>
        <p:spPr>
          <a:xfrm>
            <a:off x="10549539" y="4812181"/>
            <a:ext cx="847610" cy="847609"/>
          </a:xfrm>
          <a:prstGeom prst="arc">
            <a:avLst/>
          </a:prstGeom>
          <a:noFill/>
          <a:ln w="28575" cap="rnd" cmpd="sng" algn="ctr">
            <a:solidFill>
              <a:srgbClr val="FFC000"/>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34" name="Graphic 33">
            <a:extLst>
              <a:ext uri="{FF2B5EF4-FFF2-40B4-BE49-F238E27FC236}">
                <a16:creationId xmlns:a16="http://schemas.microsoft.com/office/drawing/2014/main" id="{05A834CC-B01A-CA99-1C59-83CFCDF03E6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689615" y="4951792"/>
            <a:ext cx="568383" cy="568382"/>
          </a:xfrm>
          <a:prstGeom prst="rect">
            <a:avLst/>
          </a:prstGeom>
        </p:spPr>
      </p:pic>
      <p:pic>
        <p:nvPicPr>
          <p:cNvPr id="28" name="Graphic 27">
            <a:extLst>
              <a:ext uri="{FF2B5EF4-FFF2-40B4-BE49-F238E27FC236}">
                <a16:creationId xmlns:a16="http://schemas.microsoft.com/office/drawing/2014/main" id="{0B3A07EF-62AB-69DC-E024-69F7D69332D7}"/>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a:off x="10729433" y="4991609"/>
            <a:ext cx="488748" cy="488750"/>
          </a:xfrm>
          <a:prstGeom prst="rect">
            <a:avLst/>
          </a:prstGeom>
        </p:spPr>
      </p:pic>
    </p:spTree>
    <p:extLst>
      <p:ext uri="{BB962C8B-B14F-4D97-AF65-F5344CB8AC3E}">
        <p14:creationId xmlns:p14="http://schemas.microsoft.com/office/powerpoint/2010/main" val="390082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57FFE-EE86-A52C-1916-B35FCD0774E6}"/>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8C0CB8-73DD-7D9B-AB8F-4FD21F080A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think-cell data - do not delete" hidden="1">
                        <a:extLst>
                          <a:ext uri="{FF2B5EF4-FFF2-40B4-BE49-F238E27FC236}">
                            <a16:creationId xmlns:a16="http://schemas.microsoft.com/office/drawing/2014/main" id="{F28C0CB8-73DD-7D9B-AB8F-4FD21F080A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0" name="Group 49">
            <a:extLst>
              <a:ext uri="{FF2B5EF4-FFF2-40B4-BE49-F238E27FC236}">
                <a16:creationId xmlns:a16="http://schemas.microsoft.com/office/drawing/2014/main" id="{3E595125-D598-D187-A375-B2D023062020}"/>
              </a:ext>
            </a:extLst>
          </p:cNvPr>
          <p:cNvGrpSpPr/>
          <p:nvPr/>
        </p:nvGrpSpPr>
        <p:grpSpPr>
          <a:xfrm>
            <a:off x="0" y="0"/>
            <a:ext cx="4920342" cy="6858000"/>
            <a:chOff x="0" y="0"/>
            <a:chExt cx="4920342" cy="6858000"/>
          </a:xfrm>
        </p:grpSpPr>
        <p:pic>
          <p:nvPicPr>
            <p:cNvPr id="9" name="Picture 8">
              <a:extLst>
                <a:ext uri="{FF2B5EF4-FFF2-40B4-BE49-F238E27FC236}">
                  <a16:creationId xmlns:a16="http://schemas.microsoft.com/office/drawing/2014/main" id="{AD304661-0DDE-180D-E246-2936D3C83DEB}"/>
                </a:ext>
              </a:extLst>
            </p:cNvPr>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0" y="0"/>
              <a:ext cx="4920342" cy="6858000"/>
            </a:xfrm>
            <a:prstGeom prst="rect">
              <a:avLst/>
            </a:prstGeom>
          </p:spPr>
        </p:pic>
        <p:sp>
          <p:nvSpPr>
            <p:cNvPr id="10" name="Rectangle 9">
              <a:extLst>
                <a:ext uri="{FF2B5EF4-FFF2-40B4-BE49-F238E27FC236}">
                  <a16:creationId xmlns:a16="http://schemas.microsoft.com/office/drawing/2014/main" id="{28B684A7-547F-BB18-47EC-334B3BBFBBE7}"/>
                </a:ext>
              </a:extLst>
            </p:cNvPr>
            <p:cNvSpPr>
              <a:spLocks/>
            </p:cNvSpPr>
            <p:nvPr/>
          </p:nvSpPr>
          <p:spPr>
            <a:xfrm>
              <a:off x="0" y="0"/>
              <a:ext cx="4920342" cy="6858000"/>
            </a:xfrm>
            <a:prstGeom prst="rect">
              <a:avLst/>
            </a:prstGeom>
            <a:solidFill>
              <a:srgbClr val="031F35">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2700"/>
            </a:p>
          </p:txBody>
        </p:sp>
      </p:grpSp>
      <p:sp>
        <p:nvSpPr>
          <p:cNvPr id="14" name="Title 1">
            <a:extLst>
              <a:ext uri="{FF2B5EF4-FFF2-40B4-BE49-F238E27FC236}">
                <a16:creationId xmlns:a16="http://schemas.microsoft.com/office/drawing/2014/main" id="{78C9C90F-D70B-1309-B176-3D2A7EB2456A}"/>
              </a:ext>
            </a:extLst>
          </p:cNvPr>
          <p:cNvSpPr>
            <a:spLocks noGrp="1"/>
          </p:cNvSpPr>
          <p:nvPr>
            <p:ph type="title"/>
          </p:nvPr>
        </p:nvSpPr>
        <p:spPr>
          <a:xfrm>
            <a:off x="179387" y="339846"/>
            <a:ext cx="11831639" cy="387798"/>
          </a:xfrm>
        </p:spPr>
        <p:txBody>
          <a:bodyPr vert="horz" lIns="0" tIns="0" rIns="0" bIns="0" rtlCol="0" anchor="ctr">
            <a:spAutoFit/>
          </a:bodyPr>
          <a:lstStyle/>
          <a:p>
            <a:r>
              <a:rPr lang="en-GB" sz="2800" b="1">
                <a:solidFill>
                  <a:schemeClr val="bg1"/>
                </a:solidFill>
                <a:latin typeface="Avenir Next LT Pro" panose="020B0504020202020204" pitchFamily="34" charset="0"/>
                <a:ea typeface="Tahoma" panose="020B0604030504040204" pitchFamily="34" charset="0"/>
                <a:cs typeface="Tahoma" panose="020B0604030504040204" pitchFamily="34" charset="0"/>
              </a:rPr>
              <a:t>Agenda</a:t>
            </a:r>
          </a:p>
        </p:txBody>
      </p:sp>
      <p:sp>
        <p:nvSpPr>
          <p:cNvPr id="6" name="Slide Number Placeholder 4">
            <a:extLst>
              <a:ext uri="{FF2B5EF4-FFF2-40B4-BE49-F238E27FC236}">
                <a16:creationId xmlns:a16="http://schemas.microsoft.com/office/drawing/2014/main" id="{033FEDEA-D203-062E-3D8C-198E3D1B7673}"/>
              </a:ext>
            </a:extLst>
          </p:cNvPr>
          <p:cNvSpPr>
            <a:spLocks noGrp="1"/>
          </p:cNvSpPr>
          <p:nvPr>
            <p:ph type="sldNum" sz="quarter" idx="12"/>
          </p:nvPr>
        </p:nvSpPr>
        <p:spPr/>
        <p:txBody>
          <a:bodyPr/>
          <a:lstStyle/>
          <a:p>
            <a:fld id="{ABB6D191-819E-455F-BC39-F2381519C0C1}" type="slidenum">
              <a:rPr lang="en-GB" smtClean="0">
                <a:solidFill>
                  <a:schemeClr val="bg1"/>
                </a:solidFill>
              </a:rPr>
              <a:pPr/>
              <a:t>2</a:t>
            </a:fld>
            <a:endParaRPr lang="en-GB">
              <a:solidFill>
                <a:schemeClr val="bg1"/>
              </a:solidFill>
            </a:endParaRPr>
          </a:p>
        </p:txBody>
      </p:sp>
      <p:sp>
        <p:nvSpPr>
          <p:cNvPr id="29" name="Freeform: Shape 28">
            <a:extLst>
              <a:ext uri="{FF2B5EF4-FFF2-40B4-BE49-F238E27FC236}">
                <a16:creationId xmlns:a16="http://schemas.microsoft.com/office/drawing/2014/main" id="{BE673125-F75E-5DDD-C9D2-CF4D3D240508}"/>
              </a:ext>
            </a:extLst>
          </p:cNvPr>
          <p:cNvSpPr>
            <a:spLocks/>
          </p:cNvSpPr>
          <p:nvPr/>
        </p:nvSpPr>
        <p:spPr>
          <a:xfrm>
            <a:off x="4920343" y="1140589"/>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rgbClr val="227C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ko-KR">
              <a:solidFill>
                <a:schemeClr val="tx1"/>
              </a:solidFill>
            </a:endParaRPr>
          </a:p>
        </p:txBody>
      </p:sp>
      <p:sp>
        <p:nvSpPr>
          <p:cNvPr id="30" name="Freeform: Shape 29">
            <a:extLst>
              <a:ext uri="{FF2B5EF4-FFF2-40B4-BE49-F238E27FC236}">
                <a16:creationId xmlns:a16="http://schemas.microsoft.com/office/drawing/2014/main" id="{2B2EC95E-AA00-0346-5990-4773654A7420}"/>
              </a:ext>
            </a:extLst>
          </p:cNvPr>
          <p:cNvSpPr>
            <a:spLocks/>
          </p:cNvSpPr>
          <p:nvPr/>
        </p:nvSpPr>
        <p:spPr>
          <a:xfrm>
            <a:off x="4920343" y="2850468"/>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altLang="ko-KR" sz="1200" b="1">
              <a:solidFill>
                <a:schemeClr val="bg1"/>
              </a:solidFill>
              <a:latin typeface="Helvetica" panose="020B0604020202020204" pitchFamily="34" charset="0"/>
              <a:cs typeface="Calibri" panose="020F0502020204030204" pitchFamily="34" charset="0"/>
            </a:endParaRPr>
          </a:p>
        </p:txBody>
      </p:sp>
      <p:sp>
        <p:nvSpPr>
          <p:cNvPr id="31" name="Freeform: Shape 30">
            <a:extLst>
              <a:ext uri="{FF2B5EF4-FFF2-40B4-BE49-F238E27FC236}">
                <a16:creationId xmlns:a16="http://schemas.microsoft.com/office/drawing/2014/main" id="{BC1E5589-2406-873D-224D-212B915EA516}"/>
              </a:ext>
            </a:extLst>
          </p:cNvPr>
          <p:cNvSpPr>
            <a:spLocks/>
          </p:cNvSpPr>
          <p:nvPr/>
        </p:nvSpPr>
        <p:spPr>
          <a:xfrm>
            <a:off x="4920342" y="4610510"/>
            <a:ext cx="6633509" cy="1351276"/>
          </a:xfrm>
          <a:custGeom>
            <a:avLst/>
            <a:gdLst>
              <a:gd name="connsiteX0" fmla="*/ 0 w 6633509"/>
              <a:gd name="connsiteY0" fmla="*/ 0 h 1351276"/>
              <a:gd name="connsiteX1" fmla="*/ 5957871 w 6633509"/>
              <a:gd name="connsiteY1" fmla="*/ 0 h 1351276"/>
              <a:gd name="connsiteX2" fmla="*/ 6633509 w 6633509"/>
              <a:gd name="connsiteY2" fmla="*/ 675638 h 1351276"/>
              <a:gd name="connsiteX3" fmla="*/ 5957871 w 6633509"/>
              <a:gd name="connsiteY3" fmla="*/ 1351276 h 1351276"/>
              <a:gd name="connsiteX4" fmla="*/ 0 w 6633509"/>
              <a:gd name="connsiteY4" fmla="*/ 1351276 h 1351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3509" h="1351276">
                <a:moveTo>
                  <a:pt x="0" y="0"/>
                </a:moveTo>
                <a:lnTo>
                  <a:pt x="5957871" y="0"/>
                </a:lnTo>
                <a:cubicBezTo>
                  <a:pt x="6331016" y="0"/>
                  <a:pt x="6633509" y="302493"/>
                  <a:pt x="6633509" y="675638"/>
                </a:cubicBezTo>
                <a:cubicBezTo>
                  <a:pt x="6633509" y="1048783"/>
                  <a:pt x="6331016" y="1351276"/>
                  <a:pt x="5957871" y="1351276"/>
                </a:cubicBezTo>
                <a:lnTo>
                  <a:pt x="0" y="1351276"/>
                </a:lnTo>
                <a:close/>
              </a:path>
            </a:pathLst>
          </a:cu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altLang="ko-KR" sz="1200" b="1">
              <a:solidFill>
                <a:schemeClr val="bg1"/>
              </a:solidFill>
              <a:latin typeface="Helvetica" panose="020B060402020202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799F4DAF-70FC-353C-AD1D-DAF5C3599333}"/>
              </a:ext>
            </a:extLst>
          </p:cNvPr>
          <p:cNvSpPr txBox="1">
            <a:spLocks/>
          </p:cNvSpPr>
          <p:nvPr/>
        </p:nvSpPr>
        <p:spPr>
          <a:xfrm>
            <a:off x="5358260" y="3372218"/>
            <a:ext cx="5061140" cy="307777"/>
          </a:xfrm>
          <a:prstGeom prst="rect">
            <a:avLst/>
          </a:prstGeom>
          <a:noFill/>
        </p:spPr>
        <p:txBody>
          <a:bodyPr wrap="square" lIns="0" tIns="0" rIns="0" bIns="0" rtlCol="0" anchor="ctr">
            <a:spAutoFit/>
          </a:bodyPr>
          <a:lstStyle>
            <a:defPPr>
              <a:defRPr lang="en-US"/>
            </a:defPPr>
            <a:lvl1pPr>
              <a:defRPr sz="1400" b="1">
                <a:solidFill>
                  <a:srgbClr val="031F35"/>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2000" dirty="0">
                <a:solidFill>
                  <a:schemeClr val="bg1">
                    <a:lumMod val="75000"/>
                  </a:schemeClr>
                </a:solidFill>
                <a:latin typeface="Avenir Next LT Pro" panose="020B0504020202020204" pitchFamily="34" charset="0"/>
                <a:ea typeface="Verdana"/>
              </a:rPr>
              <a:t>Approach and activities</a:t>
            </a:r>
            <a:endParaRPr lang="en-GB" sz="2000" dirty="0">
              <a:solidFill>
                <a:schemeClr val="bg1">
                  <a:lumMod val="75000"/>
                </a:schemeClr>
              </a:solidFill>
              <a:latin typeface="Avenir Next LT Pro" panose="020B0504020202020204" pitchFamily="34" charset="0"/>
            </a:endParaRPr>
          </a:p>
        </p:txBody>
      </p:sp>
      <p:sp>
        <p:nvSpPr>
          <p:cNvPr id="17" name="TextBox 16">
            <a:extLst>
              <a:ext uri="{FF2B5EF4-FFF2-40B4-BE49-F238E27FC236}">
                <a16:creationId xmlns:a16="http://schemas.microsoft.com/office/drawing/2014/main" id="{1638DE7B-D0E3-594C-AE7A-BC8F1BDC0D89}"/>
              </a:ext>
            </a:extLst>
          </p:cNvPr>
          <p:cNvSpPr txBox="1">
            <a:spLocks/>
          </p:cNvSpPr>
          <p:nvPr/>
        </p:nvSpPr>
        <p:spPr>
          <a:xfrm>
            <a:off x="5358260" y="1662339"/>
            <a:ext cx="5061140" cy="307777"/>
          </a:xfrm>
          <a:prstGeom prst="rect">
            <a:avLst/>
          </a:prstGeom>
          <a:noFill/>
        </p:spPr>
        <p:txBody>
          <a:bodyPr wrap="square" lIns="0" tIns="0" rIns="0" bIns="0" rtlCol="0" anchor="ctr">
            <a:spAutoFit/>
          </a:bodyPr>
          <a:lstStyle>
            <a:defPPr>
              <a:defRPr lang="en-US"/>
            </a:defPPr>
            <a:lvl1pPr>
              <a:defRPr sz="1400" b="1">
                <a:solidFill>
                  <a:srgbClr val="031F35"/>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2000" dirty="0">
                <a:solidFill>
                  <a:schemeClr val="bg1"/>
                </a:solidFill>
                <a:latin typeface="Avenir Next LT Pro" panose="020B0504020202020204" pitchFamily="34" charset="0"/>
              </a:rPr>
              <a:t>Vision and background</a:t>
            </a:r>
          </a:p>
        </p:txBody>
      </p:sp>
      <p:sp>
        <p:nvSpPr>
          <p:cNvPr id="2" name="TextBox 1">
            <a:extLst>
              <a:ext uri="{FF2B5EF4-FFF2-40B4-BE49-F238E27FC236}">
                <a16:creationId xmlns:a16="http://schemas.microsoft.com/office/drawing/2014/main" id="{94664CA9-13DD-F3DF-BD86-53ABAAD6568C}"/>
              </a:ext>
            </a:extLst>
          </p:cNvPr>
          <p:cNvSpPr txBox="1">
            <a:spLocks/>
          </p:cNvSpPr>
          <p:nvPr/>
        </p:nvSpPr>
        <p:spPr>
          <a:xfrm>
            <a:off x="5358260" y="5082096"/>
            <a:ext cx="4580501" cy="307777"/>
          </a:xfrm>
          <a:prstGeom prst="rect">
            <a:avLst/>
          </a:prstGeom>
          <a:noFill/>
        </p:spPr>
        <p:txBody>
          <a:bodyPr wrap="square" lIns="0" tIns="0" rIns="0" bIns="0" rtlCol="0" anchor="ctr">
            <a:spAutoFit/>
          </a:bodyPr>
          <a:lstStyle>
            <a:defPPr>
              <a:defRPr lang="en-US"/>
            </a:defPPr>
            <a:lvl1pPr>
              <a:defRPr sz="1400" b="1">
                <a:solidFill>
                  <a:srgbClr val="031F35"/>
                </a:solidFill>
                <a:latin typeface="Helvetica" panose="020B0604020202020204" pitchFamily="34" charset="0"/>
                <a:ea typeface="Verdana" panose="020B0604030504040204" pitchFamily="34" charset="0"/>
                <a:cs typeface="Verdana" panose="020B060403050404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2000" dirty="0">
                <a:solidFill>
                  <a:schemeClr val="bg1">
                    <a:lumMod val="75000"/>
                  </a:schemeClr>
                </a:solidFill>
                <a:latin typeface="Avenir Next LT Pro"/>
                <a:ea typeface="Verdana"/>
              </a:rPr>
              <a:t>Governance </a:t>
            </a:r>
            <a:endParaRPr lang="en-GB" sz="2000" dirty="0">
              <a:solidFill>
                <a:schemeClr val="bg1">
                  <a:lumMod val="75000"/>
                </a:schemeClr>
              </a:solidFill>
              <a:latin typeface="Avenir Next LT Pro" panose="020B0504020202020204" pitchFamily="34" charset="0"/>
            </a:endParaRPr>
          </a:p>
        </p:txBody>
      </p:sp>
      <p:sp>
        <p:nvSpPr>
          <p:cNvPr id="19" name="Oval 18">
            <a:extLst>
              <a:ext uri="{FF2B5EF4-FFF2-40B4-BE49-F238E27FC236}">
                <a16:creationId xmlns:a16="http://schemas.microsoft.com/office/drawing/2014/main" id="{78028FF6-92F6-0BFD-C88F-0E8F8B9F1728}"/>
              </a:ext>
            </a:extLst>
          </p:cNvPr>
          <p:cNvSpPr>
            <a:spLocks/>
          </p:cNvSpPr>
          <p:nvPr/>
        </p:nvSpPr>
        <p:spPr>
          <a:xfrm>
            <a:off x="4663828" y="3273262"/>
            <a:ext cx="497790" cy="505690"/>
          </a:xfrm>
          <a:prstGeom prst="ellipse">
            <a:avLst/>
          </a:prstGeom>
          <a:solidFill>
            <a:schemeClr val="bg1">
              <a:lumMod val="75000"/>
            </a:schemeClr>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ln>
                  <a:noFill/>
                </a:ln>
                <a:solidFill>
                  <a:schemeClr val="bg1"/>
                </a:solidFill>
                <a:latin typeface="Helvetica" panose="020B0604020202020204" pitchFamily="34" charset="0"/>
                <a:cs typeface="Helvetica" panose="020B0604020202020204" pitchFamily="34" charset="0"/>
              </a:rPr>
              <a:t>2</a:t>
            </a:r>
          </a:p>
        </p:txBody>
      </p:sp>
      <p:sp>
        <p:nvSpPr>
          <p:cNvPr id="13" name="Oval 12">
            <a:extLst>
              <a:ext uri="{FF2B5EF4-FFF2-40B4-BE49-F238E27FC236}">
                <a16:creationId xmlns:a16="http://schemas.microsoft.com/office/drawing/2014/main" id="{CA0D990B-B75F-54F5-B4C7-52E053BBCDA3}"/>
              </a:ext>
            </a:extLst>
          </p:cNvPr>
          <p:cNvSpPr>
            <a:spLocks/>
          </p:cNvSpPr>
          <p:nvPr/>
        </p:nvSpPr>
        <p:spPr>
          <a:xfrm>
            <a:off x="4663828" y="1563383"/>
            <a:ext cx="497790" cy="505690"/>
          </a:xfrm>
          <a:prstGeom prst="ellipse">
            <a:avLst/>
          </a:prstGeom>
          <a:solidFill>
            <a:srgbClr val="227C9D"/>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ln>
                  <a:noFill/>
                </a:ln>
                <a:solidFill>
                  <a:schemeClr val="bg1"/>
                </a:solidFill>
                <a:latin typeface="Helvetica" panose="020B0604020202020204" pitchFamily="34" charset="0"/>
                <a:cs typeface="Helvetica" panose="020B0604020202020204" pitchFamily="34" charset="0"/>
              </a:rPr>
              <a:t>1</a:t>
            </a:r>
          </a:p>
        </p:txBody>
      </p:sp>
      <p:sp>
        <p:nvSpPr>
          <p:cNvPr id="3" name="Oval 2">
            <a:extLst>
              <a:ext uri="{FF2B5EF4-FFF2-40B4-BE49-F238E27FC236}">
                <a16:creationId xmlns:a16="http://schemas.microsoft.com/office/drawing/2014/main" id="{2F15DB7A-9224-DC5D-D6D4-CE1043CE170F}"/>
              </a:ext>
            </a:extLst>
          </p:cNvPr>
          <p:cNvSpPr>
            <a:spLocks/>
          </p:cNvSpPr>
          <p:nvPr/>
        </p:nvSpPr>
        <p:spPr>
          <a:xfrm>
            <a:off x="4679068" y="4983140"/>
            <a:ext cx="497790" cy="505690"/>
          </a:xfrm>
          <a:prstGeom prst="ellipse">
            <a:avLst/>
          </a:prstGeom>
          <a:solidFill>
            <a:schemeClr val="bg1">
              <a:lumMod val="75000"/>
            </a:schemeClr>
          </a:solidFill>
          <a:ln w="6350">
            <a:solidFill>
              <a:schemeClr val="bg1"/>
            </a:solidFill>
          </a:ln>
          <a:effectLst>
            <a:outerShdw blurRad="63500" sx="102000" sy="102000" algn="ctr"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2000" b="1">
                <a:solidFill>
                  <a:schemeClr val="bg1"/>
                </a:solidFill>
                <a:latin typeface="Helvetica" panose="020B0604020202020204" pitchFamily="34" charset="0"/>
                <a:cs typeface="Helvetica" panose="020B0604020202020204" pitchFamily="34" charset="0"/>
              </a:rPr>
              <a:t>3</a:t>
            </a:r>
            <a:endParaRPr lang="en-GB" sz="2000" b="1">
              <a:ln>
                <a:noFill/>
              </a:ln>
              <a:solidFill>
                <a:schemeClr val="bg1"/>
              </a:solidFill>
              <a:latin typeface="Helvetica" panose="020B0604020202020204" pitchFamily="34" charset="0"/>
              <a:cs typeface="Helvetica" panose="020B0604020202020204" pitchFamily="34" charset="0"/>
            </a:endParaRPr>
          </a:p>
        </p:txBody>
      </p:sp>
      <p:pic>
        <p:nvPicPr>
          <p:cNvPr id="40" name="Graphic 39">
            <a:extLst>
              <a:ext uri="{FF2B5EF4-FFF2-40B4-BE49-F238E27FC236}">
                <a16:creationId xmlns:a16="http://schemas.microsoft.com/office/drawing/2014/main" id="{7F333A28-86A2-5393-4001-3EB4A8223A1F}"/>
              </a:ext>
            </a:extLst>
          </p:cNvPr>
          <p:cNvPicPr>
            <a:picLocks noChangeAspect="1"/>
          </p:cNvPicPr>
          <p:nvPr/>
        </p:nvPicPr>
        <p:blipFill>
          <a:blip r:embed="rId7">
            <a:extLst>
              <a:ext uri="{96DAC541-7B7A-43D3-8B79-37D633B846F1}">
                <asvg:svgBlip xmlns:asvg="http://schemas.microsoft.com/office/drawing/2016/SVG/main" r:embed="rId8"/>
              </a:ext>
            </a:extLst>
          </a:blip>
          <a:srcRect l="47489" b="7081"/>
          <a:stretch>
            <a:fillRect/>
          </a:stretch>
        </p:blipFill>
        <p:spPr>
          <a:xfrm>
            <a:off x="0" y="1229087"/>
            <a:ext cx="3171048" cy="5628913"/>
          </a:xfrm>
          <a:custGeom>
            <a:avLst/>
            <a:gdLst>
              <a:gd name="connsiteX0" fmla="*/ 0 w 3171048"/>
              <a:gd name="connsiteY0" fmla="*/ 0 h 5628913"/>
              <a:gd name="connsiteX1" fmla="*/ 3171048 w 3171048"/>
              <a:gd name="connsiteY1" fmla="*/ 0 h 5628913"/>
              <a:gd name="connsiteX2" fmla="*/ 3171048 w 3171048"/>
              <a:gd name="connsiteY2" fmla="*/ 5628913 h 5628913"/>
              <a:gd name="connsiteX3" fmla="*/ 0 w 3171048"/>
              <a:gd name="connsiteY3" fmla="*/ 5628913 h 5628913"/>
            </a:gdLst>
            <a:ahLst/>
            <a:cxnLst>
              <a:cxn ang="0">
                <a:pos x="connsiteX0" y="connsiteY0"/>
              </a:cxn>
              <a:cxn ang="0">
                <a:pos x="connsiteX1" y="connsiteY1"/>
              </a:cxn>
              <a:cxn ang="0">
                <a:pos x="connsiteX2" y="connsiteY2"/>
              </a:cxn>
              <a:cxn ang="0">
                <a:pos x="connsiteX3" y="connsiteY3"/>
              </a:cxn>
            </a:cxnLst>
            <a:rect l="l" t="t" r="r" b="b"/>
            <a:pathLst>
              <a:path w="3171048" h="5628913">
                <a:moveTo>
                  <a:pt x="0" y="0"/>
                </a:moveTo>
                <a:lnTo>
                  <a:pt x="3171048" y="0"/>
                </a:lnTo>
                <a:lnTo>
                  <a:pt x="3171048" y="5628913"/>
                </a:lnTo>
                <a:lnTo>
                  <a:pt x="0" y="5628913"/>
                </a:lnTo>
                <a:close/>
              </a:path>
            </a:pathLst>
          </a:custGeom>
        </p:spPr>
      </p:pic>
      <p:grpSp>
        <p:nvGrpSpPr>
          <p:cNvPr id="5" name="Group 4">
            <a:extLst>
              <a:ext uri="{FF2B5EF4-FFF2-40B4-BE49-F238E27FC236}">
                <a16:creationId xmlns:a16="http://schemas.microsoft.com/office/drawing/2014/main" id="{E61EFBAE-DFC2-6A18-0474-F43B80460D89}"/>
              </a:ext>
            </a:extLst>
          </p:cNvPr>
          <p:cNvGrpSpPr>
            <a:grpSpLocks/>
          </p:cNvGrpSpPr>
          <p:nvPr/>
        </p:nvGrpSpPr>
        <p:grpSpPr>
          <a:xfrm>
            <a:off x="10549539" y="1391959"/>
            <a:ext cx="848537" cy="848536"/>
            <a:chOff x="520336" y="2069073"/>
            <a:chExt cx="2311903" cy="2311903"/>
          </a:xfrm>
        </p:grpSpPr>
        <p:grpSp>
          <p:nvGrpSpPr>
            <p:cNvPr id="7" name="Group 6">
              <a:extLst>
                <a:ext uri="{FF2B5EF4-FFF2-40B4-BE49-F238E27FC236}">
                  <a16:creationId xmlns:a16="http://schemas.microsoft.com/office/drawing/2014/main" id="{020334D9-61AA-0BFF-81F5-C0356CA3D5F4}"/>
                </a:ext>
              </a:extLst>
            </p:cNvPr>
            <p:cNvGrpSpPr/>
            <p:nvPr/>
          </p:nvGrpSpPr>
          <p:grpSpPr>
            <a:xfrm>
              <a:off x="520336" y="2069073"/>
              <a:ext cx="2311903" cy="2311903"/>
              <a:chOff x="520337" y="2288924"/>
              <a:chExt cx="659384" cy="659384"/>
            </a:xfrm>
          </p:grpSpPr>
          <p:sp>
            <p:nvSpPr>
              <p:cNvPr id="12" name="Oval 11">
                <a:extLst>
                  <a:ext uri="{FF2B5EF4-FFF2-40B4-BE49-F238E27FC236}">
                    <a16:creationId xmlns:a16="http://schemas.microsoft.com/office/drawing/2014/main" id="{35C3CD5C-6822-9B9C-37BF-C5788BC185E8}"/>
                  </a:ext>
                </a:extLst>
              </p:cNvPr>
              <p:cNvSpPr>
                <a:spLocks noChangeAspect="1"/>
              </p:cNvSpPr>
              <p:nvPr/>
            </p:nvSpPr>
            <p:spPr>
              <a:xfrm>
                <a:off x="520337" y="2288924"/>
                <a:ext cx="659384" cy="659384"/>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15" name="Arc 14">
                <a:extLst>
                  <a:ext uri="{FF2B5EF4-FFF2-40B4-BE49-F238E27FC236}">
                    <a16:creationId xmlns:a16="http://schemas.microsoft.com/office/drawing/2014/main" id="{34ECD441-5E97-3D6A-5FAE-CA82843F6E2E}"/>
                  </a:ext>
                </a:extLst>
              </p:cNvPr>
              <p:cNvSpPr>
                <a:spLocks noChangeAspect="1"/>
              </p:cNvSpPr>
              <p:nvPr/>
            </p:nvSpPr>
            <p:spPr>
              <a:xfrm>
                <a:off x="520337" y="2289285"/>
                <a:ext cx="658664" cy="658664"/>
              </a:xfrm>
              <a:prstGeom prst="arc">
                <a:avLst/>
              </a:prstGeom>
              <a:noFill/>
              <a:ln w="28575" cap="rnd" cmpd="sng" algn="ctr">
                <a:solidFill>
                  <a:srgbClr val="FFC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16" name="Graphic 15">
                <a:extLst>
                  <a:ext uri="{FF2B5EF4-FFF2-40B4-BE49-F238E27FC236}">
                    <a16:creationId xmlns:a16="http://schemas.microsoft.com/office/drawing/2014/main" id="{E78A3AB4-296F-D1B0-F15A-B0A7E2E5BC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188" y="2397775"/>
                <a:ext cx="441681" cy="441681"/>
              </a:xfrm>
              <a:prstGeom prst="rect">
                <a:avLst/>
              </a:prstGeom>
            </p:spPr>
          </p:pic>
        </p:grpSp>
        <p:pic>
          <p:nvPicPr>
            <p:cNvPr id="11" name="Graphic 10">
              <a:extLst>
                <a:ext uri="{FF2B5EF4-FFF2-40B4-BE49-F238E27FC236}">
                  <a16:creationId xmlns:a16="http://schemas.microsoft.com/office/drawing/2014/main" id="{E6D86169-B0E5-5C55-D0FF-C93CBE2FCB4C}"/>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1010472" y="2559206"/>
              <a:ext cx="1331631" cy="1331638"/>
            </a:xfrm>
            <a:prstGeom prst="rect">
              <a:avLst/>
            </a:prstGeom>
          </p:spPr>
        </p:pic>
      </p:grpSp>
      <p:grpSp>
        <p:nvGrpSpPr>
          <p:cNvPr id="18" name="Group 17">
            <a:extLst>
              <a:ext uri="{FF2B5EF4-FFF2-40B4-BE49-F238E27FC236}">
                <a16:creationId xmlns:a16="http://schemas.microsoft.com/office/drawing/2014/main" id="{95E601EF-F094-25B1-2AA4-E1EBA13506A8}"/>
              </a:ext>
            </a:extLst>
          </p:cNvPr>
          <p:cNvGrpSpPr>
            <a:grpSpLocks/>
          </p:cNvGrpSpPr>
          <p:nvPr/>
        </p:nvGrpSpPr>
        <p:grpSpPr>
          <a:xfrm>
            <a:off x="10549539" y="3101838"/>
            <a:ext cx="848537" cy="848536"/>
            <a:chOff x="4939255" y="2069073"/>
            <a:chExt cx="2311903" cy="2311903"/>
          </a:xfrm>
        </p:grpSpPr>
        <p:grpSp>
          <p:nvGrpSpPr>
            <p:cNvPr id="20" name="Group 19">
              <a:extLst>
                <a:ext uri="{FF2B5EF4-FFF2-40B4-BE49-F238E27FC236}">
                  <a16:creationId xmlns:a16="http://schemas.microsoft.com/office/drawing/2014/main" id="{720AD7EC-7B1C-93B4-2C69-01A58D001B36}"/>
                </a:ext>
              </a:extLst>
            </p:cNvPr>
            <p:cNvGrpSpPr/>
            <p:nvPr/>
          </p:nvGrpSpPr>
          <p:grpSpPr>
            <a:xfrm>
              <a:off x="4939255" y="2069073"/>
              <a:ext cx="2311903" cy="2311903"/>
              <a:chOff x="520337" y="2288924"/>
              <a:chExt cx="659384" cy="659384"/>
            </a:xfrm>
          </p:grpSpPr>
          <p:sp>
            <p:nvSpPr>
              <p:cNvPr id="22" name="Oval 21">
                <a:extLst>
                  <a:ext uri="{FF2B5EF4-FFF2-40B4-BE49-F238E27FC236}">
                    <a16:creationId xmlns:a16="http://schemas.microsoft.com/office/drawing/2014/main" id="{8938C44E-3351-5E1A-3F5E-B38D44DEB2FA}"/>
                  </a:ext>
                </a:extLst>
              </p:cNvPr>
              <p:cNvSpPr>
                <a:spLocks noChangeAspect="1"/>
              </p:cNvSpPr>
              <p:nvPr/>
            </p:nvSpPr>
            <p:spPr>
              <a:xfrm>
                <a:off x="520337" y="2288924"/>
                <a:ext cx="659384" cy="659384"/>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24" name="Arc 23">
                <a:extLst>
                  <a:ext uri="{FF2B5EF4-FFF2-40B4-BE49-F238E27FC236}">
                    <a16:creationId xmlns:a16="http://schemas.microsoft.com/office/drawing/2014/main" id="{7272ED81-E378-D02B-4847-2D6066AB5F3B}"/>
                  </a:ext>
                </a:extLst>
              </p:cNvPr>
              <p:cNvSpPr>
                <a:spLocks noChangeAspect="1"/>
              </p:cNvSpPr>
              <p:nvPr/>
            </p:nvSpPr>
            <p:spPr>
              <a:xfrm>
                <a:off x="520337" y="2289285"/>
                <a:ext cx="658664" cy="658664"/>
              </a:xfrm>
              <a:prstGeom prst="arc">
                <a:avLst/>
              </a:prstGeom>
              <a:noFill/>
              <a:ln w="28575" cap="rnd" cmpd="sng" algn="ctr">
                <a:solidFill>
                  <a:srgbClr val="FFC000"/>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25" name="Graphic 24">
                <a:extLst>
                  <a:ext uri="{FF2B5EF4-FFF2-40B4-BE49-F238E27FC236}">
                    <a16:creationId xmlns:a16="http://schemas.microsoft.com/office/drawing/2014/main" id="{037318D7-A5E8-E367-919C-75873D9864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188" y="2397775"/>
                <a:ext cx="441681" cy="441681"/>
              </a:xfrm>
              <a:prstGeom prst="rect">
                <a:avLst/>
              </a:prstGeom>
            </p:spPr>
          </p:pic>
        </p:grpSp>
        <p:pic>
          <p:nvPicPr>
            <p:cNvPr id="21" name="Graphic 20">
              <a:extLst>
                <a:ext uri="{FF2B5EF4-FFF2-40B4-BE49-F238E27FC236}">
                  <a16:creationId xmlns:a16="http://schemas.microsoft.com/office/drawing/2014/main" id="{834CB3F1-F8CC-6FD9-850B-A42E330A6EC6}"/>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5429391" y="2559206"/>
              <a:ext cx="1331631" cy="1331638"/>
            </a:xfrm>
            <a:prstGeom prst="rect">
              <a:avLst/>
            </a:prstGeom>
          </p:spPr>
        </p:pic>
      </p:grpSp>
      <p:grpSp>
        <p:nvGrpSpPr>
          <p:cNvPr id="26" name="Group 25">
            <a:extLst>
              <a:ext uri="{FF2B5EF4-FFF2-40B4-BE49-F238E27FC236}">
                <a16:creationId xmlns:a16="http://schemas.microsoft.com/office/drawing/2014/main" id="{53F8CCA0-CDF0-2180-F949-B9588776D1A6}"/>
              </a:ext>
            </a:extLst>
          </p:cNvPr>
          <p:cNvGrpSpPr>
            <a:grpSpLocks/>
          </p:cNvGrpSpPr>
          <p:nvPr/>
        </p:nvGrpSpPr>
        <p:grpSpPr>
          <a:xfrm>
            <a:off x="10549539" y="4811716"/>
            <a:ext cx="848537" cy="848536"/>
            <a:chOff x="8935713" y="2069073"/>
            <a:chExt cx="2311903" cy="2311903"/>
          </a:xfrm>
        </p:grpSpPr>
        <p:grpSp>
          <p:nvGrpSpPr>
            <p:cNvPr id="27" name="Group 26">
              <a:extLst>
                <a:ext uri="{FF2B5EF4-FFF2-40B4-BE49-F238E27FC236}">
                  <a16:creationId xmlns:a16="http://schemas.microsoft.com/office/drawing/2014/main" id="{1A27C033-25F9-0A39-E5EB-FCDA7A767462}"/>
                </a:ext>
              </a:extLst>
            </p:cNvPr>
            <p:cNvGrpSpPr/>
            <p:nvPr/>
          </p:nvGrpSpPr>
          <p:grpSpPr>
            <a:xfrm>
              <a:off x="8935713" y="2069073"/>
              <a:ext cx="2311903" cy="2311903"/>
              <a:chOff x="520337" y="2288924"/>
              <a:chExt cx="659384" cy="659384"/>
            </a:xfrm>
          </p:grpSpPr>
          <p:sp>
            <p:nvSpPr>
              <p:cNvPr id="32" name="Oval 31">
                <a:extLst>
                  <a:ext uri="{FF2B5EF4-FFF2-40B4-BE49-F238E27FC236}">
                    <a16:creationId xmlns:a16="http://schemas.microsoft.com/office/drawing/2014/main" id="{7CFAF99A-50C3-6004-3F5C-847218B714BC}"/>
                  </a:ext>
                </a:extLst>
              </p:cNvPr>
              <p:cNvSpPr>
                <a:spLocks noChangeAspect="1"/>
              </p:cNvSpPr>
              <p:nvPr/>
            </p:nvSpPr>
            <p:spPr>
              <a:xfrm>
                <a:off x="520337" y="2288924"/>
                <a:ext cx="659384" cy="659384"/>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33" name="Arc 32">
                <a:extLst>
                  <a:ext uri="{FF2B5EF4-FFF2-40B4-BE49-F238E27FC236}">
                    <a16:creationId xmlns:a16="http://schemas.microsoft.com/office/drawing/2014/main" id="{76234DA9-5935-C4DB-B4C0-7C8F6DA162AD}"/>
                  </a:ext>
                </a:extLst>
              </p:cNvPr>
              <p:cNvSpPr>
                <a:spLocks noChangeAspect="1"/>
              </p:cNvSpPr>
              <p:nvPr/>
            </p:nvSpPr>
            <p:spPr>
              <a:xfrm>
                <a:off x="520337" y="2289285"/>
                <a:ext cx="658664" cy="658664"/>
              </a:xfrm>
              <a:prstGeom prst="arc">
                <a:avLst/>
              </a:prstGeom>
              <a:noFill/>
              <a:ln w="28575" cap="rnd" cmpd="sng" algn="ctr">
                <a:solidFill>
                  <a:srgbClr val="FFC000"/>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pic>
            <p:nvPicPr>
              <p:cNvPr id="34" name="Graphic 33">
                <a:extLst>
                  <a:ext uri="{FF2B5EF4-FFF2-40B4-BE49-F238E27FC236}">
                    <a16:creationId xmlns:a16="http://schemas.microsoft.com/office/drawing/2014/main" id="{36845112-CB93-66B2-A4FA-83149BDD52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188" y="2397775"/>
                <a:ext cx="441681" cy="441681"/>
              </a:xfrm>
              <a:prstGeom prst="rect">
                <a:avLst/>
              </a:prstGeom>
            </p:spPr>
          </p:pic>
        </p:grpSp>
        <p:pic>
          <p:nvPicPr>
            <p:cNvPr id="28" name="Graphic 27">
              <a:extLst>
                <a:ext uri="{FF2B5EF4-FFF2-40B4-BE49-F238E27FC236}">
                  <a16:creationId xmlns:a16="http://schemas.microsoft.com/office/drawing/2014/main" id="{C7079E30-A095-BCB2-556E-BE7E51FEBFD8}"/>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9425849" y="2559206"/>
              <a:ext cx="1331631" cy="1331638"/>
            </a:xfrm>
            <a:prstGeom prst="rect">
              <a:avLst/>
            </a:prstGeom>
          </p:spPr>
        </p:pic>
      </p:grpSp>
    </p:spTree>
    <p:extLst>
      <p:ext uri="{BB962C8B-B14F-4D97-AF65-F5344CB8AC3E}">
        <p14:creationId xmlns:p14="http://schemas.microsoft.com/office/powerpoint/2010/main" val="14360109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833E50-FA67-992A-6D30-169546C6CD36}"/>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65833E50-FA67-992A-6D30-169546C6CD36}"/>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sp>
        <p:nvSpPr>
          <p:cNvPr id="3" name="Title 1">
            <a:extLst>
              <a:ext uri="{FF2B5EF4-FFF2-40B4-BE49-F238E27FC236}">
                <a16:creationId xmlns:a16="http://schemas.microsoft.com/office/drawing/2014/main" id="{0ECE8896-D850-CC79-5AD0-8FCE56642E1B}"/>
              </a:ext>
            </a:extLst>
          </p:cNvPr>
          <p:cNvSpPr txBox="1">
            <a:spLocks noGrp="1"/>
          </p:cNvSpPr>
          <p:nvPr>
            <p:ph type="title"/>
          </p:nvPr>
        </p:nvSpPr>
        <p:spPr>
          <a:xfrm>
            <a:off x="179386" y="179386"/>
            <a:ext cx="11831641" cy="708714"/>
          </a:xfrm>
          <a:prstGeom prst="rect">
            <a:avLst/>
          </a:prstGeom>
          <a:noFill/>
          <a:ln>
            <a:noFill/>
          </a:ln>
        </p:spPr>
        <p:txBody>
          <a:bodyPr vert="horz" wrap="square" lIns="0" tIns="0" rIns="0" bIns="0" anchor="ctr" anchorCtr="0" compatLnSpc="1">
            <a:noAutofit/>
          </a:bodyPr>
          <a:lstStyle/>
          <a:p>
            <a:pPr lvl="0">
              <a:tabLst>
                <a:tab pos="10028233" algn="l"/>
              </a:tabLst>
            </a:pPr>
            <a:r>
              <a:rPr lang="en-US" b="1" cap="none" dirty="0">
                <a:latin typeface="Avenir Next LT Pro"/>
              </a:rPr>
              <a:t>CBA, a UK charity since 2023</a:t>
            </a:r>
            <a:endParaRPr lang="en-GB" b="1" cap="none" dirty="0">
              <a:latin typeface="Avenir Next LT Pro"/>
            </a:endParaRPr>
          </a:p>
        </p:txBody>
      </p:sp>
      <p:cxnSp>
        <p:nvCxnSpPr>
          <p:cNvPr id="6" name="Straight Connector 42">
            <a:extLst>
              <a:ext uri="{FF2B5EF4-FFF2-40B4-BE49-F238E27FC236}">
                <a16:creationId xmlns:a16="http://schemas.microsoft.com/office/drawing/2014/main" id="{E03D3B9C-97C6-FD72-9003-713D9E732B54}"/>
              </a:ext>
            </a:extLst>
          </p:cNvPr>
          <p:cNvCxnSpPr>
            <a:cxnSpLocks/>
            <a:stCxn id="17" idx="2"/>
          </p:cNvCxnSpPr>
          <p:nvPr/>
        </p:nvCxnSpPr>
        <p:spPr>
          <a:xfrm flipH="1">
            <a:off x="4887321" y="2252962"/>
            <a:ext cx="5" cy="1272306"/>
          </a:xfrm>
          <a:prstGeom prst="straightConnector1">
            <a:avLst/>
          </a:prstGeom>
          <a:noFill/>
          <a:ln w="28575" cap="flat">
            <a:solidFill>
              <a:schemeClr val="tx1"/>
            </a:solidFill>
            <a:prstDash val="solid"/>
            <a:miter/>
          </a:ln>
        </p:spPr>
      </p:cxnSp>
      <p:grpSp>
        <p:nvGrpSpPr>
          <p:cNvPr id="7" name="Group 43">
            <a:extLst>
              <a:ext uri="{FF2B5EF4-FFF2-40B4-BE49-F238E27FC236}">
                <a16:creationId xmlns:a16="http://schemas.microsoft.com/office/drawing/2014/main" id="{FD5929EC-B4D8-1390-3873-613104B48798}"/>
              </a:ext>
            </a:extLst>
          </p:cNvPr>
          <p:cNvGrpSpPr/>
          <p:nvPr/>
        </p:nvGrpSpPr>
        <p:grpSpPr>
          <a:xfrm>
            <a:off x="2892036" y="4870734"/>
            <a:ext cx="314325" cy="236281"/>
            <a:chOff x="2892036" y="4870734"/>
            <a:chExt cx="314325" cy="236281"/>
          </a:xfrm>
        </p:grpSpPr>
        <p:cxnSp>
          <p:nvCxnSpPr>
            <p:cNvPr id="8" name="Straight Connector 73">
              <a:extLst>
                <a:ext uri="{FF2B5EF4-FFF2-40B4-BE49-F238E27FC236}">
                  <a16:creationId xmlns:a16="http://schemas.microsoft.com/office/drawing/2014/main" id="{82C3FBF6-356F-6A5B-821A-5C28037220D8}"/>
                </a:ext>
              </a:extLst>
            </p:cNvPr>
            <p:cNvCxnSpPr/>
            <p:nvPr/>
          </p:nvCxnSpPr>
          <p:spPr>
            <a:xfrm>
              <a:off x="2892036" y="4870734"/>
              <a:ext cx="0" cy="236281"/>
            </a:xfrm>
            <a:prstGeom prst="straightConnector1">
              <a:avLst/>
            </a:prstGeom>
            <a:noFill/>
            <a:ln w="6345" cap="flat">
              <a:solidFill>
                <a:srgbClr val="7F7F7F"/>
              </a:solidFill>
              <a:custDash>
                <a:ds d="300173" sp="300173"/>
              </a:custDash>
              <a:miter/>
            </a:ln>
          </p:spPr>
        </p:cxnSp>
        <p:cxnSp>
          <p:nvCxnSpPr>
            <p:cNvPr id="9" name="Straight Connector 74">
              <a:extLst>
                <a:ext uri="{FF2B5EF4-FFF2-40B4-BE49-F238E27FC236}">
                  <a16:creationId xmlns:a16="http://schemas.microsoft.com/office/drawing/2014/main" id="{418B7539-6D7B-90D4-0C4E-3572093F0E0E}"/>
                </a:ext>
              </a:extLst>
            </p:cNvPr>
            <p:cNvCxnSpPr/>
            <p:nvPr/>
          </p:nvCxnSpPr>
          <p:spPr>
            <a:xfrm>
              <a:off x="3206361" y="4870734"/>
              <a:ext cx="0" cy="236281"/>
            </a:xfrm>
            <a:prstGeom prst="straightConnector1">
              <a:avLst/>
            </a:prstGeom>
            <a:noFill/>
            <a:ln w="6345" cap="flat">
              <a:solidFill>
                <a:srgbClr val="7F7F7F"/>
              </a:solidFill>
              <a:custDash>
                <a:ds d="300173" sp="300173"/>
              </a:custDash>
              <a:miter/>
            </a:ln>
          </p:spPr>
        </p:cxnSp>
      </p:grpSp>
      <p:grpSp>
        <p:nvGrpSpPr>
          <p:cNvPr id="10" name="Group 44">
            <a:extLst>
              <a:ext uri="{FF2B5EF4-FFF2-40B4-BE49-F238E27FC236}">
                <a16:creationId xmlns:a16="http://schemas.microsoft.com/office/drawing/2014/main" id="{8699B593-BEEB-44ED-97A6-D917B6939D91}"/>
              </a:ext>
            </a:extLst>
          </p:cNvPr>
          <p:cNvGrpSpPr/>
          <p:nvPr/>
        </p:nvGrpSpPr>
        <p:grpSpPr>
          <a:xfrm>
            <a:off x="6568281" y="4870734"/>
            <a:ext cx="314325" cy="236281"/>
            <a:chOff x="6568281" y="4870734"/>
            <a:chExt cx="314325" cy="236281"/>
          </a:xfrm>
        </p:grpSpPr>
        <p:cxnSp>
          <p:nvCxnSpPr>
            <p:cNvPr id="11" name="Straight Connector 71">
              <a:extLst>
                <a:ext uri="{FF2B5EF4-FFF2-40B4-BE49-F238E27FC236}">
                  <a16:creationId xmlns:a16="http://schemas.microsoft.com/office/drawing/2014/main" id="{D12DE08D-385E-EEBC-7760-CBDAA5152E41}"/>
                </a:ext>
              </a:extLst>
            </p:cNvPr>
            <p:cNvCxnSpPr/>
            <p:nvPr/>
          </p:nvCxnSpPr>
          <p:spPr>
            <a:xfrm>
              <a:off x="6568281" y="4870734"/>
              <a:ext cx="0" cy="236281"/>
            </a:xfrm>
            <a:prstGeom prst="straightConnector1">
              <a:avLst/>
            </a:prstGeom>
            <a:noFill/>
            <a:ln w="6345" cap="flat">
              <a:solidFill>
                <a:srgbClr val="7F7F7F"/>
              </a:solidFill>
              <a:custDash>
                <a:ds d="300173" sp="300173"/>
              </a:custDash>
              <a:miter/>
            </a:ln>
          </p:spPr>
        </p:cxnSp>
        <p:cxnSp>
          <p:nvCxnSpPr>
            <p:cNvPr id="12" name="Straight Connector 72">
              <a:extLst>
                <a:ext uri="{FF2B5EF4-FFF2-40B4-BE49-F238E27FC236}">
                  <a16:creationId xmlns:a16="http://schemas.microsoft.com/office/drawing/2014/main" id="{A61F10BF-CC26-CD31-8640-E84024FB3C63}"/>
                </a:ext>
              </a:extLst>
            </p:cNvPr>
            <p:cNvCxnSpPr/>
            <p:nvPr/>
          </p:nvCxnSpPr>
          <p:spPr>
            <a:xfrm>
              <a:off x="6882606" y="4870734"/>
              <a:ext cx="0" cy="236281"/>
            </a:xfrm>
            <a:prstGeom prst="straightConnector1">
              <a:avLst/>
            </a:prstGeom>
            <a:noFill/>
            <a:ln w="6345" cap="flat">
              <a:solidFill>
                <a:srgbClr val="7F7F7F"/>
              </a:solidFill>
              <a:custDash>
                <a:ds d="300173" sp="300173"/>
              </a:custDash>
              <a:miter/>
            </a:ln>
          </p:spPr>
        </p:cxnSp>
      </p:grpSp>
      <p:sp>
        <p:nvSpPr>
          <p:cNvPr id="13" name="Rectangle 45">
            <a:extLst>
              <a:ext uri="{FF2B5EF4-FFF2-40B4-BE49-F238E27FC236}">
                <a16:creationId xmlns:a16="http://schemas.microsoft.com/office/drawing/2014/main" id="{EEF11B1F-4F73-649C-55D1-97D9757AF852}"/>
              </a:ext>
            </a:extLst>
          </p:cNvPr>
          <p:cNvSpPr/>
          <p:nvPr/>
        </p:nvSpPr>
        <p:spPr>
          <a:xfrm>
            <a:off x="2350593" y="3273231"/>
            <a:ext cx="5073466" cy="1644383"/>
          </a:xfrm>
          <a:prstGeom prst="rect">
            <a:avLst/>
          </a:prstGeom>
          <a:solidFill>
            <a:srgbClr val="F2F2F2"/>
          </a:solidFill>
          <a:ln w="12701" cap="flat">
            <a:solidFill>
              <a:srgbClr val="102436"/>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0" cap="none" spc="0" baseline="0">
              <a:solidFill>
                <a:srgbClr val="FFFFFF"/>
              </a:solidFill>
              <a:uFillTx/>
              <a:latin typeface="Avenir Next LT Pro" pitchFamily="34"/>
            </a:endParaRPr>
          </a:p>
        </p:txBody>
      </p:sp>
      <p:grpSp>
        <p:nvGrpSpPr>
          <p:cNvPr id="14" name="Group 46">
            <a:extLst>
              <a:ext uri="{FF2B5EF4-FFF2-40B4-BE49-F238E27FC236}">
                <a16:creationId xmlns:a16="http://schemas.microsoft.com/office/drawing/2014/main" id="{F610745D-7356-1DF1-7F0E-8E7059F7FF1C}"/>
              </a:ext>
            </a:extLst>
          </p:cNvPr>
          <p:cNvGrpSpPr/>
          <p:nvPr/>
        </p:nvGrpSpPr>
        <p:grpSpPr>
          <a:xfrm>
            <a:off x="8686370" y="2870519"/>
            <a:ext cx="2667423" cy="1232931"/>
            <a:chOff x="8686370" y="2272649"/>
            <a:chExt cx="2667423" cy="1232931"/>
          </a:xfrm>
        </p:grpSpPr>
        <p:sp>
          <p:nvSpPr>
            <p:cNvPr id="15" name="TextBox 69">
              <a:extLst>
                <a:ext uri="{FF2B5EF4-FFF2-40B4-BE49-F238E27FC236}">
                  <a16:creationId xmlns:a16="http://schemas.microsoft.com/office/drawing/2014/main" id="{7EB1C6F5-A49F-8A6C-2F35-761B18FE645A}"/>
                </a:ext>
              </a:extLst>
            </p:cNvPr>
            <p:cNvSpPr txBox="1"/>
            <p:nvPr/>
          </p:nvSpPr>
          <p:spPr>
            <a:xfrm>
              <a:off x="10104842" y="2272649"/>
              <a:ext cx="1248951" cy="1232931"/>
            </a:xfrm>
            <a:prstGeom prst="rect">
              <a:avLst/>
            </a:prstGeom>
            <a:solidFill>
              <a:srgbClr val="AACAE6"/>
            </a:solidFill>
            <a:ln>
              <a:noFill/>
            </a:ln>
          </p:spPr>
          <p:txBody>
            <a:bodyPr vert="horz" wrap="none" lIns="0" tIns="0" rIns="0" bIns="0" anchor="ctr" anchorCtr="1" compatLnSpc="1">
              <a:noAutofit/>
            </a:bodyPr>
            <a:lstStyle/>
            <a:p>
              <a:pPr marL="0" marR="0" lvl="0" indent="0" algn="ctr" defTabSz="914400" rtl="0" fontAlgn="auto" hangingPunct="1">
                <a:lnSpc>
                  <a:spcPct val="90000"/>
                </a:lnSpc>
                <a:spcBef>
                  <a:spcPts val="1000"/>
                </a:spcBef>
                <a:spcAft>
                  <a:spcPts val="0"/>
                </a:spcAft>
                <a:buNone/>
                <a:tabLst/>
                <a:defRPr sz="1800" b="0" i="0" u="none" strike="noStrike" kern="0" cap="none" spc="0" baseline="0">
                  <a:solidFill>
                    <a:srgbClr val="000000"/>
                  </a:solidFill>
                  <a:uFillTx/>
                </a:defRPr>
              </a:pPr>
              <a:r>
                <a:rPr lang="en-GB" sz="1400" b="0" i="0" u="none" strike="noStrike" kern="0" cap="none" spc="0" baseline="0">
                  <a:solidFill>
                    <a:srgbClr val="000000"/>
                  </a:solidFill>
                  <a:uFillTx/>
                  <a:latin typeface="Avenir Next LT Pro" pitchFamily="34"/>
                  <a:cs typeface="Avenir Arabic Book" pitchFamily="34"/>
                </a:rPr>
                <a:t>Ambassadors</a:t>
              </a:r>
            </a:p>
          </p:txBody>
        </p:sp>
        <p:sp>
          <p:nvSpPr>
            <p:cNvPr id="16" name="TextBox 70">
              <a:extLst>
                <a:ext uri="{FF2B5EF4-FFF2-40B4-BE49-F238E27FC236}">
                  <a16:creationId xmlns:a16="http://schemas.microsoft.com/office/drawing/2014/main" id="{9FAAED64-8BD9-8DAF-A823-F10F37DCC55E}"/>
                </a:ext>
              </a:extLst>
            </p:cNvPr>
            <p:cNvSpPr txBox="1"/>
            <p:nvPr/>
          </p:nvSpPr>
          <p:spPr>
            <a:xfrm>
              <a:off x="8686370" y="2272649"/>
              <a:ext cx="1248951" cy="1232931"/>
            </a:xfrm>
            <a:prstGeom prst="rect">
              <a:avLst/>
            </a:prstGeom>
            <a:solidFill>
              <a:srgbClr val="1493D3"/>
            </a:solidFill>
            <a:ln>
              <a:noFill/>
            </a:ln>
          </p:spPr>
          <p:txBody>
            <a:bodyPr vert="horz" wrap="non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0" i="0" u="none" strike="noStrike" kern="0" cap="none" spc="0" baseline="0">
                  <a:solidFill>
                    <a:srgbClr val="FFFFFF"/>
                  </a:solidFill>
                  <a:uFillTx/>
                  <a:latin typeface="Avenir Next LT Pro" pitchFamily="34"/>
                  <a:cs typeface="Avenir Arabic Book" pitchFamily="34"/>
                </a:rPr>
                <a:t>Scientific</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0" i="0" u="none" strike="noStrike" kern="0" cap="none" spc="0" baseline="0">
                  <a:solidFill>
                    <a:srgbClr val="FFFFFF"/>
                  </a:solidFill>
                  <a:uFillTx/>
                  <a:latin typeface="Avenir Next LT Pro" pitchFamily="34"/>
                  <a:cs typeface="Avenir Arabic Book" pitchFamily="34"/>
                </a:rPr>
                <a:t>Advisory</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0" i="0" u="none" strike="noStrike" kern="0" cap="none" spc="0" baseline="0">
                  <a:solidFill>
                    <a:srgbClr val="FFFFFF"/>
                  </a:solidFill>
                  <a:uFillTx/>
                  <a:latin typeface="Avenir Next LT Pro" pitchFamily="34"/>
                  <a:cs typeface="Avenir Arabic Book" pitchFamily="34"/>
                </a:rPr>
                <a:t>Board</a:t>
              </a:r>
            </a:p>
          </p:txBody>
        </p:sp>
      </p:grpSp>
      <p:sp>
        <p:nvSpPr>
          <p:cNvPr id="17" name="TextBox 47">
            <a:extLst>
              <a:ext uri="{FF2B5EF4-FFF2-40B4-BE49-F238E27FC236}">
                <a16:creationId xmlns:a16="http://schemas.microsoft.com/office/drawing/2014/main" id="{C8415443-2C14-BE0D-ACC5-DCA346E82AFC}"/>
              </a:ext>
            </a:extLst>
          </p:cNvPr>
          <p:cNvSpPr txBox="1"/>
          <p:nvPr/>
        </p:nvSpPr>
        <p:spPr>
          <a:xfrm>
            <a:off x="3599343" y="1671806"/>
            <a:ext cx="2575965" cy="581156"/>
          </a:xfrm>
          <a:prstGeom prst="rect">
            <a:avLst/>
          </a:prstGeom>
          <a:solidFill>
            <a:srgbClr val="D0CECE"/>
          </a:solidFill>
          <a:ln>
            <a:noFill/>
          </a:ln>
        </p:spPr>
        <p:txBody>
          <a:bodyPr vert="horz" wrap="square" lIns="91440" tIns="45720" rIns="91440" bIns="45720"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1400" b="1" i="0" u="none" strike="noStrike" kern="0" cap="none" spc="0" baseline="0">
                <a:solidFill>
                  <a:srgbClr val="000000"/>
                </a:solidFill>
                <a:uFillTx/>
                <a:latin typeface="Avenir Next LT Pro" pitchFamily="34"/>
                <a:cs typeface="Avenir Arabic Book" pitchFamily="34"/>
              </a:rPr>
              <a:t>Board of Trustees </a:t>
            </a:r>
          </a:p>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1400" b="0" i="0" u="none" strike="noStrike" kern="0" cap="none" spc="0" baseline="0">
                <a:solidFill>
                  <a:srgbClr val="000000"/>
                </a:solidFill>
                <a:uFillTx/>
                <a:latin typeface="Avenir Next LT Pro" pitchFamily="34"/>
                <a:cs typeface="Avenir Arabic Book" pitchFamily="34"/>
              </a:rPr>
              <a:t>(3 to 9 members)</a:t>
            </a:r>
          </a:p>
        </p:txBody>
      </p:sp>
      <p:cxnSp>
        <p:nvCxnSpPr>
          <p:cNvPr id="18" name="Straight Connector 46">
            <a:extLst>
              <a:ext uri="{FF2B5EF4-FFF2-40B4-BE49-F238E27FC236}">
                <a16:creationId xmlns:a16="http://schemas.microsoft.com/office/drawing/2014/main" id="{E63CBA66-C1ED-BD47-5E14-8F9531A861C3}"/>
              </a:ext>
            </a:extLst>
          </p:cNvPr>
          <p:cNvCxnSpPr>
            <a:stCxn id="24" idx="3"/>
            <a:endCxn id="16" idx="2"/>
          </p:cNvCxnSpPr>
          <p:nvPr/>
        </p:nvCxnSpPr>
        <p:spPr>
          <a:xfrm flipV="1">
            <a:off x="8930734" y="4103450"/>
            <a:ext cx="380112" cy="1209374"/>
          </a:xfrm>
          <a:prstGeom prst="bentConnector2">
            <a:avLst/>
          </a:prstGeom>
          <a:noFill/>
          <a:ln w="6345" cap="flat">
            <a:solidFill>
              <a:srgbClr val="7F7F7F"/>
            </a:solidFill>
            <a:custDash>
              <a:ds d="300173" sp="300173"/>
            </a:custDash>
            <a:miter/>
          </a:ln>
        </p:spPr>
      </p:cxnSp>
      <p:cxnSp>
        <p:nvCxnSpPr>
          <p:cNvPr id="19" name="Straight Connector 46">
            <a:extLst>
              <a:ext uri="{FF2B5EF4-FFF2-40B4-BE49-F238E27FC236}">
                <a16:creationId xmlns:a16="http://schemas.microsoft.com/office/drawing/2014/main" id="{7003169F-04B7-9EE2-D26C-FC4D3E3AD6FE}"/>
              </a:ext>
            </a:extLst>
          </p:cNvPr>
          <p:cNvCxnSpPr>
            <a:stCxn id="24" idx="1"/>
            <a:endCxn id="35" idx="2"/>
          </p:cNvCxnSpPr>
          <p:nvPr/>
        </p:nvCxnSpPr>
        <p:spPr>
          <a:xfrm rot="10800000">
            <a:off x="1462680" y="3505580"/>
            <a:ext cx="474029" cy="1807244"/>
          </a:xfrm>
          <a:prstGeom prst="bentConnector2">
            <a:avLst/>
          </a:prstGeom>
          <a:noFill/>
          <a:ln w="6345" cap="flat">
            <a:solidFill>
              <a:srgbClr val="7F7F7F"/>
            </a:solidFill>
            <a:custDash>
              <a:ds d="300173" sp="300173"/>
            </a:custDash>
            <a:miter/>
          </a:ln>
        </p:spPr>
      </p:cxnSp>
      <p:sp>
        <p:nvSpPr>
          <p:cNvPr id="20" name="Rectangle 51">
            <a:extLst>
              <a:ext uri="{FF2B5EF4-FFF2-40B4-BE49-F238E27FC236}">
                <a16:creationId xmlns:a16="http://schemas.microsoft.com/office/drawing/2014/main" id="{807D82BF-0F01-000C-95FC-D240CC74A375}"/>
              </a:ext>
            </a:extLst>
          </p:cNvPr>
          <p:cNvSpPr/>
          <p:nvPr/>
        </p:nvSpPr>
        <p:spPr>
          <a:xfrm>
            <a:off x="5782638" y="3505581"/>
            <a:ext cx="1583996" cy="647998"/>
          </a:xfrm>
          <a:prstGeom prst="rect">
            <a:avLst/>
          </a:prstGeom>
          <a:solidFill>
            <a:srgbClr val="AACAE6"/>
          </a:solidFill>
          <a:ln>
            <a:noFill/>
            <a:prstDash val="solid"/>
          </a:ln>
        </p:spPr>
        <p:txBody>
          <a:bodyPr vert="horz" wrap="square" lIns="71999" tIns="71999" rIns="71999" bIns="71999"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1" i="0" u="none" strike="noStrike" kern="0" cap="none" spc="0" baseline="0">
                <a:solidFill>
                  <a:srgbClr val="000000"/>
                </a:solidFill>
                <a:uFillTx/>
                <a:latin typeface="Avenir Next LT Pro" pitchFamily="34"/>
                <a:cs typeface="Avenir Arabic Book" pitchFamily="34"/>
              </a:rPr>
              <a:t>Partnerships</a:t>
            </a:r>
          </a:p>
        </p:txBody>
      </p:sp>
      <p:sp>
        <p:nvSpPr>
          <p:cNvPr id="21" name="Rectangle 52">
            <a:extLst>
              <a:ext uri="{FF2B5EF4-FFF2-40B4-BE49-F238E27FC236}">
                <a16:creationId xmlns:a16="http://schemas.microsoft.com/office/drawing/2014/main" id="{645FB025-8D4C-2948-E85B-538979B098E9}"/>
              </a:ext>
            </a:extLst>
          </p:cNvPr>
          <p:cNvSpPr/>
          <p:nvPr/>
        </p:nvSpPr>
        <p:spPr>
          <a:xfrm>
            <a:off x="4095323" y="3505581"/>
            <a:ext cx="1583996" cy="647998"/>
          </a:xfrm>
          <a:prstGeom prst="rect">
            <a:avLst/>
          </a:prstGeom>
          <a:solidFill>
            <a:srgbClr val="AACAE6"/>
          </a:solidFill>
          <a:ln>
            <a:noFill/>
            <a:prstDash val="solid"/>
          </a:ln>
        </p:spPr>
        <p:txBody>
          <a:bodyPr vert="horz" wrap="square" lIns="71999" tIns="71999" rIns="71999" bIns="71999"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1" i="0" u="none" strike="noStrike" kern="0" cap="none" spc="0" baseline="0">
                <a:solidFill>
                  <a:srgbClr val="000000"/>
                </a:solidFill>
                <a:uFillTx/>
                <a:latin typeface="Avenir Next LT Pro" pitchFamily="34"/>
                <a:cs typeface="Avenir Arabic Book" pitchFamily="34"/>
              </a:rPr>
              <a:t>Operations</a:t>
            </a:r>
          </a:p>
        </p:txBody>
      </p:sp>
      <p:sp>
        <p:nvSpPr>
          <p:cNvPr id="22" name="Rectangle 53">
            <a:extLst>
              <a:ext uri="{FF2B5EF4-FFF2-40B4-BE49-F238E27FC236}">
                <a16:creationId xmlns:a16="http://schemas.microsoft.com/office/drawing/2014/main" id="{91ED1C66-6ABF-FF91-001A-895253E1B2D5}"/>
              </a:ext>
            </a:extLst>
          </p:cNvPr>
          <p:cNvSpPr/>
          <p:nvPr/>
        </p:nvSpPr>
        <p:spPr>
          <a:xfrm>
            <a:off x="2408008" y="3505581"/>
            <a:ext cx="1583996" cy="647998"/>
          </a:xfrm>
          <a:prstGeom prst="rect">
            <a:avLst/>
          </a:prstGeom>
          <a:solidFill>
            <a:srgbClr val="AACAE6"/>
          </a:solidFill>
          <a:ln>
            <a:noFill/>
            <a:prstDash val="solid"/>
          </a:ln>
        </p:spPr>
        <p:txBody>
          <a:bodyPr vert="horz" wrap="square" lIns="71999" tIns="71999" rIns="71999" bIns="71999"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1" i="0" u="none" strike="noStrike" kern="0" cap="none" spc="0" baseline="0">
                <a:solidFill>
                  <a:srgbClr val="000000"/>
                </a:solidFill>
                <a:uFillTx/>
                <a:latin typeface="Avenir Next LT Pro" pitchFamily="34"/>
                <a:cs typeface="Avenir Arabic Book" pitchFamily="34"/>
              </a:rPr>
              <a:t>Programmes</a:t>
            </a:r>
          </a:p>
        </p:txBody>
      </p:sp>
      <p:sp>
        <p:nvSpPr>
          <p:cNvPr id="23" name="Rectangle 54">
            <a:extLst>
              <a:ext uri="{FF2B5EF4-FFF2-40B4-BE49-F238E27FC236}">
                <a16:creationId xmlns:a16="http://schemas.microsoft.com/office/drawing/2014/main" id="{AE03DD69-C1DF-D065-4251-D8E6B305E397}"/>
              </a:ext>
            </a:extLst>
          </p:cNvPr>
          <p:cNvSpPr/>
          <p:nvPr/>
        </p:nvSpPr>
        <p:spPr>
          <a:xfrm>
            <a:off x="2408008" y="4235875"/>
            <a:ext cx="4958626" cy="625239"/>
          </a:xfrm>
          <a:prstGeom prst="rect">
            <a:avLst/>
          </a:prstGeom>
          <a:solidFill>
            <a:srgbClr val="D0CECE"/>
          </a:solidFill>
          <a:ln>
            <a:noFill/>
            <a:prstDash val="solid"/>
          </a:ln>
        </p:spPr>
        <p:txBody>
          <a:bodyPr vert="horz" wrap="square" lIns="71999" tIns="71999" rIns="71999" bIns="71999"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1" i="0" u="none" strike="noStrike" kern="0" cap="none" spc="0" baseline="0">
                <a:solidFill>
                  <a:srgbClr val="000000"/>
                </a:solidFill>
                <a:uFillTx/>
                <a:latin typeface="Avenir Next LT Pro" pitchFamily="34"/>
                <a:cs typeface="Avenir Arabic Book" pitchFamily="34"/>
              </a:rPr>
              <a:t>Living Labs</a:t>
            </a:r>
          </a:p>
        </p:txBody>
      </p:sp>
      <p:sp>
        <p:nvSpPr>
          <p:cNvPr id="24" name="Rectangle 55">
            <a:extLst>
              <a:ext uri="{FF2B5EF4-FFF2-40B4-BE49-F238E27FC236}">
                <a16:creationId xmlns:a16="http://schemas.microsoft.com/office/drawing/2014/main" id="{542CE594-17D0-E392-406A-BAD730DC41B7}"/>
              </a:ext>
            </a:extLst>
          </p:cNvPr>
          <p:cNvSpPr/>
          <p:nvPr/>
        </p:nvSpPr>
        <p:spPr>
          <a:xfrm>
            <a:off x="1936708" y="5107015"/>
            <a:ext cx="6994026" cy="411617"/>
          </a:xfrm>
          <a:prstGeom prst="rect">
            <a:avLst/>
          </a:prstGeom>
          <a:solidFill>
            <a:srgbClr val="E2A21A"/>
          </a:solidFill>
          <a:ln>
            <a:noFill/>
            <a:prstDash val="solid"/>
          </a:ln>
        </p:spPr>
        <p:txBody>
          <a:bodyPr vert="horz" wrap="square" lIns="71999" tIns="71999" rIns="71999" bIns="71999"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300" b="1" i="0" u="none" strike="noStrike" kern="0" cap="none" spc="0" baseline="0">
                <a:solidFill>
                  <a:srgbClr val="000000"/>
                </a:solidFill>
                <a:uFillTx/>
                <a:latin typeface="Avenir Next LT Pro" pitchFamily="34"/>
                <a:cs typeface="Avenir Arabic Book" pitchFamily="34"/>
              </a:rPr>
              <a:t>CBA Affiliate Members</a:t>
            </a:r>
          </a:p>
        </p:txBody>
      </p:sp>
      <p:cxnSp>
        <p:nvCxnSpPr>
          <p:cNvPr id="25" name="Straight Connector 43">
            <a:extLst>
              <a:ext uri="{FF2B5EF4-FFF2-40B4-BE49-F238E27FC236}">
                <a16:creationId xmlns:a16="http://schemas.microsoft.com/office/drawing/2014/main" id="{D06F7775-6521-0D1E-7714-0A995F0DE904}"/>
              </a:ext>
            </a:extLst>
          </p:cNvPr>
          <p:cNvCxnSpPr>
            <a:cxnSpLocks/>
            <a:endCxn id="15" idx="0"/>
          </p:cNvCxnSpPr>
          <p:nvPr/>
        </p:nvCxnSpPr>
        <p:spPr>
          <a:xfrm>
            <a:off x="6103990" y="2507785"/>
            <a:ext cx="4625328" cy="362734"/>
          </a:xfrm>
          <a:prstGeom prst="bentConnector2">
            <a:avLst/>
          </a:prstGeom>
          <a:noFill/>
          <a:ln w="28575" cap="flat">
            <a:solidFill>
              <a:schemeClr val="tx1"/>
            </a:solidFill>
            <a:prstDash val="solid"/>
            <a:miter/>
          </a:ln>
        </p:spPr>
      </p:cxnSp>
      <p:cxnSp>
        <p:nvCxnSpPr>
          <p:cNvPr id="29" name="Straight Connector 43">
            <a:extLst>
              <a:ext uri="{FF2B5EF4-FFF2-40B4-BE49-F238E27FC236}">
                <a16:creationId xmlns:a16="http://schemas.microsoft.com/office/drawing/2014/main" id="{D6A74FF4-F34E-CA53-C214-71D786708D22}"/>
              </a:ext>
            </a:extLst>
          </p:cNvPr>
          <p:cNvCxnSpPr>
            <a:stCxn id="35" idx="0"/>
            <a:endCxn id="17" idx="1"/>
          </p:cNvCxnSpPr>
          <p:nvPr/>
        </p:nvCxnSpPr>
        <p:spPr>
          <a:xfrm rot="5400000" flipH="1" flipV="1">
            <a:off x="2375879" y="1049185"/>
            <a:ext cx="310265" cy="2136664"/>
          </a:xfrm>
          <a:prstGeom prst="bentConnector2">
            <a:avLst/>
          </a:prstGeom>
          <a:noFill/>
          <a:ln w="6345" cap="flat">
            <a:solidFill>
              <a:schemeClr val="tx1"/>
            </a:solidFill>
            <a:prstDash val="solid"/>
            <a:miter/>
          </a:ln>
        </p:spPr>
      </p:cxnSp>
      <p:sp>
        <p:nvSpPr>
          <p:cNvPr id="30" name="TextBox 61">
            <a:extLst>
              <a:ext uri="{FF2B5EF4-FFF2-40B4-BE49-F238E27FC236}">
                <a16:creationId xmlns:a16="http://schemas.microsoft.com/office/drawing/2014/main" id="{39757E73-137D-529B-C78E-EA16BFE0F76E}"/>
              </a:ext>
            </a:extLst>
          </p:cNvPr>
          <p:cNvSpPr txBox="1"/>
          <p:nvPr/>
        </p:nvSpPr>
        <p:spPr>
          <a:xfrm>
            <a:off x="2352486" y="3291894"/>
            <a:ext cx="1940265" cy="195535"/>
          </a:xfrm>
          <a:prstGeom prst="rect">
            <a:avLst/>
          </a:prstGeom>
          <a:noFill/>
          <a:ln>
            <a:noFill/>
          </a:ln>
        </p:spPr>
        <p:txBody>
          <a:bodyPr vert="horz" wrap="square" lIns="91440" tIns="45720" rIns="91440" bIns="45720" anchor="ctr" anchorCtr="0" compatLnSpc="1">
            <a:noAutofit/>
          </a:bodyPr>
          <a:lstStyle/>
          <a:p>
            <a:pPr marL="0" marR="0" lvl="0" indent="0" algn="l"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1400" b="1" i="1" u="none" strike="noStrike" kern="0" cap="none" spc="0" baseline="0">
                <a:solidFill>
                  <a:srgbClr val="91BADF"/>
                </a:solidFill>
                <a:uFillTx/>
                <a:latin typeface="Avenir Next LT Pro" pitchFamily="34"/>
                <a:cs typeface="Avenir Arabic Book" pitchFamily="34"/>
              </a:rPr>
              <a:t>CBA Secretariat</a:t>
            </a:r>
          </a:p>
        </p:txBody>
      </p:sp>
      <p:sp>
        <p:nvSpPr>
          <p:cNvPr id="31" name="Rectangle 62">
            <a:extLst>
              <a:ext uri="{FF2B5EF4-FFF2-40B4-BE49-F238E27FC236}">
                <a16:creationId xmlns:a16="http://schemas.microsoft.com/office/drawing/2014/main" id="{58758C8A-0976-008E-D42D-8B0F562B8FDB}"/>
              </a:ext>
            </a:extLst>
          </p:cNvPr>
          <p:cNvSpPr/>
          <p:nvPr/>
        </p:nvSpPr>
        <p:spPr>
          <a:xfrm>
            <a:off x="7489969" y="3273231"/>
            <a:ext cx="1026880" cy="1644383"/>
          </a:xfrm>
          <a:prstGeom prst="rect">
            <a:avLst/>
          </a:prstGeom>
          <a:solidFill>
            <a:srgbClr val="F2F2F2"/>
          </a:solidFill>
          <a:ln w="12701" cap="flat">
            <a:solidFill>
              <a:srgbClr val="102436"/>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0" i="1" u="none" strike="noStrike" kern="0" cap="none" spc="0" baseline="0">
                <a:solidFill>
                  <a:srgbClr val="000000"/>
                </a:solidFill>
                <a:uFillTx/>
                <a:latin typeface="Avenir Next LT Pro" pitchFamily="34"/>
                <a:cs typeface="Avenir Arabic Book" pitchFamily="34"/>
              </a:rPr>
              <a:t>CBA Advisory</a:t>
            </a:r>
          </a:p>
        </p:txBody>
      </p:sp>
      <p:cxnSp>
        <p:nvCxnSpPr>
          <p:cNvPr id="32" name="Straight Connector 43">
            <a:extLst>
              <a:ext uri="{FF2B5EF4-FFF2-40B4-BE49-F238E27FC236}">
                <a16:creationId xmlns:a16="http://schemas.microsoft.com/office/drawing/2014/main" id="{455CCA08-1D82-2A83-8D15-92DD3713EAA6}"/>
              </a:ext>
            </a:extLst>
          </p:cNvPr>
          <p:cNvCxnSpPr>
            <a:stCxn id="28" idx="3"/>
            <a:endCxn id="31" idx="0"/>
          </p:cNvCxnSpPr>
          <p:nvPr/>
        </p:nvCxnSpPr>
        <p:spPr>
          <a:xfrm>
            <a:off x="5208673" y="2502241"/>
            <a:ext cx="2794736" cy="770990"/>
          </a:xfrm>
          <a:prstGeom prst="bentConnector2">
            <a:avLst/>
          </a:prstGeom>
          <a:noFill/>
          <a:ln w="28575" cap="flat">
            <a:solidFill>
              <a:schemeClr val="tx1"/>
            </a:solidFill>
            <a:prstDash val="solid"/>
            <a:miter/>
          </a:ln>
        </p:spPr>
      </p:cxnSp>
      <p:cxnSp>
        <p:nvCxnSpPr>
          <p:cNvPr id="33" name="Straight Connector 64">
            <a:extLst>
              <a:ext uri="{FF2B5EF4-FFF2-40B4-BE49-F238E27FC236}">
                <a16:creationId xmlns:a16="http://schemas.microsoft.com/office/drawing/2014/main" id="{945D25AB-BA12-8EA5-74BF-65038A96A4AB}"/>
              </a:ext>
            </a:extLst>
          </p:cNvPr>
          <p:cNvCxnSpPr>
            <a:stCxn id="31" idx="1"/>
            <a:endCxn id="13" idx="3"/>
          </p:cNvCxnSpPr>
          <p:nvPr/>
        </p:nvCxnSpPr>
        <p:spPr>
          <a:xfrm flipH="1">
            <a:off x="7424059" y="4095423"/>
            <a:ext cx="65910" cy="0"/>
          </a:xfrm>
          <a:prstGeom prst="straightConnector1">
            <a:avLst/>
          </a:prstGeom>
          <a:noFill/>
          <a:ln w="6345" cap="flat">
            <a:solidFill>
              <a:srgbClr val="7F7F7F"/>
            </a:solidFill>
            <a:prstDash val="solid"/>
            <a:miter/>
          </a:ln>
        </p:spPr>
      </p:cxnSp>
      <p:grpSp>
        <p:nvGrpSpPr>
          <p:cNvPr id="34" name="Group 19">
            <a:extLst>
              <a:ext uri="{FF2B5EF4-FFF2-40B4-BE49-F238E27FC236}">
                <a16:creationId xmlns:a16="http://schemas.microsoft.com/office/drawing/2014/main" id="{3D683786-5657-7A97-6E3E-7BAF9B4F81E2}"/>
              </a:ext>
            </a:extLst>
          </p:cNvPr>
          <p:cNvGrpSpPr/>
          <p:nvPr/>
        </p:nvGrpSpPr>
        <p:grpSpPr>
          <a:xfrm>
            <a:off x="838203" y="2272649"/>
            <a:ext cx="1248951" cy="1364147"/>
            <a:chOff x="838203" y="2272649"/>
            <a:chExt cx="1248951" cy="1364147"/>
          </a:xfrm>
        </p:grpSpPr>
        <p:sp>
          <p:nvSpPr>
            <p:cNvPr id="35" name="TextBox 66">
              <a:extLst>
                <a:ext uri="{FF2B5EF4-FFF2-40B4-BE49-F238E27FC236}">
                  <a16:creationId xmlns:a16="http://schemas.microsoft.com/office/drawing/2014/main" id="{21E52E3E-C799-9B30-0490-8F699E55EE64}"/>
                </a:ext>
              </a:extLst>
            </p:cNvPr>
            <p:cNvSpPr txBox="1"/>
            <p:nvPr/>
          </p:nvSpPr>
          <p:spPr>
            <a:xfrm>
              <a:off x="838203" y="2272649"/>
              <a:ext cx="1248951" cy="1232931"/>
            </a:xfrm>
            <a:prstGeom prst="rect">
              <a:avLst/>
            </a:prstGeom>
            <a:noFill/>
            <a:ln w="9528">
              <a:solidFill>
                <a:srgbClr val="031F35"/>
              </a:solidFill>
              <a:prstDash val="solid"/>
            </a:ln>
          </p:spPr>
          <p:txBody>
            <a:bodyPr vert="horz" wrap="square" lIns="0" tIns="0" rIns="0" bIns="0" anchor="ctr" anchorCtr="1" compatLnSpc="1">
              <a:noAutofit/>
            </a:bodyPr>
            <a:lstStyle/>
            <a:p>
              <a:pPr marL="0" marR="0" lvl="0" indent="0" algn="ctr" defTabSz="914400" rtl="0" fontAlgn="auto" hangingPunct="1">
                <a:lnSpc>
                  <a:spcPct val="90000"/>
                </a:lnSpc>
                <a:spcBef>
                  <a:spcPts val="1000"/>
                </a:spcBef>
                <a:spcAft>
                  <a:spcPts val="0"/>
                </a:spcAft>
                <a:buNone/>
                <a:tabLst/>
                <a:defRPr sz="1800" b="0" i="0" u="none" strike="noStrike" kern="0" cap="none" spc="0" baseline="0">
                  <a:solidFill>
                    <a:srgbClr val="000000"/>
                  </a:solidFill>
                  <a:uFillTx/>
                </a:defRPr>
              </a:pPr>
              <a:endParaRPr lang="en-GB" sz="1400" b="1" i="0" u="none" strike="noStrike" kern="0" cap="none" spc="0" baseline="0">
                <a:solidFill>
                  <a:srgbClr val="000000"/>
                </a:solidFill>
                <a:uFillTx/>
                <a:latin typeface="Avenir Next LT Pro" pitchFamily="34"/>
                <a:cs typeface="Avenir Arabic Book" pitchFamily="34"/>
              </a:endParaRPr>
            </a:p>
          </p:txBody>
        </p:sp>
        <p:sp>
          <p:nvSpPr>
            <p:cNvPr id="36" name="TextBox 14">
              <a:extLst>
                <a:ext uri="{FF2B5EF4-FFF2-40B4-BE49-F238E27FC236}">
                  <a16:creationId xmlns:a16="http://schemas.microsoft.com/office/drawing/2014/main" id="{04B5DA08-793A-53BD-3494-5B638D88A30A}"/>
                </a:ext>
              </a:extLst>
            </p:cNvPr>
            <p:cNvSpPr txBox="1"/>
            <p:nvPr/>
          </p:nvSpPr>
          <p:spPr>
            <a:xfrm>
              <a:off x="838568" y="2272649"/>
              <a:ext cx="1248220" cy="612876"/>
            </a:xfrm>
            <a:prstGeom prst="rect">
              <a:avLst/>
            </a:prstGeom>
            <a:solidFill>
              <a:srgbClr val="031F35"/>
            </a:solidFill>
            <a:ln w="9528">
              <a:solidFill>
                <a:srgbClr val="031F35"/>
              </a:solidFill>
              <a:prstDash val="solid"/>
            </a:ln>
          </p:spPr>
          <p:txBody>
            <a:bodyPr vert="horz" wrap="square" lIns="0" tIns="0" rIns="0" bIns="0" anchor="ctr" anchorCtr="1" compatLnSpc="1">
              <a:noAutofit/>
            </a:bodyPr>
            <a:lstStyle/>
            <a:p>
              <a:pPr marL="0" marR="0" lvl="0" indent="0" algn="ctr" defTabSz="914400" rtl="0" fontAlgn="auto" hangingPunct="1">
                <a:lnSpc>
                  <a:spcPct val="90000"/>
                </a:lnSpc>
                <a:spcBef>
                  <a:spcPts val="1000"/>
                </a:spcBef>
                <a:spcAft>
                  <a:spcPts val="0"/>
                </a:spcAft>
                <a:buNone/>
                <a:tabLst/>
                <a:defRPr sz="1800" b="0" i="0" u="none" strike="noStrike" kern="0" cap="none" spc="0" baseline="0">
                  <a:solidFill>
                    <a:srgbClr val="000000"/>
                  </a:solidFill>
                  <a:uFillTx/>
                </a:defRPr>
              </a:pPr>
              <a:endParaRPr lang="en-GB" sz="1400" b="1" i="0" u="none" strike="noStrike" kern="0" cap="none" spc="0" baseline="0">
                <a:solidFill>
                  <a:srgbClr val="000000"/>
                </a:solidFill>
                <a:uFillTx/>
                <a:latin typeface="Avenir Next LT Pro" pitchFamily="34"/>
                <a:cs typeface="Avenir Arabic Book" pitchFamily="34"/>
              </a:endParaRPr>
            </a:p>
          </p:txBody>
        </p:sp>
        <p:sp>
          <p:nvSpPr>
            <p:cNvPr id="37" name="TextBox 17">
              <a:extLst>
                <a:ext uri="{FF2B5EF4-FFF2-40B4-BE49-F238E27FC236}">
                  <a16:creationId xmlns:a16="http://schemas.microsoft.com/office/drawing/2014/main" id="{AFC78AFD-2517-D2EF-530A-2B29A51338A1}"/>
                </a:ext>
              </a:extLst>
            </p:cNvPr>
            <p:cNvSpPr txBox="1"/>
            <p:nvPr/>
          </p:nvSpPr>
          <p:spPr>
            <a:xfrm>
              <a:off x="981242" y="2898135"/>
              <a:ext cx="962872" cy="738661"/>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400" b="1" i="0" u="none" strike="noStrike" kern="0" cap="none" spc="0" baseline="0">
                  <a:solidFill>
                    <a:srgbClr val="031F35"/>
                  </a:solidFill>
                  <a:uFillTx/>
                  <a:latin typeface="Avenir Next LT Pro" pitchFamily="34"/>
                </a:rPr>
                <a:t>Advisory Council</a:t>
              </a:r>
            </a:p>
          </p:txBody>
        </p:sp>
        <p:sp>
          <p:nvSpPr>
            <p:cNvPr id="38" name="TextBox 18">
              <a:extLst>
                <a:ext uri="{FF2B5EF4-FFF2-40B4-BE49-F238E27FC236}">
                  <a16:creationId xmlns:a16="http://schemas.microsoft.com/office/drawing/2014/main" id="{89664123-952B-1B80-21ED-408643CFB676}"/>
                </a:ext>
              </a:extLst>
            </p:cNvPr>
            <p:cNvSpPr txBox="1"/>
            <p:nvPr/>
          </p:nvSpPr>
          <p:spPr>
            <a:xfrm>
              <a:off x="839090" y="2340242"/>
              <a:ext cx="1247168" cy="600166"/>
            </a:xfrm>
            <a:prstGeom prst="rect">
              <a:avLst/>
            </a:prstGeom>
            <a:noFill/>
            <a:ln>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100" b="0" i="1" u="none" strike="noStrike" kern="0" cap="none" spc="0" baseline="0">
                  <a:solidFill>
                    <a:srgbClr val="FFFFFF"/>
                  </a:solidFill>
                  <a:uFillTx/>
                  <a:latin typeface="Avenir Next LT Pro" pitchFamily="34"/>
                </a:rPr>
                <a:t>Founder &amp; Custodian Members</a:t>
              </a:r>
            </a:p>
          </p:txBody>
        </p:sp>
      </p:grpSp>
      <p:sp>
        <p:nvSpPr>
          <p:cNvPr id="28" name="TextBox 59">
            <a:extLst>
              <a:ext uri="{FF2B5EF4-FFF2-40B4-BE49-F238E27FC236}">
                <a16:creationId xmlns:a16="http://schemas.microsoft.com/office/drawing/2014/main" id="{14AF9889-2C52-13A5-A7FB-096627D17BAD}"/>
              </a:ext>
            </a:extLst>
          </p:cNvPr>
          <p:cNvSpPr txBox="1"/>
          <p:nvPr/>
        </p:nvSpPr>
        <p:spPr>
          <a:xfrm>
            <a:off x="4565969" y="2360564"/>
            <a:ext cx="642704" cy="283354"/>
          </a:xfrm>
          <a:prstGeom prst="rect">
            <a:avLst/>
          </a:prstGeom>
          <a:solidFill>
            <a:schemeClr val="bg2"/>
          </a:solidFill>
          <a:ln>
            <a:noFill/>
          </a:ln>
        </p:spPr>
        <p:txBody>
          <a:bodyPr vert="horz" wrap="square" lIns="91440" tIns="45720" rIns="91440" bIns="45720" anchor="ctr" anchorCtr="1" compatLnSpc="1">
            <a:spAutoFit/>
          </a:bodyPr>
          <a:lstStyle/>
          <a:p>
            <a:pPr marL="0" marR="0" lvl="0" indent="0" algn="ctr" defTabSz="914400" rtl="0" fontAlgn="auto" hangingPunct="1">
              <a:lnSpc>
                <a:spcPct val="90000"/>
              </a:lnSpc>
              <a:spcBef>
                <a:spcPts val="1000"/>
              </a:spcBef>
              <a:spcAft>
                <a:spcPts val="0"/>
              </a:spcAft>
              <a:buNone/>
              <a:tabLst/>
              <a:defRPr sz="1800" b="0" i="0" u="none" strike="noStrike" kern="0" cap="none" spc="0" baseline="0">
                <a:solidFill>
                  <a:srgbClr val="000000"/>
                </a:solidFill>
                <a:uFillTx/>
              </a:defRPr>
            </a:pPr>
            <a:r>
              <a:rPr lang="en-GB" sz="1400" b="1" i="0" u="none" strike="noStrike" kern="0" cap="none" spc="0" baseline="0" dirty="0">
                <a:solidFill>
                  <a:srgbClr val="000000"/>
                </a:solidFill>
                <a:uFillTx/>
                <a:latin typeface="Avenir Next LT Pro" pitchFamily="34"/>
                <a:cs typeface="Avenir Arabic Book" pitchFamily="34"/>
              </a:rPr>
              <a:t>CEO</a:t>
            </a:r>
          </a:p>
        </p:txBody>
      </p:sp>
      <p:cxnSp>
        <p:nvCxnSpPr>
          <p:cNvPr id="44" name="Straight Connector 43">
            <a:extLst>
              <a:ext uri="{FF2B5EF4-FFF2-40B4-BE49-F238E27FC236}">
                <a16:creationId xmlns:a16="http://schemas.microsoft.com/office/drawing/2014/main" id="{5BC77F2B-9850-6FD8-1FF4-87D45471CF62}"/>
              </a:ext>
            </a:extLst>
          </p:cNvPr>
          <p:cNvCxnSpPr>
            <a:cxnSpLocks/>
            <a:stCxn id="16" idx="0"/>
          </p:cNvCxnSpPr>
          <p:nvPr/>
        </p:nvCxnSpPr>
        <p:spPr>
          <a:xfrm flipH="1">
            <a:off x="9310845" y="2870519"/>
            <a:ext cx="1" cy="7196"/>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D76576E-D6DA-9365-8F3C-5322F5EE76BA}"/>
              </a:ext>
            </a:extLst>
          </p:cNvPr>
          <p:cNvCxnSpPr>
            <a:endCxn id="16" idx="0"/>
          </p:cNvCxnSpPr>
          <p:nvPr/>
        </p:nvCxnSpPr>
        <p:spPr>
          <a:xfrm>
            <a:off x="9310845" y="2502241"/>
            <a:ext cx="1" cy="3682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C9466673-1E50-AECC-D4DD-73C59FB2DEF7}"/>
              </a:ext>
            </a:extLst>
          </p:cNvPr>
          <p:cNvCxnSpPr>
            <a:cxnSpLocks/>
            <a:stCxn id="28" idx="1"/>
          </p:cNvCxnSpPr>
          <p:nvPr/>
        </p:nvCxnSpPr>
        <p:spPr>
          <a:xfrm flipH="1" flipV="1">
            <a:off x="2086258" y="2486518"/>
            <a:ext cx="2479711" cy="1572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2FC2C36C-111D-A88A-BDB1-36483C3D59C6}"/>
              </a:ext>
            </a:extLst>
          </p:cNvPr>
          <p:cNvCxnSpPr>
            <a:stCxn id="17" idx="3"/>
            <a:endCxn id="16" idx="0"/>
          </p:cNvCxnSpPr>
          <p:nvPr/>
        </p:nvCxnSpPr>
        <p:spPr>
          <a:xfrm>
            <a:off x="6175308" y="1962384"/>
            <a:ext cx="3135538" cy="908135"/>
          </a:xfrm>
          <a:prstGeom prst="bentConnector2">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B45AC8A-6527-F914-AF9C-3A917A8C2E78}"/>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2" imgW="5787" imgH="5787" progId="">
                  <p:embed/>
                </p:oleObj>
              </mc:Choice>
              <mc:Fallback>
                <p:oleObj r:id="rId2" imgW="5787" imgH="5787" progId="">
                  <p:embed/>
                  <p:pic>
                    <p:nvPicPr>
                      <p:cNvPr id="2" name="think-cell data - do not delete" hidden="1">
                        <a:extLst>
                          <a:ext uri="{FF2B5EF4-FFF2-40B4-BE49-F238E27FC236}">
                            <a16:creationId xmlns:a16="http://schemas.microsoft.com/office/drawing/2014/main" id="{0B45AC8A-6527-F914-AF9C-3A917A8C2E78}"/>
                          </a:ext>
                        </a:extLst>
                      </p:cNvPr>
                      <p:cNvPicPr/>
                      <p:nvPr/>
                    </p:nvPicPr>
                    <p:blipFill>
                      <a:blip r:embed="rId3"/>
                      <a:stretch>
                        <a:fillRect/>
                      </a:stretch>
                    </p:blipFill>
                    <p:spPr>
                      <a:xfrm>
                        <a:off x="1591" y="1591"/>
                        <a:ext cx="1591" cy="1591"/>
                      </a:xfrm>
                      <a:prstGeom prst="rect">
                        <a:avLst/>
                      </a:prstGeom>
                      <a:noFill/>
                      <a:ln>
                        <a:noFill/>
                      </a:ln>
                    </p:spPr>
                  </p:pic>
                </p:oleObj>
              </mc:Fallback>
            </mc:AlternateContent>
          </a:graphicData>
        </a:graphic>
      </p:graphicFrame>
      <p:sp>
        <p:nvSpPr>
          <p:cNvPr id="3" name="Rectangle 1">
            <a:extLst>
              <a:ext uri="{FF2B5EF4-FFF2-40B4-BE49-F238E27FC236}">
                <a16:creationId xmlns:a16="http://schemas.microsoft.com/office/drawing/2014/main" id="{7126775C-9B81-CEAC-9872-ED56F0D7919B}"/>
              </a:ext>
            </a:extLst>
          </p:cNvPr>
          <p:cNvSpPr/>
          <p:nvPr/>
        </p:nvSpPr>
        <p:spPr>
          <a:xfrm>
            <a:off x="477773" y="805540"/>
            <a:ext cx="11236448" cy="4953003"/>
          </a:xfrm>
          <a:prstGeom prst="rect">
            <a:avLst/>
          </a:prstGeom>
          <a:solidFill>
            <a:srgbClr val="FDF0D5"/>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600" b="0" i="0" u="none" strike="noStrike" kern="1200" cap="none" spc="0" normalizeH="0" baseline="0" noProof="0">
              <a:ln>
                <a:noFill/>
              </a:ln>
              <a:solidFill>
                <a:srgbClr val="000000"/>
              </a:solidFill>
              <a:effectLst/>
              <a:uLnTx/>
              <a:uFillTx/>
              <a:latin typeface="Century Gothic"/>
              <a:ea typeface="+mn-ea"/>
              <a:cs typeface="+mn-cs"/>
            </a:endParaRPr>
          </a:p>
        </p:txBody>
      </p:sp>
      <p:sp>
        <p:nvSpPr>
          <p:cNvPr id="4" name="TextBox 6">
            <a:extLst>
              <a:ext uri="{FF2B5EF4-FFF2-40B4-BE49-F238E27FC236}">
                <a16:creationId xmlns:a16="http://schemas.microsoft.com/office/drawing/2014/main" id="{178D4C69-118B-F3ED-B73E-5BB895841182}"/>
              </a:ext>
            </a:extLst>
          </p:cNvPr>
          <p:cNvSpPr txBox="1"/>
          <p:nvPr/>
        </p:nvSpPr>
        <p:spPr>
          <a:xfrm>
            <a:off x="3623465" y="2542416"/>
            <a:ext cx="4943475" cy="1107996"/>
          </a:xfrm>
          <a:prstGeom prst="rect">
            <a:avLst/>
          </a:prstGeom>
          <a:noFill/>
          <a:ln>
            <a:noFill/>
          </a:ln>
        </p:spPr>
        <p:txBody>
          <a:bodyPr vert="horz" wrap="square" lIns="0" tIns="0" rIns="0" bIns="0" anchor="t" anchorCtr="1" compatLnSpc="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7200" b="1" i="0" u="none" strike="noStrike" kern="1200" cap="none" spc="0" normalizeH="0" baseline="0" noProof="0">
                <a:ln>
                  <a:noFill/>
                </a:ln>
                <a:solidFill>
                  <a:srgbClr val="031F35"/>
                </a:solidFill>
                <a:effectLst/>
                <a:uLnTx/>
                <a:uFillTx/>
                <a:latin typeface="Avenir Next LT Pro" pitchFamily="34"/>
                <a:ea typeface="+mn-ea"/>
                <a:cs typeface="+mn-cs"/>
              </a:rPr>
              <a:t>APPENDIX</a:t>
            </a:r>
          </a:p>
        </p:txBody>
      </p:sp>
    </p:spTree>
    <p:extLst>
      <p:ext uri="{BB962C8B-B14F-4D97-AF65-F5344CB8AC3E}">
        <p14:creationId xmlns:p14="http://schemas.microsoft.com/office/powerpoint/2010/main" val="889281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6536E-DD28-21E9-C868-40D267F5B8C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76AA884-F12A-FE32-441D-E09AE3595E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D76AA884-F12A-FE32-441D-E09AE3595E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087B3496-A0ED-7216-12C2-9EBAD0F25321}"/>
              </a:ext>
            </a:extLst>
          </p:cNvPr>
          <p:cNvSpPr/>
          <p:nvPr/>
        </p:nvSpPr>
        <p:spPr>
          <a:xfrm>
            <a:off x="3184807" y="1116047"/>
            <a:ext cx="2815378" cy="1340060"/>
          </a:xfrm>
          <a:prstGeom prst="rect">
            <a:avLst/>
          </a:prstGeom>
          <a:solidFill>
            <a:schemeClr val="bg1"/>
          </a:solidFill>
          <a:ln>
            <a:noFill/>
          </a:ln>
          <a:effectLst>
            <a:outerShdw blurRad="63500" algn="tl" rotWithShape="0">
              <a:schemeClr val="bg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chemeClr val="bg1"/>
              </a:solidFill>
              <a:latin typeface="Avenir Next LT Pro" panose="020B0504020202020204" pitchFamily="34" charset="0"/>
            </a:endParaRPr>
          </a:p>
        </p:txBody>
      </p:sp>
      <p:cxnSp>
        <p:nvCxnSpPr>
          <p:cNvPr id="153" name="Straight Connector 152">
            <a:extLst>
              <a:ext uri="{FF2B5EF4-FFF2-40B4-BE49-F238E27FC236}">
                <a16:creationId xmlns:a16="http://schemas.microsoft.com/office/drawing/2014/main" id="{CC93661F-DC71-B543-118D-37F3686B8C9F}"/>
              </a:ext>
            </a:extLst>
          </p:cNvPr>
          <p:cNvCxnSpPr>
            <a:cxnSpLocks/>
          </p:cNvCxnSpPr>
          <p:nvPr/>
        </p:nvCxnSpPr>
        <p:spPr>
          <a:xfrm>
            <a:off x="3184807" y="1116047"/>
            <a:ext cx="804672" cy="0"/>
          </a:xfrm>
          <a:prstGeom prst="line">
            <a:avLst/>
          </a:prstGeom>
          <a:ln w="38100" cap="rnd">
            <a:solidFill>
              <a:srgbClr val="FBAD17"/>
            </a:solidFill>
          </a:ln>
        </p:spPr>
        <p:style>
          <a:lnRef idx="1">
            <a:schemeClr val="accent1"/>
          </a:lnRef>
          <a:fillRef idx="0">
            <a:schemeClr val="accent1"/>
          </a:fillRef>
          <a:effectRef idx="0">
            <a:schemeClr val="accent1"/>
          </a:effectRef>
          <a:fontRef idx="minor">
            <a:schemeClr val="tx1"/>
          </a:fontRef>
        </p:style>
      </p:cxnSp>
      <p:sp>
        <p:nvSpPr>
          <p:cNvPr id="42" name="Freeform: Shape 41">
            <a:extLst>
              <a:ext uri="{FF2B5EF4-FFF2-40B4-BE49-F238E27FC236}">
                <a16:creationId xmlns:a16="http://schemas.microsoft.com/office/drawing/2014/main" id="{22FA07D4-EAD7-9D8E-F2E1-47F55D388DCD}"/>
              </a:ext>
            </a:extLst>
          </p:cNvPr>
          <p:cNvSpPr/>
          <p:nvPr/>
        </p:nvSpPr>
        <p:spPr>
          <a:xfrm>
            <a:off x="1498862" y="2457978"/>
            <a:ext cx="1628797" cy="1853672"/>
          </a:xfrm>
          <a:custGeom>
            <a:avLst/>
            <a:gdLst>
              <a:gd name="connsiteX0" fmla="*/ 0 w 1602557"/>
              <a:gd name="connsiteY0" fmla="*/ 0 h 1762813"/>
              <a:gd name="connsiteX1" fmla="*/ 0 w 1602557"/>
              <a:gd name="connsiteY1" fmla="*/ 1762813 h 1762813"/>
              <a:gd name="connsiteX2" fmla="*/ 1602557 w 1602557"/>
              <a:gd name="connsiteY2" fmla="*/ 1762813 h 1762813"/>
            </a:gdLst>
            <a:ahLst/>
            <a:cxnLst>
              <a:cxn ang="0">
                <a:pos x="connsiteX0" y="connsiteY0"/>
              </a:cxn>
              <a:cxn ang="0">
                <a:pos x="connsiteX1" y="connsiteY1"/>
              </a:cxn>
              <a:cxn ang="0">
                <a:pos x="connsiteX2" y="connsiteY2"/>
              </a:cxn>
            </a:cxnLst>
            <a:rect l="l" t="t" r="r" b="b"/>
            <a:pathLst>
              <a:path w="1602557" h="1762813">
                <a:moveTo>
                  <a:pt x="0" y="0"/>
                </a:moveTo>
                <a:lnTo>
                  <a:pt x="0" y="1762813"/>
                </a:lnTo>
                <a:lnTo>
                  <a:pt x="1602557" y="1762813"/>
                </a:lnTo>
              </a:path>
            </a:pathLst>
          </a:cu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GB" sz="1600">
              <a:solidFill>
                <a:schemeClr val="bg1"/>
              </a:solidFill>
              <a:latin typeface="Avenir Next LT Pro" panose="020B0504020202020204" pitchFamily="34" charset="0"/>
            </a:endParaRPr>
          </a:p>
        </p:txBody>
      </p:sp>
      <p:cxnSp>
        <p:nvCxnSpPr>
          <p:cNvPr id="46" name="Straight Connector 45">
            <a:extLst>
              <a:ext uri="{FF2B5EF4-FFF2-40B4-BE49-F238E27FC236}">
                <a16:creationId xmlns:a16="http://schemas.microsoft.com/office/drawing/2014/main" id="{909A4F5B-6467-7618-4458-0EDFB903CC2F}"/>
              </a:ext>
            </a:extLst>
          </p:cNvPr>
          <p:cNvCxnSpPr>
            <a:cxnSpLocks/>
          </p:cNvCxnSpPr>
          <p:nvPr/>
        </p:nvCxnSpPr>
        <p:spPr>
          <a:xfrm>
            <a:off x="4662674" y="2452846"/>
            <a:ext cx="0" cy="270781"/>
          </a:xfrm>
          <a:prstGeom prst="lin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a:extLst>
              <a:ext uri="{FF2B5EF4-FFF2-40B4-BE49-F238E27FC236}">
                <a16:creationId xmlns:a16="http://schemas.microsoft.com/office/drawing/2014/main" id="{C8CA7CC9-F0D5-9154-AF3E-D2B671478A17}"/>
              </a:ext>
            </a:extLst>
          </p:cNvPr>
          <p:cNvCxnSpPr>
            <a:cxnSpLocks/>
          </p:cNvCxnSpPr>
          <p:nvPr/>
        </p:nvCxnSpPr>
        <p:spPr>
          <a:xfrm>
            <a:off x="7491281" y="2452846"/>
            <a:ext cx="0" cy="270781"/>
          </a:xfrm>
          <a:prstGeom prst="lin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3" name="Freeform: Shape 42">
            <a:extLst>
              <a:ext uri="{FF2B5EF4-FFF2-40B4-BE49-F238E27FC236}">
                <a16:creationId xmlns:a16="http://schemas.microsoft.com/office/drawing/2014/main" id="{06B3712B-8E01-7D8D-B3C9-AD8D64D426FB}"/>
              </a:ext>
            </a:extLst>
          </p:cNvPr>
          <p:cNvSpPr/>
          <p:nvPr/>
        </p:nvSpPr>
        <p:spPr>
          <a:xfrm flipH="1">
            <a:off x="9100984" y="2457978"/>
            <a:ext cx="1591486" cy="1853672"/>
          </a:xfrm>
          <a:custGeom>
            <a:avLst/>
            <a:gdLst>
              <a:gd name="connsiteX0" fmla="*/ 0 w 1602557"/>
              <a:gd name="connsiteY0" fmla="*/ 0 h 1762813"/>
              <a:gd name="connsiteX1" fmla="*/ 0 w 1602557"/>
              <a:gd name="connsiteY1" fmla="*/ 1762813 h 1762813"/>
              <a:gd name="connsiteX2" fmla="*/ 1602557 w 1602557"/>
              <a:gd name="connsiteY2" fmla="*/ 1762813 h 1762813"/>
            </a:gdLst>
            <a:ahLst/>
            <a:cxnLst>
              <a:cxn ang="0">
                <a:pos x="connsiteX0" y="connsiteY0"/>
              </a:cxn>
              <a:cxn ang="0">
                <a:pos x="connsiteX1" y="connsiteY1"/>
              </a:cxn>
              <a:cxn ang="0">
                <a:pos x="connsiteX2" y="connsiteY2"/>
              </a:cxn>
            </a:cxnLst>
            <a:rect l="l" t="t" r="r" b="b"/>
            <a:pathLst>
              <a:path w="1602557" h="1762813">
                <a:moveTo>
                  <a:pt x="0" y="0"/>
                </a:moveTo>
                <a:lnTo>
                  <a:pt x="0" y="1762813"/>
                </a:lnTo>
                <a:lnTo>
                  <a:pt x="1602557" y="1762813"/>
                </a:lnTo>
              </a:path>
            </a:pathLst>
          </a:cu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pPr>
            <a:endParaRPr lang="en-GB" sz="1600">
              <a:solidFill>
                <a:schemeClr val="bg1"/>
              </a:solidFill>
              <a:latin typeface="Avenir Next LT Pro" panose="020B0504020202020204" pitchFamily="34" charset="0"/>
            </a:endParaRPr>
          </a:p>
        </p:txBody>
      </p:sp>
      <p:sp>
        <p:nvSpPr>
          <p:cNvPr id="19" name="Freeform: Shape 18">
            <a:extLst>
              <a:ext uri="{FF2B5EF4-FFF2-40B4-BE49-F238E27FC236}">
                <a16:creationId xmlns:a16="http://schemas.microsoft.com/office/drawing/2014/main" id="{08932FCA-4E53-6866-BC2F-E9478AC6FF3F}"/>
              </a:ext>
            </a:extLst>
          </p:cNvPr>
          <p:cNvSpPr/>
          <p:nvPr/>
        </p:nvSpPr>
        <p:spPr>
          <a:xfrm>
            <a:off x="2870933" y="3039168"/>
            <a:ext cx="6450134" cy="3225068"/>
          </a:xfrm>
          <a:custGeom>
            <a:avLst/>
            <a:gdLst>
              <a:gd name="connsiteX0" fmla="*/ 2530054 w 5060108"/>
              <a:gd name="connsiteY0" fmla="*/ 0 h 2530054"/>
              <a:gd name="connsiteX1" fmla="*/ 5060108 w 5060108"/>
              <a:gd name="connsiteY1" fmla="*/ 2530054 h 2530054"/>
              <a:gd name="connsiteX2" fmla="*/ 0 w 5060108"/>
              <a:gd name="connsiteY2" fmla="*/ 2530054 h 2530054"/>
              <a:gd name="connsiteX3" fmla="*/ 2530054 w 5060108"/>
              <a:gd name="connsiteY3" fmla="*/ 0 h 2530054"/>
            </a:gdLst>
            <a:ahLst/>
            <a:cxnLst>
              <a:cxn ang="0">
                <a:pos x="connsiteX0" y="connsiteY0"/>
              </a:cxn>
              <a:cxn ang="0">
                <a:pos x="connsiteX1" y="connsiteY1"/>
              </a:cxn>
              <a:cxn ang="0">
                <a:pos x="connsiteX2" y="connsiteY2"/>
              </a:cxn>
              <a:cxn ang="0">
                <a:pos x="connsiteX3" y="connsiteY3"/>
              </a:cxn>
            </a:cxnLst>
            <a:rect l="l" t="t" r="r" b="b"/>
            <a:pathLst>
              <a:path w="5060108" h="2530054">
                <a:moveTo>
                  <a:pt x="2530054" y="0"/>
                </a:moveTo>
                <a:cubicBezTo>
                  <a:pt x="3927364" y="0"/>
                  <a:pt x="5060108" y="1132744"/>
                  <a:pt x="5060108" y="2530054"/>
                </a:cubicBezTo>
                <a:lnTo>
                  <a:pt x="0" y="2530054"/>
                </a:lnTo>
                <a:cubicBezTo>
                  <a:pt x="0" y="1132744"/>
                  <a:pt x="1132744" y="0"/>
                  <a:pt x="2530054" y="0"/>
                </a:cubicBezTo>
                <a:close/>
              </a:path>
            </a:pathLst>
          </a:custGeom>
          <a:solidFill>
            <a:srgbClr val="FBAD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ln>
                <a:noFill/>
              </a:ln>
              <a:solidFill>
                <a:schemeClr val="bg1"/>
              </a:solidFill>
              <a:latin typeface="Avenir Next LT Pro" panose="020B0504020202020204" pitchFamily="34" charset="0"/>
            </a:endParaRPr>
          </a:p>
        </p:txBody>
      </p:sp>
      <p:sp>
        <p:nvSpPr>
          <p:cNvPr id="12" name="Rectangle 11">
            <a:extLst>
              <a:ext uri="{FF2B5EF4-FFF2-40B4-BE49-F238E27FC236}">
                <a16:creationId xmlns:a16="http://schemas.microsoft.com/office/drawing/2014/main" id="{85F1AC2B-A241-6EBD-EF6C-5627B4B902A0}"/>
              </a:ext>
            </a:extLst>
          </p:cNvPr>
          <p:cNvSpPr/>
          <p:nvPr/>
        </p:nvSpPr>
        <p:spPr>
          <a:xfrm>
            <a:off x="0" y="5065588"/>
            <a:ext cx="12192000" cy="1198648"/>
          </a:xfrm>
          <a:prstGeom prst="rect">
            <a:avLst/>
          </a:prstGeom>
          <a:solidFill>
            <a:srgbClr val="031F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ln>
                <a:noFill/>
              </a:ln>
              <a:solidFill>
                <a:schemeClr val="bg1"/>
              </a:solidFill>
              <a:latin typeface="Avenir Next LT Pro" panose="020B0504020202020204" pitchFamily="34" charset="0"/>
            </a:endParaRPr>
          </a:p>
        </p:txBody>
      </p:sp>
      <p:sp>
        <p:nvSpPr>
          <p:cNvPr id="30" name="TextBox 29">
            <a:extLst>
              <a:ext uri="{FF2B5EF4-FFF2-40B4-BE49-F238E27FC236}">
                <a16:creationId xmlns:a16="http://schemas.microsoft.com/office/drawing/2014/main" id="{F4D4D198-6984-A708-9021-A92E5D7B16CD}"/>
              </a:ext>
            </a:extLst>
          </p:cNvPr>
          <p:cNvSpPr txBox="1"/>
          <p:nvPr/>
        </p:nvSpPr>
        <p:spPr>
          <a:xfrm>
            <a:off x="4460290" y="3680096"/>
            <a:ext cx="3271420" cy="369332"/>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0" indent="0" algn="ctr" defTabSz="914400">
              <a:lnSpc>
                <a:spcPct val="100000"/>
              </a:lnSpc>
              <a:spcBef>
                <a:spcPts val="200"/>
              </a:spcBef>
              <a:spcAft>
                <a:spcPts val="200"/>
              </a:spcAft>
              <a:buNone/>
              <a:defRPr/>
            </a:pPr>
            <a:r>
              <a:rPr kumimoji="0" lang="en-GB" sz="1200" b="1" i="0" u="none" strike="noStrike" kern="1200" cap="none" spc="0" normalizeH="0" baseline="0" noProof="0" dirty="0">
                <a:ln>
                  <a:noFill/>
                </a:ln>
                <a:solidFill>
                  <a:srgbClr val="031F35"/>
                </a:solidFill>
                <a:effectLst/>
                <a:uLnTx/>
                <a:uFillTx/>
                <a:latin typeface="Avenir Next LT Pro" panose="020B0504020202020204" pitchFamily="34" charset="0"/>
                <a:ea typeface="+mn-ea"/>
                <a:cs typeface="+mn-cs"/>
              </a:rPr>
              <a:t>Accelerating the transition to a nature-first economy. </a:t>
            </a:r>
            <a:endParaRPr kumimoji="0" lang="en-US" sz="1200" b="1" i="0" u="none" strike="noStrike" kern="1200" cap="none" spc="0" normalizeH="0" baseline="0" noProof="0" dirty="0">
              <a:ln>
                <a:noFill/>
              </a:ln>
              <a:solidFill>
                <a:srgbClr val="031F35"/>
              </a:solidFill>
              <a:effectLst/>
              <a:uLnTx/>
              <a:uFillTx/>
              <a:latin typeface="Avenir Next LT Pro" panose="020B0504020202020204" pitchFamily="34" charset="0"/>
              <a:ea typeface="+mn-ea"/>
              <a:cs typeface="+mn-cs"/>
            </a:endParaRPr>
          </a:p>
        </p:txBody>
      </p:sp>
      <p:sp>
        <p:nvSpPr>
          <p:cNvPr id="66" name="TextBox 65">
            <a:extLst>
              <a:ext uri="{FF2B5EF4-FFF2-40B4-BE49-F238E27FC236}">
                <a16:creationId xmlns:a16="http://schemas.microsoft.com/office/drawing/2014/main" id="{5C812DB0-B937-BA42-26D7-CBD601BEBFB5}"/>
              </a:ext>
            </a:extLst>
          </p:cNvPr>
          <p:cNvSpPr txBox="1"/>
          <p:nvPr/>
        </p:nvSpPr>
        <p:spPr>
          <a:xfrm>
            <a:off x="179387" y="5100655"/>
            <a:ext cx="3834196" cy="1128514"/>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spcBef>
                <a:spcPts val="200"/>
              </a:spcBef>
              <a:spcAft>
                <a:spcPts val="200"/>
              </a:spcAft>
              <a:buNone/>
            </a:pPr>
            <a:r>
              <a:rPr lang="en-US" sz="1400" b="1" dirty="0">
                <a:solidFill>
                  <a:schemeClr val="bg1"/>
                </a:solidFill>
              </a:rPr>
              <a:t>From </a:t>
            </a:r>
          </a:p>
          <a:p>
            <a:pPr marL="0" indent="0">
              <a:lnSpc>
                <a:spcPct val="100000"/>
              </a:lnSpc>
              <a:spcBef>
                <a:spcPts val="200"/>
              </a:spcBef>
              <a:spcAft>
                <a:spcPts val="200"/>
              </a:spcAft>
              <a:buNone/>
            </a:pPr>
            <a:r>
              <a:rPr lang="en-US" sz="1400" dirty="0">
                <a:solidFill>
                  <a:schemeClr val="bg1"/>
                </a:solidFill>
              </a:rPr>
              <a:t>x The extractive economy powered by fossil resources</a:t>
            </a:r>
            <a:r>
              <a:rPr kumimoji="0" lang="en-GB" sz="14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t> is reaching ‘end of life’,</a:t>
            </a:r>
            <a:r>
              <a:rPr lang="en-US" sz="1400" dirty="0">
                <a:solidFill>
                  <a:schemeClr val="bg1"/>
                </a:solidFill>
              </a:rPr>
              <a:t> depleting nature, people and the environment it depends on</a:t>
            </a:r>
          </a:p>
        </p:txBody>
      </p:sp>
      <p:pic>
        <p:nvPicPr>
          <p:cNvPr id="4" name="Picture 3" descr="green trees under white clouds">
            <a:extLst>
              <a:ext uri="{FF2B5EF4-FFF2-40B4-BE49-F238E27FC236}">
                <a16:creationId xmlns:a16="http://schemas.microsoft.com/office/drawing/2014/main" id="{EF555856-E59B-8DF1-7222-95CCEE7FA2B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2905"/>
          <a:stretch/>
        </p:blipFill>
        <p:spPr bwMode="auto">
          <a:xfrm>
            <a:off x="4046503" y="4181732"/>
            <a:ext cx="4098994" cy="2082504"/>
          </a:xfrm>
          <a:custGeom>
            <a:avLst/>
            <a:gdLst>
              <a:gd name="connsiteX0" fmla="*/ 2163481 w 4326962"/>
              <a:gd name="connsiteY0" fmla="*/ 0 h 2198325"/>
              <a:gd name="connsiteX1" fmla="*/ 4283030 w 4326962"/>
              <a:gd name="connsiteY1" fmla="*/ 1559366 h 2198325"/>
              <a:gd name="connsiteX2" fmla="*/ 4326962 w 4326962"/>
              <a:gd name="connsiteY2" fmla="*/ 1730226 h 2198325"/>
              <a:gd name="connsiteX3" fmla="*/ 4326962 w 4326962"/>
              <a:gd name="connsiteY3" fmla="*/ 2198325 h 2198325"/>
              <a:gd name="connsiteX4" fmla="*/ 0 w 4326962"/>
              <a:gd name="connsiteY4" fmla="*/ 2198325 h 2198325"/>
              <a:gd name="connsiteX5" fmla="*/ 0 w 4326962"/>
              <a:gd name="connsiteY5" fmla="*/ 1730226 h 2198325"/>
              <a:gd name="connsiteX6" fmla="*/ 43932 w 4326962"/>
              <a:gd name="connsiteY6" fmla="*/ 1559366 h 2198325"/>
              <a:gd name="connsiteX7" fmla="*/ 2163481 w 4326962"/>
              <a:gd name="connsiteY7" fmla="*/ 0 h 219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6962" h="2198325">
                <a:moveTo>
                  <a:pt x="2163481" y="0"/>
                </a:moveTo>
                <a:cubicBezTo>
                  <a:pt x="3159361" y="0"/>
                  <a:pt x="4002037" y="655948"/>
                  <a:pt x="4283030" y="1559366"/>
                </a:cubicBezTo>
                <a:lnTo>
                  <a:pt x="4326962" y="1730226"/>
                </a:lnTo>
                <a:lnTo>
                  <a:pt x="4326962" y="2198325"/>
                </a:lnTo>
                <a:lnTo>
                  <a:pt x="0" y="2198325"/>
                </a:lnTo>
                <a:lnTo>
                  <a:pt x="0" y="1730226"/>
                </a:lnTo>
                <a:lnTo>
                  <a:pt x="43932" y="1559366"/>
                </a:lnTo>
                <a:cubicBezTo>
                  <a:pt x="324925" y="655948"/>
                  <a:pt x="1167601" y="0"/>
                  <a:pt x="2163481" y="0"/>
                </a:cubicBezTo>
                <a:close/>
              </a:path>
            </a:pathLst>
          </a:cu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726C4FD-FD65-776B-C08B-BC64813DFB56}"/>
              </a:ext>
            </a:extLst>
          </p:cNvPr>
          <p:cNvSpPr txBox="1"/>
          <p:nvPr/>
        </p:nvSpPr>
        <p:spPr>
          <a:xfrm>
            <a:off x="8369300" y="5208377"/>
            <a:ext cx="3641726" cy="913070"/>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spcBef>
                <a:spcPts val="200"/>
              </a:spcBef>
              <a:spcAft>
                <a:spcPts val="200"/>
              </a:spcAft>
              <a:buNone/>
            </a:pPr>
            <a:r>
              <a:rPr lang="en-US" sz="1400" b="1" dirty="0">
                <a:solidFill>
                  <a:schemeClr val="bg1"/>
                </a:solidFill>
              </a:rPr>
              <a:t>To</a:t>
            </a:r>
          </a:p>
          <a:p>
            <a:pPr marL="180000" marR="0" lvl="0" indent="-180000" algn="l" defTabSz="914400" rtl="0" eaLnBrk="1" fontAlgn="auto" latinLnBrk="0" hangingPunct="1">
              <a:lnSpc>
                <a:spcPct val="100000"/>
              </a:lnSpc>
              <a:spcBef>
                <a:spcPts val="200"/>
              </a:spcBef>
              <a:spcAft>
                <a:spcPts val="200"/>
              </a:spcAft>
              <a:buClrTx/>
              <a:buSzTx/>
              <a:buFont typeface="Wingdings" panose="05000000000000000000" pitchFamily="2" charset="2"/>
              <a:buChar char="ü"/>
              <a:tabLst/>
              <a:defRPr/>
            </a:pPr>
            <a:r>
              <a:rPr lang="en-GB" sz="1400" dirty="0">
                <a:solidFill>
                  <a:srgbClr val="FFFFFF"/>
                </a:solidFill>
              </a:rPr>
              <a:t>A</a:t>
            </a:r>
            <a:r>
              <a:rPr kumimoji="0" lang="en-GB" sz="14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t> nature-first, circular bioeconomy that is climate neutral, inclusive and powers prosperity.</a:t>
            </a:r>
            <a:endParaRPr kumimoji="0" lang="en-US" sz="14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9" name="Title 8">
            <a:extLst>
              <a:ext uri="{FF2B5EF4-FFF2-40B4-BE49-F238E27FC236}">
                <a16:creationId xmlns:a16="http://schemas.microsoft.com/office/drawing/2014/main" id="{6DD65F52-7627-DD16-601E-1E79C7BD8949}"/>
              </a:ext>
            </a:extLst>
          </p:cNvPr>
          <p:cNvSpPr>
            <a:spLocks noGrp="1"/>
          </p:cNvSpPr>
          <p:nvPr>
            <p:ph type="title"/>
          </p:nvPr>
        </p:nvSpPr>
        <p:spPr>
          <a:xfrm>
            <a:off x="179387" y="305991"/>
            <a:ext cx="11831639" cy="455509"/>
          </a:xfrm>
        </p:spPr>
        <p:txBody>
          <a:bodyPr vert="horz">
            <a:noAutofit/>
          </a:bodyPr>
          <a:lstStyle/>
          <a:p>
            <a:r>
              <a:rPr lang="en-GB" dirty="0">
                <a:latin typeface="AvenirNext LT Pro Bold" panose="020B0804020202020204" pitchFamily="34" charset="0"/>
              </a:rPr>
              <a:t>Theory of Change</a:t>
            </a:r>
          </a:p>
        </p:txBody>
      </p:sp>
      <p:sp>
        <p:nvSpPr>
          <p:cNvPr id="21" name="Rectangle 20">
            <a:extLst>
              <a:ext uri="{FF2B5EF4-FFF2-40B4-BE49-F238E27FC236}">
                <a16:creationId xmlns:a16="http://schemas.microsoft.com/office/drawing/2014/main" id="{90CFC401-5DD2-4861-0A2A-0BD1307E41B3}"/>
              </a:ext>
            </a:extLst>
          </p:cNvPr>
          <p:cNvSpPr/>
          <p:nvPr/>
        </p:nvSpPr>
        <p:spPr>
          <a:xfrm>
            <a:off x="179387" y="1116047"/>
            <a:ext cx="2815378" cy="1340060"/>
          </a:xfrm>
          <a:prstGeom prst="rect">
            <a:avLst/>
          </a:prstGeom>
          <a:solidFill>
            <a:schemeClr val="bg1"/>
          </a:solidFill>
          <a:ln>
            <a:noFill/>
          </a:ln>
          <a:effectLst>
            <a:outerShdw blurRad="63500" algn="tl" rotWithShape="0">
              <a:schemeClr val="bg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chemeClr val="bg1"/>
              </a:solidFill>
              <a:latin typeface="Avenir Next LT Pro" panose="020B0504020202020204" pitchFamily="34" charset="0"/>
            </a:endParaRPr>
          </a:p>
        </p:txBody>
      </p:sp>
      <p:sp>
        <p:nvSpPr>
          <p:cNvPr id="24" name="Rectangle 23">
            <a:extLst>
              <a:ext uri="{FF2B5EF4-FFF2-40B4-BE49-F238E27FC236}">
                <a16:creationId xmlns:a16="http://schemas.microsoft.com/office/drawing/2014/main" id="{21B0543B-08C0-421C-DFBE-75A8E0B9200C}"/>
              </a:ext>
            </a:extLst>
          </p:cNvPr>
          <p:cNvSpPr/>
          <p:nvPr/>
        </p:nvSpPr>
        <p:spPr>
          <a:xfrm>
            <a:off x="6190228" y="1116047"/>
            <a:ext cx="2815378" cy="1340060"/>
          </a:xfrm>
          <a:prstGeom prst="rect">
            <a:avLst/>
          </a:prstGeom>
          <a:solidFill>
            <a:schemeClr val="bg1"/>
          </a:solidFill>
          <a:ln>
            <a:noFill/>
          </a:ln>
          <a:effectLst>
            <a:outerShdw blurRad="63500" algn="tl" rotWithShape="0">
              <a:schemeClr val="bg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chemeClr val="bg1"/>
              </a:solidFill>
              <a:latin typeface="Avenir Next LT Pro" panose="020B0504020202020204" pitchFamily="34" charset="0"/>
            </a:endParaRPr>
          </a:p>
        </p:txBody>
      </p:sp>
      <p:sp>
        <p:nvSpPr>
          <p:cNvPr id="25" name="Rectangle 24">
            <a:extLst>
              <a:ext uri="{FF2B5EF4-FFF2-40B4-BE49-F238E27FC236}">
                <a16:creationId xmlns:a16="http://schemas.microsoft.com/office/drawing/2014/main" id="{8281712C-ECBC-59C7-E280-1AE973DF2684}"/>
              </a:ext>
            </a:extLst>
          </p:cNvPr>
          <p:cNvSpPr/>
          <p:nvPr/>
        </p:nvSpPr>
        <p:spPr>
          <a:xfrm>
            <a:off x="9195648" y="1116047"/>
            <a:ext cx="2815378" cy="1340060"/>
          </a:xfrm>
          <a:prstGeom prst="rect">
            <a:avLst/>
          </a:prstGeom>
          <a:solidFill>
            <a:schemeClr val="bg1"/>
          </a:solidFill>
          <a:ln>
            <a:noFill/>
          </a:ln>
          <a:effectLst>
            <a:outerShdw blurRad="63500" algn="tl" rotWithShape="0">
              <a:schemeClr val="bg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chemeClr val="bg1"/>
              </a:solidFill>
              <a:latin typeface="Avenir Next LT Pro" panose="020B0504020202020204" pitchFamily="34" charset="0"/>
            </a:endParaRPr>
          </a:p>
        </p:txBody>
      </p:sp>
      <p:sp>
        <p:nvSpPr>
          <p:cNvPr id="28" name="TextBox 27">
            <a:extLst>
              <a:ext uri="{FF2B5EF4-FFF2-40B4-BE49-F238E27FC236}">
                <a16:creationId xmlns:a16="http://schemas.microsoft.com/office/drawing/2014/main" id="{1B4A28FE-311F-AB4E-4D73-A12CC6ED01F5}"/>
              </a:ext>
            </a:extLst>
          </p:cNvPr>
          <p:cNvSpPr txBox="1">
            <a:spLocks/>
          </p:cNvSpPr>
          <p:nvPr/>
        </p:nvSpPr>
        <p:spPr>
          <a:xfrm>
            <a:off x="9266825" y="1169639"/>
            <a:ext cx="2673025" cy="841256"/>
          </a:xfrm>
          <a:prstGeom prst="rect">
            <a:avLst/>
          </a:prstGeom>
          <a:noFill/>
        </p:spPr>
        <p:txBody>
          <a:bodyPr wrap="square" lIns="0" tIns="0" rIns="0" bIns="0" rtlCol="0">
            <a:noAutofit/>
          </a:bodyPr>
          <a:lstStyle/>
          <a:p>
            <a:pPr>
              <a:spcBef>
                <a:spcPts val="200"/>
              </a:spcBef>
            </a:pPr>
            <a:r>
              <a:rPr lang="en-US" sz="1100" dirty="0">
                <a:latin typeface="Avenir Next LT Pro" panose="020B0504020202020204" pitchFamily="34" charset="0"/>
              </a:rPr>
              <a:t>Regenerative landscapes and circular bioeconomy value chains</a:t>
            </a:r>
          </a:p>
          <a:p>
            <a:pPr marL="182563" indent="-182563">
              <a:spcBef>
                <a:spcPts val="200"/>
              </a:spcBef>
              <a:buFont typeface="Wingdings" panose="05000000000000000000" pitchFamily="2" charset="2"/>
              <a:buChar char="§"/>
            </a:pPr>
            <a:r>
              <a:rPr lang="en-US" sz="1100" dirty="0">
                <a:latin typeface="Avenir Next LT Pro" panose="020B0504020202020204" pitchFamily="34" charset="0"/>
              </a:rPr>
              <a:t>Resilient and sustainable</a:t>
            </a:r>
          </a:p>
          <a:p>
            <a:pPr marL="182563" indent="-182563">
              <a:spcBef>
                <a:spcPts val="200"/>
              </a:spcBef>
              <a:buFont typeface="Wingdings" panose="05000000000000000000" pitchFamily="2" charset="2"/>
              <a:buChar char="§"/>
            </a:pPr>
            <a:r>
              <a:rPr lang="en-US" sz="1100" dirty="0">
                <a:latin typeface="Avenir Next LT Pro" panose="020B0504020202020204" pitchFamily="34" charset="0"/>
              </a:rPr>
              <a:t>Climate and nature positive</a:t>
            </a:r>
          </a:p>
          <a:p>
            <a:pPr marL="182563" indent="-182563">
              <a:spcBef>
                <a:spcPts val="200"/>
              </a:spcBef>
              <a:buFont typeface="Wingdings" panose="05000000000000000000" pitchFamily="2" charset="2"/>
              <a:buChar char="§"/>
            </a:pPr>
            <a:r>
              <a:rPr lang="en-US" sz="1100" dirty="0">
                <a:latin typeface="Avenir Next LT Pro" panose="020B0504020202020204" pitchFamily="34" charset="0"/>
              </a:rPr>
              <a:t>Socially inclusive</a:t>
            </a:r>
          </a:p>
        </p:txBody>
      </p:sp>
      <p:sp>
        <p:nvSpPr>
          <p:cNvPr id="34" name="TextBox 33">
            <a:extLst>
              <a:ext uri="{FF2B5EF4-FFF2-40B4-BE49-F238E27FC236}">
                <a16:creationId xmlns:a16="http://schemas.microsoft.com/office/drawing/2014/main" id="{73C8B0B3-7A7C-1354-E3AE-797833ECCF2D}"/>
              </a:ext>
            </a:extLst>
          </p:cNvPr>
          <p:cNvSpPr txBox="1">
            <a:spLocks/>
          </p:cNvSpPr>
          <p:nvPr/>
        </p:nvSpPr>
        <p:spPr>
          <a:xfrm>
            <a:off x="6261404" y="1169639"/>
            <a:ext cx="2673025" cy="1025922"/>
          </a:xfrm>
          <a:prstGeom prst="rect">
            <a:avLst/>
          </a:prstGeom>
          <a:noFill/>
        </p:spPr>
        <p:txBody>
          <a:bodyPr wrap="square" lIns="0" tIns="0" rIns="0" bIns="0" rtlCol="0">
            <a:noAutofit/>
          </a:bodyPr>
          <a:lstStyle/>
          <a:p>
            <a:pPr marL="182563" indent="-182563">
              <a:spcBef>
                <a:spcPts val="200"/>
              </a:spcBef>
              <a:buFont typeface="Wingdings" panose="05000000000000000000" pitchFamily="2" charset="2"/>
              <a:buChar char="§"/>
            </a:pPr>
            <a:r>
              <a:rPr lang="en-GB" sz="1100" dirty="0">
                <a:latin typeface="Avenir Next LT Pro" panose="020B0504020202020204" pitchFamily="34" charset="0"/>
              </a:rPr>
              <a:t>Scalable blueprints to catalyse the transition</a:t>
            </a:r>
          </a:p>
          <a:p>
            <a:pPr marL="182563" indent="-182563" algn="l">
              <a:spcBef>
                <a:spcPts val="200"/>
              </a:spcBef>
              <a:buFont typeface="Wingdings" panose="05000000000000000000" pitchFamily="2" charset="2"/>
              <a:buChar char="§"/>
            </a:pPr>
            <a:r>
              <a:rPr lang="en-US" sz="1100" dirty="0">
                <a:latin typeface="Avenir Next LT Pro" panose="020B0504020202020204" pitchFamily="34" charset="0"/>
              </a:rPr>
              <a:t>New trans-disciplinary knowledge and enhanced capacities to guide and accelerate the circular bioeconomy </a:t>
            </a:r>
          </a:p>
          <a:p>
            <a:pPr marL="182563" indent="-182563" algn="l">
              <a:spcBef>
                <a:spcPts val="200"/>
              </a:spcBef>
              <a:buFont typeface="Wingdings" panose="05000000000000000000" pitchFamily="2" charset="2"/>
              <a:buChar char="§"/>
            </a:pPr>
            <a:r>
              <a:rPr lang="en-US" sz="1100" dirty="0">
                <a:latin typeface="Avenir Next LT Pro" panose="020B0504020202020204" pitchFamily="34" charset="0"/>
              </a:rPr>
              <a:t>Collective commitments and global momentum to scale up action</a:t>
            </a:r>
            <a:endParaRPr lang="en-GB" sz="1100" dirty="0">
              <a:latin typeface="Avenir Next LT Pro" panose="020B0504020202020204" pitchFamily="34" charset="0"/>
            </a:endParaRPr>
          </a:p>
        </p:txBody>
      </p:sp>
      <p:sp>
        <p:nvSpPr>
          <p:cNvPr id="35" name="TextBox 34">
            <a:extLst>
              <a:ext uri="{FF2B5EF4-FFF2-40B4-BE49-F238E27FC236}">
                <a16:creationId xmlns:a16="http://schemas.microsoft.com/office/drawing/2014/main" id="{C43D9873-813E-454A-C8FF-F785A649848C}"/>
              </a:ext>
            </a:extLst>
          </p:cNvPr>
          <p:cNvSpPr txBox="1">
            <a:spLocks/>
          </p:cNvSpPr>
          <p:nvPr/>
        </p:nvSpPr>
        <p:spPr>
          <a:xfrm>
            <a:off x="3255984" y="1169639"/>
            <a:ext cx="2744201" cy="1405513"/>
          </a:xfrm>
          <a:prstGeom prst="rect">
            <a:avLst/>
          </a:prstGeom>
          <a:noFill/>
        </p:spPr>
        <p:txBody>
          <a:bodyPr wrap="square" lIns="0" tIns="0" rIns="0" bIns="0" rtlCol="0">
            <a:spAutoFit/>
          </a:bodyPr>
          <a:lstStyle/>
          <a:p>
            <a:pPr marL="182563" indent="-182563" algn="l">
              <a:spcBef>
                <a:spcPts val="200"/>
              </a:spcBef>
              <a:buFont typeface="Wingdings" panose="05000000000000000000" pitchFamily="2" charset="2"/>
              <a:buChar char="§"/>
            </a:pPr>
            <a:r>
              <a:rPr lang="en-US" sz="1100" u="sng" dirty="0">
                <a:latin typeface="Avenir Next LT Pro" panose="020B0504020202020204" pitchFamily="34" charset="0"/>
              </a:rPr>
              <a:t>Activating and demonstrating</a:t>
            </a:r>
            <a:r>
              <a:rPr lang="en-US" sz="1100" dirty="0">
                <a:latin typeface="Avenir Next LT Pro" panose="020B0504020202020204" pitchFamily="34" charset="0"/>
              </a:rPr>
              <a:t>: Through a global network of bespoke Living labs</a:t>
            </a:r>
          </a:p>
          <a:p>
            <a:pPr marL="182563" indent="-182563" algn="l">
              <a:spcBef>
                <a:spcPts val="200"/>
              </a:spcBef>
              <a:buFont typeface="Wingdings" panose="05000000000000000000" pitchFamily="2" charset="2"/>
              <a:buChar char="§"/>
            </a:pPr>
            <a:r>
              <a:rPr lang="en-US" sz="1100" u="sng" dirty="0">
                <a:latin typeface="Avenir Next LT Pro" panose="020B0504020202020204" pitchFamily="34" charset="0"/>
              </a:rPr>
              <a:t>Advancing and sharing knowledge</a:t>
            </a:r>
            <a:r>
              <a:rPr lang="en-US" sz="1100" dirty="0">
                <a:latin typeface="Avenir Next LT Pro" panose="020B0504020202020204" pitchFamily="34" charset="0"/>
              </a:rPr>
              <a:t>: Supporting research and capacity building through leading experts</a:t>
            </a:r>
          </a:p>
          <a:p>
            <a:pPr marL="182563" indent="-182563" algn="l">
              <a:spcBef>
                <a:spcPts val="200"/>
              </a:spcBef>
              <a:buFont typeface="Wingdings" panose="05000000000000000000" pitchFamily="2" charset="2"/>
              <a:buChar char="§"/>
            </a:pPr>
            <a:r>
              <a:rPr lang="en-US" sz="1100" u="sng" dirty="0">
                <a:latin typeface="Avenir Next LT Pro" panose="020B0504020202020204" pitchFamily="34" charset="0"/>
              </a:rPr>
              <a:t>Connecting and facilitating</a:t>
            </a:r>
            <a:r>
              <a:rPr lang="en-US" sz="1100" dirty="0">
                <a:latin typeface="Avenir Next LT Pro" panose="020B0504020202020204" pitchFamily="34" charset="0"/>
              </a:rPr>
              <a:t>: Advocating for and building </a:t>
            </a:r>
            <a:r>
              <a:rPr lang="en-US" sz="1100" i="1" dirty="0" err="1">
                <a:latin typeface="Avenir Next LT Pro" panose="020B0504020202020204" pitchFamily="34" charset="0"/>
              </a:rPr>
              <a:t>glocal</a:t>
            </a:r>
            <a:r>
              <a:rPr lang="en-US" sz="1100" dirty="0">
                <a:latin typeface="Avenir Next LT Pro" panose="020B0504020202020204" pitchFamily="34" charset="0"/>
              </a:rPr>
              <a:t> partnerships from landscape-to-value chain</a:t>
            </a:r>
          </a:p>
        </p:txBody>
      </p:sp>
      <p:sp>
        <p:nvSpPr>
          <p:cNvPr id="36" name="TextBox 35">
            <a:extLst>
              <a:ext uri="{FF2B5EF4-FFF2-40B4-BE49-F238E27FC236}">
                <a16:creationId xmlns:a16="http://schemas.microsoft.com/office/drawing/2014/main" id="{6E2D243A-7D46-7D26-F2D2-DD5BC79B605E}"/>
              </a:ext>
            </a:extLst>
          </p:cNvPr>
          <p:cNvSpPr txBox="1">
            <a:spLocks/>
          </p:cNvSpPr>
          <p:nvPr/>
        </p:nvSpPr>
        <p:spPr>
          <a:xfrm>
            <a:off x="250564" y="1169639"/>
            <a:ext cx="2673025" cy="1210588"/>
          </a:xfrm>
          <a:prstGeom prst="rect">
            <a:avLst/>
          </a:prstGeom>
          <a:noFill/>
        </p:spPr>
        <p:txBody>
          <a:bodyPr wrap="square" lIns="0" tIns="0" rIns="0" bIns="0" rtlCol="0">
            <a:noAutofit/>
          </a:bodyPr>
          <a:lstStyle/>
          <a:p>
            <a:pPr marL="182563" indent="-182563" algn="l">
              <a:spcBef>
                <a:spcPts val="200"/>
              </a:spcBef>
              <a:buFont typeface="Wingdings" panose="05000000000000000000" pitchFamily="2" charset="2"/>
              <a:buChar char="§"/>
            </a:pPr>
            <a:r>
              <a:rPr lang="en-GB" sz="1100" dirty="0">
                <a:latin typeface="Avenir Next LT Pro" panose="020B0504020202020204" pitchFamily="34" charset="0"/>
              </a:rPr>
              <a:t>Systemic and action-oriented approach</a:t>
            </a:r>
          </a:p>
          <a:p>
            <a:pPr marL="182563" indent="-182563" algn="l">
              <a:spcBef>
                <a:spcPts val="200"/>
              </a:spcBef>
              <a:buFont typeface="Wingdings" panose="05000000000000000000" pitchFamily="2" charset="2"/>
              <a:buChar char="§"/>
            </a:pPr>
            <a:r>
              <a:rPr lang="en-GB" sz="1100" dirty="0">
                <a:latin typeface="Avenir Next LT Pro" panose="020B0504020202020204" pitchFamily="34" charset="0"/>
              </a:rPr>
              <a:t>Science-based framework</a:t>
            </a:r>
          </a:p>
          <a:p>
            <a:pPr marL="182563" indent="-182563">
              <a:spcBef>
                <a:spcPts val="200"/>
              </a:spcBef>
              <a:buFont typeface="Wingdings" panose="05000000000000000000" pitchFamily="2" charset="2"/>
              <a:buChar char="§"/>
            </a:pPr>
            <a:r>
              <a:rPr lang="en-GB" sz="1100" i="1" dirty="0">
                <a:latin typeface="Avenir Next LT Pro" panose="020B0504020202020204" pitchFamily="34" charset="0"/>
              </a:rPr>
              <a:t>Global-to-local</a:t>
            </a:r>
            <a:r>
              <a:rPr lang="en-GB" sz="1100" dirty="0">
                <a:latin typeface="Avenir Next LT Pro" panose="020B0504020202020204" pitchFamily="34" charset="0"/>
              </a:rPr>
              <a:t> multi-stakeholders platform</a:t>
            </a:r>
          </a:p>
        </p:txBody>
      </p:sp>
      <p:sp>
        <p:nvSpPr>
          <p:cNvPr id="62" name="TextBox 61">
            <a:extLst>
              <a:ext uri="{FF2B5EF4-FFF2-40B4-BE49-F238E27FC236}">
                <a16:creationId xmlns:a16="http://schemas.microsoft.com/office/drawing/2014/main" id="{02F9AC8D-EE36-723B-7B02-2E45ADD5BC2A}"/>
              </a:ext>
            </a:extLst>
          </p:cNvPr>
          <p:cNvSpPr txBox="1">
            <a:spLocks/>
          </p:cNvSpPr>
          <p:nvPr/>
        </p:nvSpPr>
        <p:spPr>
          <a:xfrm>
            <a:off x="179387" y="879351"/>
            <a:ext cx="2673025" cy="184666"/>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spcBef>
                <a:spcPts val="200"/>
              </a:spcBef>
              <a:spcAft>
                <a:spcPts val="200"/>
              </a:spcAft>
              <a:buNone/>
            </a:pPr>
            <a:r>
              <a:rPr lang="en-US" b="1" dirty="0">
                <a:solidFill>
                  <a:srgbClr val="FBAD17"/>
                </a:solidFill>
              </a:rPr>
              <a:t>Inputs</a:t>
            </a:r>
          </a:p>
        </p:txBody>
      </p:sp>
      <p:sp>
        <p:nvSpPr>
          <p:cNvPr id="63" name="TextBox 62">
            <a:extLst>
              <a:ext uri="{FF2B5EF4-FFF2-40B4-BE49-F238E27FC236}">
                <a16:creationId xmlns:a16="http://schemas.microsoft.com/office/drawing/2014/main" id="{F670170B-692D-1596-0A33-9137B64D53C6}"/>
              </a:ext>
            </a:extLst>
          </p:cNvPr>
          <p:cNvSpPr txBox="1">
            <a:spLocks/>
          </p:cNvSpPr>
          <p:nvPr/>
        </p:nvSpPr>
        <p:spPr>
          <a:xfrm>
            <a:off x="3184807" y="879351"/>
            <a:ext cx="2673025" cy="184666"/>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spcBef>
                <a:spcPts val="200"/>
              </a:spcBef>
              <a:spcAft>
                <a:spcPts val="200"/>
              </a:spcAft>
              <a:buNone/>
            </a:pPr>
            <a:r>
              <a:rPr lang="en-US" b="1" dirty="0">
                <a:solidFill>
                  <a:srgbClr val="FBAD17"/>
                </a:solidFill>
              </a:rPr>
              <a:t>Activities</a:t>
            </a:r>
          </a:p>
        </p:txBody>
      </p:sp>
      <p:sp>
        <p:nvSpPr>
          <p:cNvPr id="64" name="TextBox 63">
            <a:extLst>
              <a:ext uri="{FF2B5EF4-FFF2-40B4-BE49-F238E27FC236}">
                <a16:creationId xmlns:a16="http://schemas.microsoft.com/office/drawing/2014/main" id="{A6161538-959D-2854-E456-B0A63C4B658E}"/>
              </a:ext>
            </a:extLst>
          </p:cNvPr>
          <p:cNvSpPr txBox="1">
            <a:spLocks/>
          </p:cNvSpPr>
          <p:nvPr/>
        </p:nvSpPr>
        <p:spPr>
          <a:xfrm>
            <a:off x="6190228" y="879351"/>
            <a:ext cx="2673025" cy="184666"/>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spcBef>
                <a:spcPts val="200"/>
              </a:spcBef>
              <a:spcAft>
                <a:spcPts val="200"/>
              </a:spcAft>
              <a:buNone/>
            </a:pPr>
            <a:r>
              <a:rPr lang="en-US" b="1" dirty="0">
                <a:solidFill>
                  <a:srgbClr val="FBAD17"/>
                </a:solidFill>
              </a:rPr>
              <a:t>Outputs</a:t>
            </a:r>
          </a:p>
        </p:txBody>
      </p:sp>
      <p:sp>
        <p:nvSpPr>
          <p:cNvPr id="65" name="TextBox 64">
            <a:extLst>
              <a:ext uri="{FF2B5EF4-FFF2-40B4-BE49-F238E27FC236}">
                <a16:creationId xmlns:a16="http://schemas.microsoft.com/office/drawing/2014/main" id="{AEC581F0-82AD-030D-EBB5-DF32A5C45EE9}"/>
              </a:ext>
            </a:extLst>
          </p:cNvPr>
          <p:cNvSpPr txBox="1">
            <a:spLocks/>
          </p:cNvSpPr>
          <p:nvPr/>
        </p:nvSpPr>
        <p:spPr>
          <a:xfrm>
            <a:off x="9195648" y="879351"/>
            <a:ext cx="2673025" cy="184666"/>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spcBef>
                <a:spcPts val="200"/>
              </a:spcBef>
              <a:spcAft>
                <a:spcPts val="200"/>
              </a:spcAft>
              <a:buNone/>
            </a:pPr>
            <a:r>
              <a:rPr lang="en-US" b="1" dirty="0">
                <a:solidFill>
                  <a:srgbClr val="FBAD17"/>
                </a:solidFill>
              </a:rPr>
              <a:t>Outcomes</a:t>
            </a:r>
          </a:p>
        </p:txBody>
      </p:sp>
      <p:grpSp>
        <p:nvGrpSpPr>
          <p:cNvPr id="149" name="Group 148">
            <a:extLst>
              <a:ext uri="{FF2B5EF4-FFF2-40B4-BE49-F238E27FC236}">
                <a16:creationId xmlns:a16="http://schemas.microsoft.com/office/drawing/2014/main" id="{D1E2C093-4707-C8C5-BECD-BC46F8DB23A1}"/>
              </a:ext>
            </a:extLst>
          </p:cNvPr>
          <p:cNvGrpSpPr/>
          <p:nvPr/>
        </p:nvGrpSpPr>
        <p:grpSpPr>
          <a:xfrm>
            <a:off x="3120834" y="3891542"/>
            <a:ext cx="811242" cy="811240"/>
            <a:chOff x="3120834" y="3891542"/>
            <a:chExt cx="811242" cy="811240"/>
          </a:xfrm>
        </p:grpSpPr>
        <p:grpSp>
          <p:nvGrpSpPr>
            <p:cNvPr id="138" name="Group 137">
              <a:extLst>
                <a:ext uri="{FF2B5EF4-FFF2-40B4-BE49-F238E27FC236}">
                  <a16:creationId xmlns:a16="http://schemas.microsoft.com/office/drawing/2014/main" id="{6087B198-D702-93D1-2FA8-1A5BBF19D3C1}"/>
                </a:ext>
              </a:extLst>
            </p:cNvPr>
            <p:cNvGrpSpPr/>
            <p:nvPr/>
          </p:nvGrpSpPr>
          <p:grpSpPr>
            <a:xfrm>
              <a:off x="3120834" y="3891542"/>
              <a:ext cx="811242" cy="811240"/>
              <a:chOff x="2833864" y="3891542"/>
              <a:chExt cx="811242" cy="811240"/>
            </a:xfrm>
          </p:grpSpPr>
          <p:sp>
            <p:nvSpPr>
              <p:cNvPr id="120" name="Oval 119">
                <a:extLst>
                  <a:ext uri="{FF2B5EF4-FFF2-40B4-BE49-F238E27FC236}">
                    <a16:creationId xmlns:a16="http://schemas.microsoft.com/office/drawing/2014/main" id="{57A58E37-9E02-B07C-2050-D5357D90961F}"/>
                  </a:ext>
                </a:extLst>
              </p:cNvPr>
              <p:cNvSpPr>
                <a:spLocks noChangeAspect="1"/>
              </p:cNvSpPr>
              <p:nvPr/>
            </p:nvSpPr>
            <p:spPr>
              <a:xfrm>
                <a:off x="2833864"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121" name="Arc 120">
                <a:extLst>
                  <a:ext uri="{FF2B5EF4-FFF2-40B4-BE49-F238E27FC236}">
                    <a16:creationId xmlns:a16="http://schemas.microsoft.com/office/drawing/2014/main" id="{6F5E0EA3-C8F3-FC0A-12AC-CB122E1E9701}"/>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grpSp>
        <p:grpSp>
          <p:nvGrpSpPr>
            <p:cNvPr id="87" name="Graphic 70" descr="Group of men outline">
              <a:extLst>
                <a:ext uri="{FF2B5EF4-FFF2-40B4-BE49-F238E27FC236}">
                  <a16:creationId xmlns:a16="http://schemas.microsoft.com/office/drawing/2014/main" id="{08CE2056-FCC4-2CA3-04DA-52814FEF46C7}"/>
                </a:ext>
              </a:extLst>
            </p:cNvPr>
            <p:cNvGrpSpPr/>
            <p:nvPr/>
          </p:nvGrpSpPr>
          <p:grpSpPr>
            <a:xfrm>
              <a:off x="3262508" y="4051966"/>
              <a:ext cx="527894" cy="490392"/>
              <a:chOff x="2538759" y="3325395"/>
              <a:chExt cx="419150" cy="389375"/>
            </a:xfrm>
            <a:solidFill>
              <a:srgbClr val="F7990F"/>
            </a:solidFill>
          </p:grpSpPr>
          <p:sp>
            <p:nvSpPr>
              <p:cNvPr id="88" name="Freeform: Shape 87">
                <a:extLst>
                  <a:ext uri="{FF2B5EF4-FFF2-40B4-BE49-F238E27FC236}">
                    <a16:creationId xmlns:a16="http://schemas.microsoft.com/office/drawing/2014/main" id="{C856A571-F7F7-AEA7-E474-670533FFB263}"/>
                  </a:ext>
                </a:extLst>
              </p:cNvPr>
              <p:cNvSpPr/>
              <p:nvPr/>
            </p:nvSpPr>
            <p:spPr>
              <a:xfrm>
                <a:off x="2577983" y="3456707"/>
                <a:ext cx="77879" cy="258063"/>
              </a:xfrm>
              <a:custGeom>
                <a:avLst/>
                <a:gdLst>
                  <a:gd name="connsiteX0" fmla="*/ 73013 w 77879"/>
                  <a:gd name="connsiteY0" fmla="*/ 0 h 258063"/>
                  <a:gd name="connsiteX1" fmla="*/ 68145 w 77879"/>
                  <a:gd name="connsiteY1" fmla="*/ 4867 h 258063"/>
                  <a:gd name="connsiteX2" fmla="*/ 68092 w 77879"/>
                  <a:gd name="connsiteY2" fmla="*/ 248329 h 258063"/>
                  <a:gd name="connsiteX3" fmla="*/ 43805 w 77879"/>
                  <a:gd name="connsiteY3" fmla="*/ 248329 h 258063"/>
                  <a:gd name="connsiteX4" fmla="*/ 43805 w 77879"/>
                  <a:gd name="connsiteY4" fmla="*/ 112048 h 258063"/>
                  <a:gd name="connsiteX5" fmla="*/ 34070 w 77879"/>
                  <a:gd name="connsiteY5" fmla="*/ 112048 h 258063"/>
                  <a:gd name="connsiteX6" fmla="*/ 34070 w 77879"/>
                  <a:gd name="connsiteY6" fmla="*/ 248329 h 258063"/>
                  <a:gd name="connsiteX7" fmla="*/ 9734 w 77879"/>
                  <a:gd name="connsiteY7" fmla="*/ 248329 h 258063"/>
                  <a:gd name="connsiteX8" fmla="*/ 9734 w 77879"/>
                  <a:gd name="connsiteY8" fmla="*/ 4867 h 258063"/>
                  <a:gd name="connsiteX9" fmla="*/ 4867 w 77879"/>
                  <a:gd name="connsiteY9" fmla="*/ 0 h 258063"/>
                  <a:gd name="connsiteX10" fmla="*/ 0 w 77879"/>
                  <a:gd name="connsiteY10" fmla="*/ 4867 h 258063"/>
                  <a:gd name="connsiteX11" fmla="*/ 0 w 77879"/>
                  <a:gd name="connsiteY11" fmla="*/ 258063 h 258063"/>
                  <a:gd name="connsiteX12" fmla="*/ 77826 w 77879"/>
                  <a:gd name="connsiteY12" fmla="*/ 258063 h 258063"/>
                  <a:gd name="connsiteX13" fmla="*/ 77880 w 77879"/>
                  <a:gd name="connsiteY13" fmla="*/ 4867 h 258063"/>
                  <a:gd name="connsiteX14" fmla="*/ 73013 w 77879"/>
                  <a:gd name="connsiteY14" fmla="*/ 0 h 25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879" h="258063">
                    <a:moveTo>
                      <a:pt x="73013" y="0"/>
                    </a:moveTo>
                    <a:cubicBezTo>
                      <a:pt x="70325" y="0"/>
                      <a:pt x="68145" y="2179"/>
                      <a:pt x="68145" y="4867"/>
                    </a:cubicBezTo>
                    <a:lnTo>
                      <a:pt x="68092" y="248329"/>
                    </a:lnTo>
                    <a:lnTo>
                      <a:pt x="43805" y="248329"/>
                    </a:lnTo>
                    <a:lnTo>
                      <a:pt x="43805" y="112048"/>
                    </a:lnTo>
                    <a:lnTo>
                      <a:pt x="34070" y="112048"/>
                    </a:lnTo>
                    <a:lnTo>
                      <a:pt x="34070" y="248329"/>
                    </a:lnTo>
                    <a:lnTo>
                      <a:pt x="9734" y="248329"/>
                    </a:lnTo>
                    <a:lnTo>
                      <a:pt x="9734" y="4867"/>
                    </a:lnTo>
                    <a:cubicBezTo>
                      <a:pt x="9734" y="2179"/>
                      <a:pt x="7555" y="0"/>
                      <a:pt x="4867" y="0"/>
                    </a:cubicBezTo>
                    <a:cubicBezTo>
                      <a:pt x="2179" y="0"/>
                      <a:pt x="0" y="2179"/>
                      <a:pt x="0" y="4867"/>
                    </a:cubicBezTo>
                    <a:lnTo>
                      <a:pt x="0" y="258063"/>
                    </a:lnTo>
                    <a:lnTo>
                      <a:pt x="77826" y="258063"/>
                    </a:lnTo>
                    <a:lnTo>
                      <a:pt x="77880" y="4867"/>
                    </a:lnTo>
                    <a:cubicBezTo>
                      <a:pt x="77880" y="2179"/>
                      <a:pt x="75701" y="0"/>
                      <a:pt x="73013" y="0"/>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89" name="Freeform: Shape 88">
                <a:extLst>
                  <a:ext uri="{FF2B5EF4-FFF2-40B4-BE49-F238E27FC236}">
                    <a16:creationId xmlns:a16="http://schemas.microsoft.com/office/drawing/2014/main" id="{CA8FC00F-B548-51E3-6934-CD64371B8458}"/>
                  </a:ext>
                </a:extLst>
              </p:cNvPr>
              <p:cNvSpPr/>
              <p:nvPr/>
            </p:nvSpPr>
            <p:spPr>
              <a:xfrm>
                <a:off x="2582850" y="3325395"/>
                <a:ext cx="68140" cy="68140"/>
              </a:xfrm>
              <a:custGeom>
                <a:avLst/>
                <a:gdLst>
                  <a:gd name="connsiteX0" fmla="*/ 34070 w 68140"/>
                  <a:gd name="connsiteY0" fmla="*/ 68141 h 68140"/>
                  <a:gd name="connsiteX1" fmla="*/ 68141 w 68140"/>
                  <a:gd name="connsiteY1" fmla="*/ 34070 h 68140"/>
                  <a:gd name="connsiteX2" fmla="*/ 34070 w 68140"/>
                  <a:gd name="connsiteY2" fmla="*/ 0 h 68140"/>
                  <a:gd name="connsiteX3" fmla="*/ 0 w 68140"/>
                  <a:gd name="connsiteY3" fmla="*/ 34070 h 68140"/>
                  <a:gd name="connsiteX4" fmla="*/ 34070 w 68140"/>
                  <a:gd name="connsiteY4" fmla="*/ 68141 h 68140"/>
                  <a:gd name="connsiteX5" fmla="*/ 34070 w 68140"/>
                  <a:gd name="connsiteY5" fmla="*/ 9734 h 68140"/>
                  <a:gd name="connsiteX6" fmla="*/ 58406 w 68140"/>
                  <a:gd name="connsiteY6" fmla="*/ 34070 h 68140"/>
                  <a:gd name="connsiteX7" fmla="*/ 34070 w 68140"/>
                  <a:gd name="connsiteY7" fmla="*/ 58406 h 68140"/>
                  <a:gd name="connsiteX8" fmla="*/ 9734 w 68140"/>
                  <a:gd name="connsiteY8" fmla="*/ 34070 h 68140"/>
                  <a:gd name="connsiteX9" fmla="*/ 34070 w 68140"/>
                  <a:gd name="connsiteY9" fmla="*/ 9734 h 6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140" h="68140">
                    <a:moveTo>
                      <a:pt x="34070" y="68141"/>
                    </a:moveTo>
                    <a:cubicBezTo>
                      <a:pt x="52887" y="68141"/>
                      <a:pt x="68141" y="52887"/>
                      <a:pt x="68141" y="34070"/>
                    </a:cubicBezTo>
                    <a:cubicBezTo>
                      <a:pt x="68141" y="15254"/>
                      <a:pt x="52887" y="0"/>
                      <a:pt x="34070" y="0"/>
                    </a:cubicBezTo>
                    <a:cubicBezTo>
                      <a:pt x="15254" y="0"/>
                      <a:pt x="0" y="15254"/>
                      <a:pt x="0" y="34070"/>
                    </a:cubicBezTo>
                    <a:cubicBezTo>
                      <a:pt x="21" y="52878"/>
                      <a:pt x="15263" y="68119"/>
                      <a:pt x="34070" y="68141"/>
                    </a:cubicBezTo>
                    <a:close/>
                    <a:moveTo>
                      <a:pt x="34070" y="9734"/>
                    </a:moveTo>
                    <a:cubicBezTo>
                      <a:pt x="47511" y="9734"/>
                      <a:pt x="58406" y="20630"/>
                      <a:pt x="58406" y="34070"/>
                    </a:cubicBezTo>
                    <a:cubicBezTo>
                      <a:pt x="58406" y="47511"/>
                      <a:pt x="47511" y="58406"/>
                      <a:pt x="34070" y="58406"/>
                    </a:cubicBezTo>
                    <a:cubicBezTo>
                      <a:pt x="20630" y="58406"/>
                      <a:pt x="9734" y="47511"/>
                      <a:pt x="9734" y="34070"/>
                    </a:cubicBezTo>
                    <a:cubicBezTo>
                      <a:pt x="9750" y="20636"/>
                      <a:pt x="20636" y="9750"/>
                      <a:pt x="34070" y="9734"/>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90" name="Freeform: Shape 89">
                <a:extLst>
                  <a:ext uri="{FF2B5EF4-FFF2-40B4-BE49-F238E27FC236}">
                    <a16:creationId xmlns:a16="http://schemas.microsoft.com/office/drawing/2014/main" id="{0B2C6F57-F988-C5B5-7120-47E35FC62357}"/>
                  </a:ext>
                </a:extLst>
              </p:cNvPr>
              <p:cNvSpPr/>
              <p:nvPr/>
            </p:nvSpPr>
            <p:spPr>
              <a:xfrm>
                <a:off x="2840811" y="3456707"/>
                <a:ext cx="77879" cy="258063"/>
              </a:xfrm>
              <a:custGeom>
                <a:avLst/>
                <a:gdLst>
                  <a:gd name="connsiteX0" fmla="*/ 73013 w 77879"/>
                  <a:gd name="connsiteY0" fmla="*/ 0 h 258063"/>
                  <a:gd name="connsiteX1" fmla="*/ 68145 w 77879"/>
                  <a:gd name="connsiteY1" fmla="*/ 4867 h 258063"/>
                  <a:gd name="connsiteX2" fmla="*/ 68092 w 77879"/>
                  <a:gd name="connsiteY2" fmla="*/ 248329 h 258063"/>
                  <a:gd name="connsiteX3" fmla="*/ 43805 w 77879"/>
                  <a:gd name="connsiteY3" fmla="*/ 248329 h 258063"/>
                  <a:gd name="connsiteX4" fmla="*/ 43805 w 77879"/>
                  <a:gd name="connsiteY4" fmla="*/ 112048 h 258063"/>
                  <a:gd name="connsiteX5" fmla="*/ 34070 w 77879"/>
                  <a:gd name="connsiteY5" fmla="*/ 112048 h 258063"/>
                  <a:gd name="connsiteX6" fmla="*/ 34070 w 77879"/>
                  <a:gd name="connsiteY6" fmla="*/ 248329 h 258063"/>
                  <a:gd name="connsiteX7" fmla="*/ 9734 w 77879"/>
                  <a:gd name="connsiteY7" fmla="*/ 248329 h 258063"/>
                  <a:gd name="connsiteX8" fmla="*/ 9734 w 77879"/>
                  <a:gd name="connsiteY8" fmla="*/ 4867 h 258063"/>
                  <a:gd name="connsiteX9" fmla="*/ 4867 w 77879"/>
                  <a:gd name="connsiteY9" fmla="*/ 0 h 258063"/>
                  <a:gd name="connsiteX10" fmla="*/ 0 w 77879"/>
                  <a:gd name="connsiteY10" fmla="*/ 4867 h 258063"/>
                  <a:gd name="connsiteX11" fmla="*/ 0 w 77879"/>
                  <a:gd name="connsiteY11" fmla="*/ 258063 h 258063"/>
                  <a:gd name="connsiteX12" fmla="*/ 77826 w 77879"/>
                  <a:gd name="connsiteY12" fmla="*/ 258063 h 258063"/>
                  <a:gd name="connsiteX13" fmla="*/ 77880 w 77879"/>
                  <a:gd name="connsiteY13" fmla="*/ 4867 h 258063"/>
                  <a:gd name="connsiteX14" fmla="*/ 73013 w 77879"/>
                  <a:gd name="connsiteY14" fmla="*/ 0 h 25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879" h="258063">
                    <a:moveTo>
                      <a:pt x="73013" y="0"/>
                    </a:moveTo>
                    <a:cubicBezTo>
                      <a:pt x="70325" y="0"/>
                      <a:pt x="68145" y="2179"/>
                      <a:pt x="68145" y="4867"/>
                    </a:cubicBezTo>
                    <a:lnTo>
                      <a:pt x="68092" y="248329"/>
                    </a:lnTo>
                    <a:lnTo>
                      <a:pt x="43805" y="248329"/>
                    </a:lnTo>
                    <a:lnTo>
                      <a:pt x="43805" y="112048"/>
                    </a:lnTo>
                    <a:lnTo>
                      <a:pt x="34070" y="112048"/>
                    </a:lnTo>
                    <a:lnTo>
                      <a:pt x="34070" y="248329"/>
                    </a:lnTo>
                    <a:lnTo>
                      <a:pt x="9734" y="248329"/>
                    </a:lnTo>
                    <a:lnTo>
                      <a:pt x="9734" y="4867"/>
                    </a:lnTo>
                    <a:cubicBezTo>
                      <a:pt x="9734" y="2179"/>
                      <a:pt x="7555" y="0"/>
                      <a:pt x="4867" y="0"/>
                    </a:cubicBezTo>
                    <a:cubicBezTo>
                      <a:pt x="2179" y="0"/>
                      <a:pt x="0" y="2179"/>
                      <a:pt x="0" y="4867"/>
                    </a:cubicBezTo>
                    <a:lnTo>
                      <a:pt x="0" y="258063"/>
                    </a:lnTo>
                    <a:lnTo>
                      <a:pt x="77826" y="258063"/>
                    </a:lnTo>
                    <a:lnTo>
                      <a:pt x="77880" y="4867"/>
                    </a:lnTo>
                    <a:cubicBezTo>
                      <a:pt x="77880" y="2179"/>
                      <a:pt x="75701" y="0"/>
                      <a:pt x="73013" y="0"/>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91" name="Freeform: Shape 90">
                <a:extLst>
                  <a:ext uri="{FF2B5EF4-FFF2-40B4-BE49-F238E27FC236}">
                    <a16:creationId xmlns:a16="http://schemas.microsoft.com/office/drawing/2014/main" id="{DDD5D57B-F9CD-01D4-67FE-6F32A7C1B69D}"/>
                  </a:ext>
                </a:extLst>
              </p:cNvPr>
              <p:cNvSpPr/>
              <p:nvPr/>
            </p:nvSpPr>
            <p:spPr>
              <a:xfrm>
                <a:off x="2845678" y="3325395"/>
                <a:ext cx="68140" cy="68140"/>
              </a:xfrm>
              <a:custGeom>
                <a:avLst/>
                <a:gdLst>
                  <a:gd name="connsiteX0" fmla="*/ 34070 w 68140"/>
                  <a:gd name="connsiteY0" fmla="*/ 68141 h 68140"/>
                  <a:gd name="connsiteX1" fmla="*/ 68141 w 68140"/>
                  <a:gd name="connsiteY1" fmla="*/ 34070 h 68140"/>
                  <a:gd name="connsiteX2" fmla="*/ 34070 w 68140"/>
                  <a:gd name="connsiteY2" fmla="*/ 0 h 68140"/>
                  <a:gd name="connsiteX3" fmla="*/ 0 w 68140"/>
                  <a:gd name="connsiteY3" fmla="*/ 34070 h 68140"/>
                  <a:gd name="connsiteX4" fmla="*/ 34070 w 68140"/>
                  <a:gd name="connsiteY4" fmla="*/ 68141 h 68140"/>
                  <a:gd name="connsiteX5" fmla="*/ 34070 w 68140"/>
                  <a:gd name="connsiteY5" fmla="*/ 9734 h 68140"/>
                  <a:gd name="connsiteX6" fmla="*/ 58406 w 68140"/>
                  <a:gd name="connsiteY6" fmla="*/ 34070 h 68140"/>
                  <a:gd name="connsiteX7" fmla="*/ 34070 w 68140"/>
                  <a:gd name="connsiteY7" fmla="*/ 58406 h 68140"/>
                  <a:gd name="connsiteX8" fmla="*/ 9734 w 68140"/>
                  <a:gd name="connsiteY8" fmla="*/ 34070 h 68140"/>
                  <a:gd name="connsiteX9" fmla="*/ 34070 w 68140"/>
                  <a:gd name="connsiteY9" fmla="*/ 9734 h 6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140" h="68140">
                    <a:moveTo>
                      <a:pt x="34070" y="68141"/>
                    </a:moveTo>
                    <a:cubicBezTo>
                      <a:pt x="52887" y="68141"/>
                      <a:pt x="68141" y="52887"/>
                      <a:pt x="68141" y="34070"/>
                    </a:cubicBezTo>
                    <a:cubicBezTo>
                      <a:pt x="68141" y="15254"/>
                      <a:pt x="52887" y="0"/>
                      <a:pt x="34070" y="0"/>
                    </a:cubicBezTo>
                    <a:cubicBezTo>
                      <a:pt x="15254" y="0"/>
                      <a:pt x="0" y="15254"/>
                      <a:pt x="0" y="34070"/>
                    </a:cubicBezTo>
                    <a:cubicBezTo>
                      <a:pt x="21" y="52878"/>
                      <a:pt x="15263" y="68119"/>
                      <a:pt x="34070" y="68141"/>
                    </a:cubicBezTo>
                    <a:close/>
                    <a:moveTo>
                      <a:pt x="34070" y="9734"/>
                    </a:moveTo>
                    <a:cubicBezTo>
                      <a:pt x="47511" y="9734"/>
                      <a:pt x="58406" y="20630"/>
                      <a:pt x="58406" y="34070"/>
                    </a:cubicBezTo>
                    <a:cubicBezTo>
                      <a:pt x="58406" y="47511"/>
                      <a:pt x="47511" y="58406"/>
                      <a:pt x="34070" y="58406"/>
                    </a:cubicBezTo>
                    <a:cubicBezTo>
                      <a:pt x="20630" y="58406"/>
                      <a:pt x="9734" y="47511"/>
                      <a:pt x="9734" y="34070"/>
                    </a:cubicBezTo>
                    <a:cubicBezTo>
                      <a:pt x="9750" y="20636"/>
                      <a:pt x="20636" y="9750"/>
                      <a:pt x="34070" y="9734"/>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92" name="Freeform: Shape 91">
                <a:extLst>
                  <a:ext uri="{FF2B5EF4-FFF2-40B4-BE49-F238E27FC236}">
                    <a16:creationId xmlns:a16="http://schemas.microsoft.com/office/drawing/2014/main" id="{D987DB66-3416-986B-0EE2-92D2990443A9}"/>
                  </a:ext>
                </a:extLst>
              </p:cNvPr>
              <p:cNvSpPr/>
              <p:nvPr/>
            </p:nvSpPr>
            <p:spPr>
              <a:xfrm>
                <a:off x="2820330" y="3403281"/>
                <a:ext cx="137579" cy="160636"/>
              </a:xfrm>
              <a:custGeom>
                <a:avLst/>
                <a:gdLst>
                  <a:gd name="connsiteX0" fmla="*/ 137143 w 137579"/>
                  <a:gd name="connsiteY0" fmla="*/ 137531 h 160636"/>
                  <a:gd name="connsiteX1" fmla="*/ 127895 w 137579"/>
                  <a:gd name="connsiteY1" fmla="*/ 40922 h 160636"/>
                  <a:gd name="connsiteX2" fmla="*/ 125140 w 137579"/>
                  <a:gd name="connsiteY2" fmla="*/ 32073 h 160636"/>
                  <a:gd name="connsiteX3" fmla="*/ 121495 w 137579"/>
                  <a:gd name="connsiteY3" fmla="*/ 26753 h 160636"/>
                  <a:gd name="connsiteX4" fmla="*/ 86719 w 137579"/>
                  <a:gd name="connsiteY4" fmla="*/ 4544 h 160636"/>
                  <a:gd name="connsiteX5" fmla="*/ 32206 w 137579"/>
                  <a:gd name="connsiteY5" fmla="*/ 4544 h 160636"/>
                  <a:gd name="connsiteX6" fmla="*/ 0 w 137579"/>
                  <a:gd name="connsiteY6" fmla="*/ 24149 h 160636"/>
                  <a:gd name="connsiteX7" fmla="*/ 4502 w 137579"/>
                  <a:gd name="connsiteY7" fmla="*/ 33397 h 160636"/>
                  <a:gd name="connsiteX8" fmla="*/ 35341 w 137579"/>
                  <a:gd name="connsiteY8" fmla="*/ 13777 h 160636"/>
                  <a:gd name="connsiteX9" fmla="*/ 83579 w 137579"/>
                  <a:gd name="connsiteY9" fmla="*/ 13777 h 160636"/>
                  <a:gd name="connsiteX10" fmla="*/ 114243 w 137579"/>
                  <a:gd name="connsiteY10" fmla="*/ 33246 h 160636"/>
                  <a:gd name="connsiteX11" fmla="*/ 116574 w 137579"/>
                  <a:gd name="connsiteY11" fmla="*/ 36707 h 160636"/>
                  <a:gd name="connsiteX12" fmla="*/ 118258 w 137579"/>
                  <a:gd name="connsiteY12" fmla="*/ 42119 h 160636"/>
                  <a:gd name="connsiteX13" fmla="*/ 127506 w 137579"/>
                  <a:gd name="connsiteY13" fmla="*/ 138694 h 160636"/>
                  <a:gd name="connsiteX14" fmla="*/ 125817 w 137579"/>
                  <a:gd name="connsiteY14" fmla="*/ 148501 h 160636"/>
                  <a:gd name="connsiteX15" fmla="*/ 118901 w 137579"/>
                  <a:gd name="connsiteY15" fmla="*/ 150872 h 160636"/>
                  <a:gd name="connsiteX16" fmla="*/ 114033 w 137579"/>
                  <a:gd name="connsiteY16" fmla="*/ 155739 h 160636"/>
                  <a:gd name="connsiteX17" fmla="*/ 118901 w 137579"/>
                  <a:gd name="connsiteY17" fmla="*/ 160606 h 160636"/>
                  <a:gd name="connsiteX18" fmla="*/ 133127 w 137579"/>
                  <a:gd name="connsiteY18" fmla="*/ 154858 h 160636"/>
                  <a:gd name="connsiteX19" fmla="*/ 137143 w 137579"/>
                  <a:gd name="connsiteY19" fmla="*/ 137531 h 16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579" h="160636">
                    <a:moveTo>
                      <a:pt x="137143" y="137531"/>
                    </a:moveTo>
                    <a:lnTo>
                      <a:pt x="127895" y="40922"/>
                    </a:lnTo>
                    <a:cubicBezTo>
                      <a:pt x="127505" y="37833"/>
                      <a:pt x="126573" y="34837"/>
                      <a:pt x="125140" y="32073"/>
                    </a:cubicBezTo>
                    <a:cubicBezTo>
                      <a:pt x="124117" y="30175"/>
                      <a:pt x="122895" y="28393"/>
                      <a:pt x="121495" y="26753"/>
                    </a:cubicBezTo>
                    <a:cubicBezTo>
                      <a:pt x="111915" y="16591"/>
                      <a:pt x="99967" y="8961"/>
                      <a:pt x="86719" y="4544"/>
                    </a:cubicBezTo>
                    <a:cubicBezTo>
                      <a:pt x="69053" y="-1515"/>
                      <a:pt x="49872" y="-1515"/>
                      <a:pt x="32206" y="4544"/>
                    </a:cubicBezTo>
                    <a:cubicBezTo>
                      <a:pt x="20134" y="8576"/>
                      <a:pt x="9126" y="15277"/>
                      <a:pt x="0" y="24149"/>
                    </a:cubicBezTo>
                    <a:cubicBezTo>
                      <a:pt x="1901" y="27021"/>
                      <a:pt x="3414" y="30130"/>
                      <a:pt x="4502" y="33397"/>
                    </a:cubicBezTo>
                    <a:cubicBezTo>
                      <a:pt x="13004" y="24411"/>
                      <a:pt x="23599" y="17670"/>
                      <a:pt x="35341" y="13777"/>
                    </a:cubicBezTo>
                    <a:cubicBezTo>
                      <a:pt x="50972" y="8407"/>
                      <a:pt x="67948" y="8407"/>
                      <a:pt x="83579" y="13777"/>
                    </a:cubicBezTo>
                    <a:cubicBezTo>
                      <a:pt x="95247" y="17644"/>
                      <a:pt x="105780" y="24331"/>
                      <a:pt x="114243" y="33246"/>
                    </a:cubicBezTo>
                    <a:cubicBezTo>
                      <a:pt x="115136" y="34316"/>
                      <a:pt x="115917" y="35476"/>
                      <a:pt x="116574" y="36707"/>
                    </a:cubicBezTo>
                    <a:cubicBezTo>
                      <a:pt x="117439" y="38402"/>
                      <a:pt x="118008" y="40233"/>
                      <a:pt x="118258" y="42119"/>
                    </a:cubicBezTo>
                    <a:lnTo>
                      <a:pt x="127506" y="138694"/>
                    </a:lnTo>
                    <a:cubicBezTo>
                      <a:pt x="128337" y="142056"/>
                      <a:pt x="127724" y="145611"/>
                      <a:pt x="125817" y="148501"/>
                    </a:cubicBezTo>
                    <a:cubicBezTo>
                      <a:pt x="123967" y="150262"/>
                      <a:pt x="121441" y="151127"/>
                      <a:pt x="118901" y="150872"/>
                    </a:cubicBezTo>
                    <a:cubicBezTo>
                      <a:pt x="116212" y="150872"/>
                      <a:pt x="114033" y="153051"/>
                      <a:pt x="114033" y="155739"/>
                    </a:cubicBezTo>
                    <a:cubicBezTo>
                      <a:pt x="114033" y="158427"/>
                      <a:pt x="116212" y="160606"/>
                      <a:pt x="118901" y="160606"/>
                    </a:cubicBezTo>
                    <a:cubicBezTo>
                      <a:pt x="124265" y="160919"/>
                      <a:pt x="129486" y="158809"/>
                      <a:pt x="133127" y="154858"/>
                    </a:cubicBezTo>
                    <a:cubicBezTo>
                      <a:pt x="136928" y="149943"/>
                      <a:pt x="138394" y="143616"/>
                      <a:pt x="137143" y="137531"/>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93" name="Freeform: Shape 92">
                <a:extLst>
                  <a:ext uri="{FF2B5EF4-FFF2-40B4-BE49-F238E27FC236}">
                    <a16:creationId xmlns:a16="http://schemas.microsoft.com/office/drawing/2014/main" id="{73E4FBA9-2AFE-98DD-F2F9-931299377E23}"/>
                  </a:ext>
                </a:extLst>
              </p:cNvPr>
              <p:cNvSpPr/>
              <p:nvPr/>
            </p:nvSpPr>
            <p:spPr>
              <a:xfrm>
                <a:off x="2538759" y="3403294"/>
                <a:ext cx="137769" cy="160622"/>
              </a:xfrm>
              <a:custGeom>
                <a:avLst/>
                <a:gdLst>
                  <a:gd name="connsiteX0" fmla="*/ 18675 w 137769"/>
                  <a:gd name="connsiteY0" fmla="*/ 150859 h 160622"/>
                  <a:gd name="connsiteX1" fmla="*/ 11787 w 137769"/>
                  <a:gd name="connsiteY1" fmla="*/ 148454 h 160622"/>
                  <a:gd name="connsiteX2" fmla="*/ 10123 w 137769"/>
                  <a:gd name="connsiteY2" fmla="*/ 138443 h 160622"/>
                  <a:gd name="connsiteX3" fmla="*/ 19322 w 137769"/>
                  <a:gd name="connsiteY3" fmla="*/ 42320 h 160622"/>
                  <a:gd name="connsiteX4" fmla="*/ 21030 w 137769"/>
                  <a:gd name="connsiteY4" fmla="*/ 36665 h 160622"/>
                  <a:gd name="connsiteX5" fmla="*/ 23172 w 137769"/>
                  <a:gd name="connsiteY5" fmla="*/ 33423 h 160622"/>
                  <a:gd name="connsiteX6" fmla="*/ 54078 w 137769"/>
                  <a:gd name="connsiteY6" fmla="*/ 13735 h 160622"/>
                  <a:gd name="connsiteX7" fmla="*/ 78205 w 137769"/>
                  <a:gd name="connsiteY7" fmla="*/ 9710 h 160622"/>
                  <a:gd name="connsiteX8" fmla="*/ 102317 w 137769"/>
                  <a:gd name="connsiteY8" fmla="*/ 13750 h 160622"/>
                  <a:gd name="connsiteX9" fmla="*/ 132956 w 137769"/>
                  <a:gd name="connsiteY9" fmla="*/ 33219 h 160622"/>
                  <a:gd name="connsiteX10" fmla="*/ 133268 w 137769"/>
                  <a:gd name="connsiteY10" fmla="*/ 33681 h 160622"/>
                  <a:gd name="connsiteX11" fmla="*/ 137770 w 137769"/>
                  <a:gd name="connsiteY11" fmla="*/ 24312 h 160622"/>
                  <a:gd name="connsiteX12" fmla="*/ 105452 w 137769"/>
                  <a:gd name="connsiteY12" fmla="*/ 4556 h 160622"/>
                  <a:gd name="connsiteX13" fmla="*/ 78682 w 137769"/>
                  <a:gd name="connsiteY13" fmla="*/ 0 h 160622"/>
                  <a:gd name="connsiteX14" fmla="*/ 78220 w 137769"/>
                  <a:gd name="connsiteY14" fmla="*/ 0 h 160622"/>
                  <a:gd name="connsiteX15" fmla="*/ 50963 w 137769"/>
                  <a:gd name="connsiteY15" fmla="*/ 4532 h 160622"/>
                  <a:gd name="connsiteX16" fmla="*/ 15920 w 137769"/>
                  <a:gd name="connsiteY16" fmla="*/ 26984 h 160622"/>
                  <a:gd name="connsiteX17" fmla="*/ 12479 w 137769"/>
                  <a:gd name="connsiteY17" fmla="*/ 32080 h 160622"/>
                  <a:gd name="connsiteX18" fmla="*/ 9685 w 137769"/>
                  <a:gd name="connsiteY18" fmla="*/ 41147 h 160622"/>
                  <a:gd name="connsiteX19" fmla="*/ 462 w 137769"/>
                  <a:gd name="connsiteY19" fmla="*/ 137313 h 160622"/>
                  <a:gd name="connsiteX20" fmla="*/ 4448 w 137769"/>
                  <a:gd name="connsiteY20" fmla="*/ 154835 h 160622"/>
                  <a:gd name="connsiteX21" fmla="*/ 18675 w 137769"/>
                  <a:gd name="connsiteY21" fmla="*/ 160593 h 160622"/>
                  <a:gd name="connsiteX22" fmla="*/ 23542 w 137769"/>
                  <a:gd name="connsiteY22" fmla="*/ 155726 h 160622"/>
                  <a:gd name="connsiteX23" fmla="*/ 18675 w 137769"/>
                  <a:gd name="connsiteY23" fmla="*/ 150859 h 16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7769" h="160622">
                    <a:moveTo>
                      <a:pt x="18675" y="150859"/>
                    </a:moveTo>
                    <a:cubicBezTo>
                      <a:pt x="16139" y="151097"/>
                      <a:pt x="13624" y="150219"/>
                      <a:pt x="11787" y="148454"/>
                    </a:cubicBezTo>
                    <a:cubicBezTo>
                      <a:pt x="9860" y="145496"/>
                      <a:pt x="9257" y="141866"/>
                      <a:pt x="10123" y="138443"/>
                    </a:cubicBezTo>
                    <a:lnTo>
                      <a:pt x="19322" y="42320"/>
                    </a:lnTo>
                    <a:cubicBezTo>
                      <a:pt x="19558" y="40350"/>
                      <a:pt x="20136" y="38436"/>
                      <a:pt x="21030" y="36665"/>
                    </a:cubicBezTo>
                    <a:cubicBezTo>
                      <a:pt x="21640" y="35519"/>
                      <a:pt x="22357" y="34434"/>
                      <a:pt x="23172" y="33423"/>
                    </a:cubicBezTo>
                    <a:cubicBezTo>
                      <a:pt x="31684" y="24401"/>
                      <a:pt x="42304" y="17636"/>
                      <a:pt x="54078" y="13735"/>
                    </a:cubicBezTo>
                    <a:cubicBezTo>
                      <a:pt x="61828" y="11008"/>
                      <a:pt x="69991" y="9647"/>
                      <a:pt x="78205" y="9710"/>
                    </a:cubicBezTo>
                    <a:cubicBezTo>
                      <a:pt x="86416" y="9649"/>
                      <a:pt x="94575" y="11016"/>
                      <a:pt x="102317" y="13750"/>
                    </a:cubicBezTo>
                    <a:cubicBezTo>
                      <a:pt x="113976" y="17620"/>
                      <a:pt x="124500" y="24307"/>
                      <a:pt x="132956" y="33219"/>
                    </a:cubicBezTo>
                    <a:cubicBezTo>
                      <a:pt x="133073" y="33360"/>
                      <a:pt x="133151" y="33535"/>
                      <a:pt x="133268" y="33681"/>
                    </a:cubicBezTo>
                    <a:cubicBezTo>
                      <a:pt x="134347" y="30372"/>
                      <a:pt x="135861" y="27222"/>
                      <a:pt x="137770" y="24312"/>
                    </a:cubicBezTo>
                    <a:cubicBezTo>
                      <a:pt x="128630" y="15366"/>
                      <a:pt x="117580" y="8612"/>
                      <a:pt x="105452" y="4556"/>
                    </a:cubicBezTo>
                    <a:cubicBezTo>
                      <a:pt x="96847" y="1545"/>
                      <a:pt x="87798" y="5"/>
                      <a:pt x="78682" y="0"/>
                    </a:cubicBezTo>
                    <a:lnTo>
                      <a:pt x="78220" y="0"/>
                    </a:lnTo>
                    <a:cubicBezTo>
                      <a:pt x="68945" y="-24"/>
                      <a:pt x="59732" y="1508"/>
                      <a:pt x="50963" y="4532"/>
                    </a:cubicBezTo>
                    <a:cubicBezTo>
                      <a:pt x="37599" y="8989"/>
                      <a:pt x="25555" y="16705"/>
                      <a:pt x="15920" y="26984"/>
                    </a:cubicBezTo>
                    <a:cubicBezTo>
                      <a:pt x="14604" y="28562"/>
                      <a:pt x="13451" y="30270"/>
                      <a:pt x="12479" y="32080"/>
                    </a:cubicBezTo>
                    <a:cubicBezTo>
                      <a:pt x="11014" y="34912"/>
                      <a:pt x="10068" y="37982"/>
                      <a:pt x="9685" y="41147"/>
                    </a:cubicBezTo>
                    <a:lnTo>
                      <a:pt x="462" y="137313"/>
                    </a:lnTo>
                    <a:cubicBezTo>
                      <a:pt x="-832" y="143456"/>
                      <a:pt x="624" y="149857"/>
                      <a:pt x="4448" y="154835"/>
                    </a:cubicBezTo>
                    <a:cubicBezTo>
                      <a:pt x="8088" y="158788"/>
                      <a:pt x="13309" y="160902"/>
                      <a:pt x="18675" y="160593"/>
                    </a:cubicBezTo>
                    <a:cubicBezTo>
                      <a:pt x="21363" y="160593"/>
                      <a:pt x="23542" y="158414"/>
                      <a:pt x="23542" y="155726"/>
                    </a:cubicBezTo>
                    <a:cubicBezTo>
                      <a:pt x="23542" y="153038"/>
                      <a:pt x="21363" y="150859"/>
                      <a:pt x="18675" y="150859"/>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94" name="Freeform: Shape 93">
                <a:extLst>
                  <a:ext uri="{FF2B5EF4-FFF2-40B4-BE49-F238E27FC236}">
                    <a16:creationId xmlns:a16="http://schemas.microsoft.com/office/drawing/2014/main" id="{B006642C-964A-B40D-6365-755633363B73}"/>
                  </a:ext>
                </a:extLst>
              </p:cNvPr>
              <p:cNvSpPr/>
              <p:nvPr/>
            </p:nvSpPr>
            <p:spPr>
              <a:xfrm>
                <a:off x="2709397" y="3456707"/>
                <a:ext cx="77879" cy="258063"/>
              </a:xfrm>
              <a:custGeom>
                <a:avLst/>
                <a:gdLst>
                  <a:gd name="connsiteX0" fmla="*/ 73013 w 77879"/>
                  <a:gd name="connsiteY0" fmla="*/ 0 h 258063"/>
                  <a:gd name="connsiteX1" fmla="*/ 68145 w 77879"/>
                  <a:gd name="connsiteY1" fmla="*/ 4867 h 258063"/>
                  <a:gd name="connsiteX2" fmla="*/ 68092 w 77879"/>
                  <a:gd name="connsiteY2" fmla="*/ 248329 h 258063"/>
                  <a:gd name="connsiteX3" fmla="*/ 43805 w 77879"/>
                  <a:gd name="connsiteY3" fmla="*/ 248329 h 258063"/>
                  <a:gd name="connsiteX4" fmla="*/ 43805 w 77879"/>
                  <a:gd name="connsiteY4" fmla="*/ 112048 h 258063"/>
                  <a:gd name="connsiteX5" fmla="*/ 34070 w 77879"/>
                  <a:gd name="connsiteY5" fmla="*/ 112048 h 258063"/>
                  <a:gd name="connsiteX6" fmla="*/ 34070 w 77879"/>
                  <a:gd name="connsiteY6" fmla="*/ 248329 h 258063"/>
                  <a:gd name="connsiteX7" fmla="*/ 9734 w 77879"/>
                  <a:gd name="connsiteY7" fmla="*/ 248329 h 258063"/>
                  <a:gd name="connsiteX8" fmla="*/ 9734 w 77879"/>
                  <a:gd name="connsiteY8" fmla="*/ 4867 h 258063"/>
                  <a:gd name="connsiteX9" fmla="*/ 4867 w 77879"/>
                  <a:gd name="connsiteY9" fmla="*/ 0 h 258063"/>
                  <a:gd name="connsiteX10" fmla="*/ 0 w 77879"/>
                  <a:gd name="connsiteY10" fmla="*/ 4867 h 258063"/>
                  <a:gd name="connsiteX11" fmla="*/ 0 w 77879"/>
                  <a:gd name="connsiteY11" fmla="*/ 258063 h 258063"/>
                  <a:gd name="connsiteX12" fmla="*/ 77826 w 77879"/>
                  <a:gd name="connsiteY12" fmla="*/ 258063 h 258063"/>
                  <a:gd name="connsiteX13" fmla="*/ 77880 w 77879"/>
                  <a:gd name="connsiteY13" fmla="*/ 4867 h 258063"/>
                  <a:gd name="connsiteX14" fmla="*/ 73013 w 77879"/>
                  <a:gd name="connsiteY14" fmla="*/ 0 h 258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879" h="258063">
                    <a:moveTo>
                      <a:pt x="73013" y="0"/>
                    </a:moveTo>
                    <a:cubicBezTo>
                      <a:pt x="70325" y="0"/>
                      <a:pt x="68145" y="2179"/>
                      <a:pt x="68145" y="4867"/>
                    </a:cubicBezTo>
                    <a:lnTo>
                      <a:pt x="68092" y="248329"/>
                    </a:lnTo>
                    <a:lnTo>
                      <a:pt x="43805" y="248329"/>
                    </a:lnTo>
                    <a:lnTo>
                      <a:pt x="43805" y="112048"/>
                    </a:lnTo>
                    <a:lnTo>
                      <a:pt x="34070" y="112048"/>
                    </a:lnTo>
                    <a:lnTo>
                      <a:pt x="34070" y="248329"/>
                    </a:lnTo>
                    <a:lnTo>
                      <a:pt x="9734" y="248329"/>
                    </a:lnTo>
                    <a:lnTo>
                      <a:pt x="9734" y="4867"/>
                    </a:lnTo>
                    <a:cubicBezTo>
                      <a:pt x="9734" y="2179"/>
                      <a:pt x="7555" y="0"/>
                      <a:pt x="4867" y="0"/>
                    </a:cubicBezTo>
                    <a:cubicBezTo>
                      <a:pt x="2179" y="0"/>
                      <a:pt x="0" y="2179"/>
                      <a:pt x="0" y="4867"/>
                    </a:cubicBezTo>
                    <a:lnTo>
                      <a:pt x="0" y="258063"/>
                    </a:lnTo>
                    <a:lnTo>
                      <a:pt x="77826" y="258063"/>
                    </a:lnTo>
                    <a:lnTo>
                      <a:pt x="77880" y="4867"/>
                    </a:lnTo>
                    <a:cubicBezTo>
                      <a:pt x="77880" y="2179"/>
                      <a:pt x="75701" y="0"/>
                      <a:pt x="73013" y="0"/>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95" name="Freeform: Shape 94">
                <a:extLst>
                  <a:ext uri="{FF2B5EF4-FFF2-40B4-BE49-F238E27FC236}">
                    <a16:creationId xmlns:a16="http://schemas.microsoft.com/office/drawing/2014/main" id="{4B4809CD-47CC-1417-CE3A-9397F57FE75D}"/>
                  </a:ext>
                </a:extLst>
              </p:cNvPr>
              <p:cNvSpPr/>
              <p:nvPr/>
            </p:nvSpPr>
            <p:spPr>
              <a:xfrm>
                <a:off x="2714264" y="3325395"/>
                <a:ext cx="68140" cy="68140"/>
              </a:xfrm>
              <a:custGeom>
                <a:avLst/>
                <a:gdLst>
                  <a:gd name="connsiteX0" fmla="*/ 34070 w 68140"/>
                  <a:gd name="connsiteY0" fmla="*/ 68141 h 68140"/>
                  <a:gd name="connsiteX1" fmla="*/ 68141 w 68140"/>
                  <a:gd name="connsiteY1" fmla="*/ 34070 h 68140"/>
                  <a:gd name="connsiteX2" fmla="*/ 34070 w 68140"/>
                  <a:gd name="connsiteY2" fmla="*/ 0 h 68140"/>
                  <a:gd name="connsiteX3" fmla="*/ 0 w 68140"/>
                  <a:gd name="connsiteY3" fmla="*/ 34070 h 68140"/>
                  <a:gd name="connsiteX4" fmla="*/ 34070 w 68140"/>
                  <a:gd name="connsiteY4" fmla="*/ 68141 h 68140"/>
                  <a:gd name="connsiteX5" fmla="*/ 34070 w 68140"/>
                  <a:gd name="connsiteY5" fmla="*/ 9734 h 68140"/>
                  <a:gd name="connsiteX6" fmla="*/ 58406 w 68140"/>
                  <a:gd name="connsiteY6" fmla="*/ 34070 h 68140"/>
                  <a:gd name="connsiteX7" fmla="*/ 34070 w 68140"/>
                  <a:gd name="connsiteY7" fmla="*/ 58406 h 68140"/>
                  <a:gd name="connsiteX8" fmla="*/ 9734 w 68140"/>
                  <a:gd name="connsiteY8" fmla="*/ 34070 h 68140"/>
                  <a:gd name="connsiteX9" fmla="*/ 34070 w 68140"/>
                  <a:gd name="connsiteY9" fmla="*/ 9734 h 6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140" h="68140">
                    <a:moveTo>
                      <a:pt x="34070" y="68141"/>
                    </a:moveTo>
                    <a:cubicBezTo>
                      <a:pt x="52887" y="68141"/>
                      <a:pt x="68141" y="52887"/>
                      <a:pt x="68141" y="34070"/>
                    </a:cubicBezTo>
                    <a:cubicBezTo>
                      <a:pt x="68141" y="15254"/>
                      <a:pt x="52887" y="0"/>
                      <a:pt x="34070" y="0"/>
                    </a:cubicBezTo>
                    <a:cubicBezTo>
                      <a:pt x="15254" y="0"/>
                      <a:pt x="0" y="15254"/>
                      <a:pt x="0" y="34070"/>
                    </a:cubicBezTo>
                    <a:cubicBezTo>
                      <a:pt x="21" y="52878"/>
                      <a:pt x="15263" y="68119"/>
                      <a:pt x="34070" y="68141"/>
                    </a:cubicBezTo>
                    <a:close/>
                    <a:moveTo>
                      <a:pt x="34070" y="9734"/>
                    </a:moveTo>
                    <a:cubicBezTo>
                      <a:pt x="47511" y="9734"/>
                      <a:pt x="58406" y="20630"/>
                      <a:pt x="58406" y="34070"/>
                    </a:cubicBezTo>
                    <a:cubicBezTo>
                      <a:pt x="58406" y="47511"/>
                      <a:pt x="47511" y="58406"/>
                      <a:pt x="34070" y="58406"/>
                    </a:cubicBezTo>
                    <a:cubicBezTo>
                      <a:pt x="20630" y="58406"/>
                      <a:pt x="9734" y="47511"/>
                      <a:pt x="9734" y="34070"/>
                    </a:cubicBezTo>
                    <a:cubicBezTo>
                      <a:pt x="9750" y="20636"/>
                      <a:pt x="20637" y="9750"/>
                      <a:pt x="34070" y="9734"/>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sp>
            <p:nvSpPr>
              <p:cNvPr id="96" name="Freeform: Shape 95">
                <a:extLst>
                  <a:ext uri="{FF2B5EF4-FFF2-40B4-BE49-F238E27FC236}">
                    <a16:creationId xmlns:a16="http://schemas.microsoft.com/office/drawing/2014/main" id="{1D3E09DA-2FF1-0101-54C2-A078CCDB9E49}"/>
                  </a:ext>
                </a:extLst>
              </p:cNvPr>
              <p:cNvSpPr/>
              <p:nvPr/>
            </p:nvSpPr>
            <p:spPr>
              <a:xfrm>
                <a:off x="2670173" y="3403270"/>
                <a:ext cx="156322" cy="160647"/>
              </a:xfrm>
              <a:custGeom>
                <a:avLst/>
                <a:gdLst>
                  <a:gd name="connsiteX0" fmla="*/ 146628 w 156322"/>
                  <a:gd name="connsiteY0" fmla="*/ 40933 h 160647"/>
                  <a:gd name="connsiteX1" fmla="*/ 143873 w 156322"/>
                  <a:gd name="connsiteY1" fmla="*/ 32085 h 160647"/>
                  <a:gd name="connsiteX2" fmla="*/ 140228 w 156322"/>
                  <a:gd name="connsiteY2" fmla="*/ 26765 h 160647"/>
                  <a:gd name="connsiteX3" fmla="*/ 78205 w 156322"/>
                  <a:gd name="connsiteY3" fmla="*/ 0 h 160647"/>
                  <a:gd name="connsiteX4" fmla="*/ 50949 w 156322"/>
                  <a:gd name="connsiteY4" fmla="*/ 4532 h 160647"/>
                  <a:gd name="connsiteX5" fmla="*/ 15905 w 156322"/>
                  <a:gd name="connsiteY5" fmla="*/ 26984 h 160647"/>
                  <a:gd name="connsiteX6" fmla="*/ 12464 w 156322"/>
                  <a:gd name="connsiteY6" fmla="*/ 32080 h 160647"/>
                  <a:gd name="connsiteX7" fmla="*/ 9680 w 156322"/>
                  <a:gd name="connsiteY7" fmla="*/ 41172 h 160647"/>
                  <a:gd name="connsiteX8" fmla="*/ 462 w 156322"/>
                  <a:gd name="connsiteY8" fmla="*/ 137338 h 160647"/>
                  <a:gd name="connsiteX9" fmla="*/ 4448 w 156322"/>
                  <a:gd name="connsiteY9" fmla="*/ 154860 h 160647"/>
                  <a:gd name="connsiteX10" fmla="*/ 18675 w 156322"/>
                  <a:gd name="connsiteY10" fmla="*/ 160617 h 160647"/>
                  <a:gd name="connsiteX11" fmla="*/ 23542 w 156322"/>
                  <a:gd name="connsiteY11" fmla="*/ 155750 h 160647"/>
                  <a:gd name="connsiteX12" fmla="*/ 18675 w 156322"/>
                  <a:gd name="connsiteY12" fmla="*/ 150883 h 160647"/>
                  <a:gd name="connsiteX13" fmla="*/ 11788 w 156322"/>
                  <a:gd name="connsiteY13" fmla="*/ 148479 h 160647"/>
                  <a:gd name="connsiteX14" fmla="*/ 10123 w 156322"/>
                  <a:gd name="connsiteY14" fmla="*/ 138467 h 160647"/>
                  <a:gd name="connsiteX15" fmla="*/ 19322 w 156322"/>
                  <a:gd name="connsiteY15" fmla="*/ 42345 h 160647"/>
                  <a:gd name="connsiteX16" fmla="*/ 21030 w 156322"/>
                  <a:gd name="connsiteY16" fmla="*/ 36689 h 160647"/>
                  <a:gd name="connsiteX17" fmla="*/ 23172 w 156322"/>
                  <a:gd name="connsiteY17" fmla="*/ 33448 h 160647"/>
                  <a:gd name="connsiteX18" fmla="*/ 54078 w 156322"/>
                  <a:gd name="connsiteY18" fmla="*/ 13760 h 160647"/>
                  <a:gd name="connsiteX19" fmla="*/ 78205 w 156322"/>
                  <a:gd name="connsiteY19" fmla="*/ 9735 h 160647"/>
                  <a:gd name="connsiteX20" fmla="*/ 102317 w 156322"/>
                  <a:gd name="connsiteY20" fmla="*/ 13774 h 160647"/>
                  <a:gd name="connsiteX21" fmla="*/ 132956 w 156322"/>
                  <a:gd name="connsiteY21" fmla="*/ 33243 h 160647"/>
                  <a:gd name="connsiteX22" fmla="*/ 135288 w 156322"/>
                  <a:gd name="connsiteY22" fmla="*/ 36704 h 160647"/>
                  <a:gd name="connsiteX23" fmla="*/ 136972 w 156322"/>
                  <a:gd name="connsiteY23" fmla="*/ 42116 h 160647"/>
                  <a:gd name="connsiteX24" fmla="*/ 146219 w 156322"/>
                  <a:gd name="connsiteY24" fmla="*/ 138691 h 160647"/>
                  <a:gd name="connsiteX25" fmla="*/ 144530 w 156322"/>
                  <a:gd name="connsiteY25" fmla="*/ 148498 h 160647"/>
                  <a:gd name="connsiteX26" fmla="*/ 137643 w 156322"/>
                  <a:gd name="connsiteY26" fmla="*/ 150883 h 160647"/>
                  <a:gd name="connsiteX27" fmla="*/ 132776 w 156322"/>
                  <a:gd name="connsiteY27" fmla="*/ 155750 h 160647"/>
                  <a:gd name="connsiteX28" fmla="*/ 137643 w 156322"/>
                  <a:gd name="connsiteY28" fmla="*/ 160617 h 160647"/>
                  <a:gd name="connsiteX29" fmla="*/ 151870 w 156322"/>
                  <a:gd name="connsiteY29" fmla="*/ 154869 h 160647"/>
                  <a:gd name="connsiteX30" fmla="*/ 155885 w 156322"/>
                  <a:gd name="connsiteY30" fmla="*/ 137542 h 16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6322" h="160647">
                    <a:moveTo>
                      <a:pt x="146628" y="40933"/>
                    </a:moveTo>
                    <a:cubicBezTo>
                      <a:pt x="146238" y="37845"/>
                      <a:pt x="145306" y="34849"/>
                      <a:pt x="143873" y="32085"/>
                    </a:cubicBezTo>
                    <a:cubicBezTo>
                      <a:pt x="142850" y="30187"/>
                      <a:pt x="141628" y="28404"/>
                      <a:pt x="140228" y="26765"/>
                    </a:cubicBezTo>
                    <a:cubicBezTo>
                      <a:pt x="124056" y="9776"/>
                      <a:pt x="101660" y="111"/>
                      <a:pt x="78205" y="0"/>
                    </a:cubicBezTo>
                    <a:cubicBezTo>
                      <a:pt x="68930" y="-25"/>
                      <a:pt x="59717" y="1507"/>
                      <a:pt x="50949" y="4532"/>
                    </a:cubicBezTo>
                    <a:cubicBezTo>
                      <a:pt x="37584" y="8989"/>
                      <a:pt x="25540" y="16705"/>
                      <a:pt x="15905" y="26984"/>
                    </a:cubicBezTo>
                    <a:cubicBezTo>
                      <a:pt x="14590" y="28562"/>
                      <a:pt x="13437" y="30270"/>
                      <a:pt x="12464" y="32080"/>
                    </a:cubicBezTo>
                    <a:cubicBezTo>
                      <a:pt x="11000" y="34920"/>
                      <a:pt x="10057" y="37999"/>
                      <a:pt x="9680" y="41172"/>
                    </a:cubicBezTo>
                    <a:lnTo>
                      <a:pt x="462" y="137338"/>
                    </a:lnTo>
                    <a:cubicBezTo>
                      <a:pt x="-832" y="143480"/>
                      <a:pt x="624" y="149881"/>
                      <a:pt x="4448" y="154860"/>
                    </a:cubicBezTo>
                    <a:cubicBezTo>
                      <a:pt x="8088" y="158813"/>
                      <a:pt x="13309" y="160926"/>
                      <a:pt x="18675" y="160617"/>
                    </a:cubicBezTo>
                    <a:cubicBezTo>
                      <a:pt x="21363" y="160617"/>
                      <a:pt x="23542" y="158438"/>
                      <a:pt x="23542" y="155750"/>
                    </a:cubicBezTo>
                    <a:cubicBezTo>
                      <a:pt x="23542" y="153062"/>
                      <a:pt x="21363" y="150883"/>
                      <a:pt x="18675" y="150883"/>
                    </a:cubicBezTo>
                    <a:cubicBezTo>
                      <a:pt x="16138" y="151121"/>
                      <a:pt x="13624" y="150243"/>
                      <a:pt x="11788" y="148479"/>
                    </a:cubicBezTo>
                    <a:cubicBezTo>
                      <a:pt x="9860" y="145520"/>
                      <a:pt x="9257" y="141890"/>
                      <a:pt x="10123" y="138467"/>
                    </a:cubicBezTo>
                    <a:lnTo>
                      <a:pt x="19322" y="42345"/>
                    </a:lnTo>
                    <a:cubicBezTo>
                      <a:pt x="19557" y="40375"/>
                      <a:pt x="20136" y="38460"/>
                      <a:pt x="21030" y="36689"/>
                    </a:cubicBezTo>
                    <a:cubicBezTo>
                      <a:pt x="21640" y="35543"/>
                      <a:pt x="22357" y="34458"/>
                      <a:pt x="23172" y="33448"/>
                    </a:cubicBezTo>
                    <a:cubicBezTo>
                      <a:pt x="31684" y="24426"/>
                      <a:pt x="42304" y="17660"/>
                      <a:pt x="54078" y="13760"/>
                    </a:cubicBezTo>
                    <a:cubicBezTo>
                      <a:pt x="61831" y="11048"/>
                      <a:pt x="69992" y="9686"/>
                      <a:pt x="78205" y="9735"/>
                    </a:cubicBezTo>
                    <a:cubicBezTo>
                      <a:pt x="86416" y="9675"/>
                      <a:pt x="94574" y="11042"/>
                      <a:pt x="102317" y="13774"/>
                    </a:cubicBezTo>
                    <a:cubicBezTo>
                      <a:pt x="113976" y="17645"/>
                      <a:pt x="124500" y="24332"/>
                      <a:pt x="132956" y="33243"/>
                    </a:cubicBezTo>
                    <a:cubicBezTo>
                      <a:pt x="133850" y="34313"/>
                      <a:pt x="134631" y="35473"/>
                      <a:pt x="135288" y="36704"/>
                    </a:cubicBezTo>
                    <a:cubicBezTo>
                      <a:pt x="136152" y="38399"/>
                      <a:pt x="136722" y="40230"/>
                      <a:pt x="136972" y="42116"/>
                    </a:cubicBezTo>
                    <a:lnTo>
                      <a:pt x="146219" y="138691"/>
                    </a:lnTo>
                    <a:cubicBezTo>
                      <a:pt x="147050" y="142053"/>
                      <a:pt x="146438" y="145608"/>
                      <a:pt x="144530" y="148498"/>
                    </a:cubicBezTo>
                    <a:cubicBezTo>
                      <a:pt x="142690" y="150256"/>
                      <a:pt x="140176" y="151126"/>
                      <a:pt x="137643" y="150883"/>
                    </a:cubicBezTo>
                    <a:cubicBezTo>
                      <a:pt x="134955" y="150883"/>
                      <a:pt x="132776" y="153062"/>
                      <a:pt x="132776" y="155750"/>
                    </a:cubicBezTo>
                    <a:cubicBezTo>
                      <a:pt x="132776" y="158438"/>
                      <a:pt x="134955" y="160617"/>
                      <a:pt x="137643" y="160617"/>
                    </a:cubicBezTo>
                    <a:cubicBezTo>
                      <a:pt x="143007" y="160930"/>
                      <a:pt x="148229" y="158821"/>
                      <a:pt x="151870" y="154869"/>
                    </a:cubicBezTo>
                    <a:cubicBezTo>
                      <a:pt x="155670" y="149955"/>
                      <a:pt x="157137" y="143627"/>
                      <a:pt x="155885" y="137542"/>
                    </a:cubicBezTo>
                    <a:close/>
                  </a:path>
                </a:pathLst>
              </a:custGeom>
              <a:grpFill/>
              <a:ln w="4862" cap="flat">
                <a:noFill/>
                <a:prstDash val="solid"/>
                <a:miter/>
              </a:ln>
            </p:spPr>
            <p:txBody>
              <a:bodyPr rtlCol="0" anchor="ctr"/>
              <a:lstStyle/>
              <a:p>
                <a:endParaRPr lang="en-US">
                  <a:latin typeface="Avenir Next LT Pro" panose="020B0504020202020204" pitchFamily="34" charset="0"/>
                </a:endParaRPr>
              </a:p>
            </p:txBody>
          </p:sp>
        </p:grpSp>
      </p:grpSp>
      <p:grpSp>
        <p:nvGrpSpPr>
          <p:cNvPr id="151" name="Group 150">
            <a:extLst>
              <a:ext uri="{FF2B5EF4-FFF2-40B4-BE49-F238E27FC236}">
                <a16:creationId xmlns:a16="http://schemas.microsoft.com/office/drawing/2014/main" id="{113BD05B-6588-9E54-B6C4-1521B7AD2EFE}"/>
              </a:ext>
            </a:extLst>
          </p:cNvPr>
          <p:cNvGrpSpPr/>
          <p:nvPr/>
        </p:nvGrpSpPr>
        <p:grpSpPr>
          <a:xfrm>
            <a:off x="8310775" y="3891542"/>
            <a:ext cx="811242" cy="811240"/>
            <a:chOff x="8310775" y="3891542"/>
            <a:chExt cx="811242" cy="811240"/>
          </a:xfrm>
        </p:grpSpPr>
        <p:grpSp>
          <p:nvGrpSpPr>
            <p:cNvPr id="145" name="Group 144">
              <a:extLst>
                <a:ext uri="{FF2B5EF4-FFF2-40B4-BE49-F238E27FC236}">
                  <a16:creationId xmlns:a16="http://schemas.microsoft.com/office/drawing/2014/main" id="{DD346958-7E69-A060-196D-F967C9953D7E}"/>
                </a:ext>
              </a:extLst>
            </p:cNvPr>
            <p:cNvGrpSpPr/>
            <p:nvPr/>
          </p:nvGrpSpPr>
          <p:grpSpPr>
            <a:xfrm>
              <a:off x="8310775" y="3891542"/>
              <a:ext cx="811242" cy="811240"/>
              <a:chOff x="2833864" y="3891542"/>
              <a:chExt cx="811242" cy="811240"/>
            </a:xfrm>
          </p:grpSpPr>
          <p:sp>
            <p:nvSpPr>
              <p:cNvPr id="146" name="Oval 145">
                <a:extLst>
                  <a:ext uri="{FF2B5EF4-FFF2-40B4-BE49-F238E27FC236}">
                    <a16:creationId xmlns:a16="http://schemas.microsoft.com/office/drawing/2014/main" id="{80C9F22A-5190-1028-96C3-FE767DE65EDF}"/>
                  </a:ext>
                </a:extLst>
              </p:cNvPr>
              <p:cNvSpPr>
                <a:spLocks noChangeAspect="1"/>
              </p:cNvSpPr>
              <p:nvPr/>
            </p:nvSpPr>
            <p:spPr>
              <a:xfrm>
                <a:off x="2833864"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147" name="Arc 146">
                <a:extLst>
                  <a:ext uri="{FF2B5EF4-FFF2-40B4-BE49-F238E27FC236}">
                    <a16:creationId xmlns:a16="http://schemas.microsoft.com/office/drawing/2014/main" id="{BDA9F2BA-9432-1891-793F-D7055C5D1581}"/>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grpSp>
        <p:sp>
          <p:nvSpPr>
            <p:cNvPr id="118" name="Graphic 99" descr="Rainforest outline">
              <a:extLst>
                <a:ext uri="{FF2B5EF4-FFF2-40B4-BE49-F238E27FC236}">
                  <a16:creationId xmlns:a16="http://schemas.microsoft.com/office/drawing/2014/main" id="{E95F2AEC-8550-019C-852E-84201A00C68F}"/>
                </a:ext>
              </a:extLst>
            </p:cNvPr>
            <p:cNvSpPr/>
            <p:nvPr/>
          </p:nvSpPr>
          <p:spPr>
            <a:xfrm>
              <a:off x="8420224" y="4071938"/>
              <a:ext cx="592344" cy="497738"/>
            </a:xfrm>
            <a:custGeom>
              <a:avLst/>
              <a:gdLst>
                <a:gd name="connsiteX0" fmla="*/ 249156 w 873219"/>
                <a:gd name="connsiteY0" fmla="*/ 646592 h 733753"/>
                <a:gd name="connsiteX1" fmla="*/ 253384 w 873219"/>
                <a:gd name="connsiteY1" fmla="*/ 630607 h 733753"/>
                <a:gd name="connsiteX2" fmla="*/ 253877 w 873219"/>
                <a:gd name="connsiteY2" fmla="*/ 625239 h 733753"/>
                <a:gd name="connsiteX3" fmla="*/ 245063 w 873219"/>
                <a:gd name="connsiteY3" fmla="*/ 580539 h 733753"/>
                <a:gd name="connsiteX4" fmla="*/ 266360 w 873219"/>
                <a:gd name="connsiteY4" fmla="*/ 590627 h 733753"/>
                <a:gd name="connsiteX5" fmla="*/ 278741 w 873219"/>
                <a:gd name="connsiteY5" fmla="*/ 586688 h 733753"/>
                <a:gd name="connsiteX6" fmla="*/ 298596 w 873219"/>
                <a:gd name="connsiteY6" fmla="*/ 554894 h 733753"/>
                <a:gd name="connsiteX7" fmla="*/ 299716 w 873219"/>
                <a:gd name="connsiteY7" fmla="*/ 553294 h 733753"/>
                <a:gd name="connsiteX8" fmla="*/ 315914 w 873219"/>
                <a:gd name="connsiteY8" fmla="*/ 613799 h 733753"/>
                <a:gd name="connsiteX9" fmla="*/ 353209 w 873219"/>
                <a:gd name="connsiteY9" fmla="*/ 669782 h 733753"/>
                <a:gd name="connsiteX10" fmla="*/ 345697 w 873219"/>
                <a:gd name="connsiteY10" fmla="*/ 714703 h 733753"/>
                <a:gd name="connsiteX11" fmla="*/ 335025 w 873219"/>
                <a:gd name="connsiteY11" fmla="*/ 714703 h 733753"/>
                <a:gd name="connsiteX12" fmla="*/ 322925 w 873219"/>
                <a:gd name="connsiteY12" fmla="*/ 680856 h 733753"/>
                <a:gd name="connsiteX13" fmla="*/ 277948 w 873219"/>
                <a:gd name="connsiteY13" fmla="*/ 617287 h 733753"/>
                <a:gd name="connsiteX14" fmla="*/ 296974 w 873219"/>
                <a:gd name="connsiteY14" fmla="*/ 694421 h 733753"/>
                <a:gd name="connsiteX15" fmla="*/ 307766 w 873219"/>
                <a:gd name="connsiteY15" fmla="*/ 714704 h 733753"/>
                <a:gd name="connsiteX16" fmla="*/ 251152 w 873219"/>
                <a:gd name="connsiteY16" fmla="*/ 714703 h 733753"/>
                <a:gd name="connsiteX17" fmla="*/ 241627 w 873219"/>
                <a:gd name="connsiteY17" fmla="*/ 724228 h 733753"/>
                <a:gd name="connsiteX18" fmla="*/ 251152 w 873219"/>
                <a:gd name="connsiteY18" fmla="*/ 733753 h 733753"/>
                <a:gd name="connsiteX19" fmla="*/ 721123 w 873219"/>
                <a:gd name="connsiteY19" fmla="*/ 733753 h 733753"/>
                <a:gd name="connsiteX20" fmla="*/ 730648 w 873219"/>
                <a:gd name="connsiteY20" fmla="*/ 724228 h 733753"/>
                <a:gd name="connsiteX21" fmla="*/ 721123 w 873219"/>
                <a:gd name="connsiteY21" fmla="*/ 714703 h 733753"/>
                <a:gd name="connsiteX22" fmla="*/ 596756 w 873219"/>
                <a:gd name="connsiteY22" fmla="*/ 714703 h 733753"/>
                <a:gd name="connsiteX23" fmla="*/ 621982 w 873219"/>
                <a:gd name="connsiteY23" fmla="*/ 684011 h 733753"/>
                <a:gd name="connsiteX24" fmla="*/ 650940 w 873219"/>
                <a:gd name="connsiteY24" fmla="*/ 628101 h 733753"/>
                <a:gd name="connsiteX25" fmla="*/ 683344 w 873219"/>
                <a:gd name="connsiteY25" fmla="*/ 662618 h 733753"/>
                <a:gd name="connsiteX26" fmla="*/ 695789 w 873219"/>
                <a:gd name="connsiteY26" fmla="*/ 673482 h 733753"/>
                <a:gd name="connsiteX27" fmla="*/ 858942 w 873219"/>
                <a:gd name="connsiteY27" fmla="*/ 733753 h 733753"/>
                <a:gd name="connsiteX28" fmla="*/ 863695 w 873219"/>
                <a:gd name="connsiteY28" fmla="*/ 733753 h 733753"/>
                <a:gd name="connsiteX29" fmla="*/ 873220 w 873219"/>
                <a:gd name="connsiteY29" fmla="*/ 724228 h 733753"/>
                <a:gd name="connsiteX30" fmla="*/ 873220 w 873219"/>
                <a:gd name="connsiteY30" fmla="*/ 707373 h 733753"/>
                <a:gd name="connsiteX31" fmla="*/ 861101 w 873219"/>
                <a:gd name="connsiteY31" fmla="*/ 642078 h 733753"/>
                <a:gd name="connsiteX32" fmla="*/ 869123 w 873219"/>
                <a:gd name="connsiteY32" fmla="*/ 593994 h 733753"/>
                <a:gd name="connsiteX33" fmla="*/ 865379 w 873219"/>
                <a:gd name="connsiteY33" fmla="*/ 514023 h 733753"/>
                <a:gd name="connsiteX34" fmla="*/ 854545 w 873219"/>
                <a:gd name="connsiteY34" fmla="*/ 485737 h 733753"/>
                <a:gd name="connsiteX35" fmla="*/ 866570 w 873219"/>
                <a:gd name="connsiteY35" fmla="*/ 431656 h 733753"/>
                <a:gd name="connsiteX36" fmla="*/ 856635 w 873219"/>
                <a:gd name="connsiteY36" fmla="*/ 332608 h 733753"/>
                <a:gd name="connsiteX37" fmla="*/ 860184 w 873219"/>
                <a:gd name="connsiteY37" fmla="*/ 257666 h 733753"/>
                <a:gd name="connsiteX38" fmla="*/ 832232 w 873219"/>
                <a:gd name="connsiteY38" fmla="*/ 133604 h 733753"/>
                <a:gd name="connsiteX39" fmla="*/ 818766 w 873219"/>
                <a:gd name="connsiteY39" fmla="*/ 133302 h 733753"/>
                <a:gd name="connsiteX40" fmla="*/ 816382 w 873219"/>
                <a:gd name="connsiteY40" fmla="*/ 136972 h 733753"/>
                <a:gd name="connsiteX41" fmla="*/ 794067 w 873219"/>
                <a:gd name="connsiteY41" fmla="*/ 260216 h 733753"/>
                <a:gd name="connsiteX42" fmla="*/ 794225 w 873219"/>
                <a:gd name="connsiteY42" fmla="*/ 265632 h 733753"/>
                <a:gd name="connsiteX43" fmla="*/ 700096 w 873219"/>
                <a:gd name="connsiteY43" fmla="*/ 241714 h 733753"/>
                <a:gd name="connsiteX44" fmla="*/ 690615 w 873219"/>
                <a:gd name="connsiteY44" fmla="*/ 251284 h 733753"/>
                <a:gd name="connsiteX45" fmla="*/ 691069 w 873219"/>
                <a:gd name="connsiteY45" fmla="*/ 254145 h 733753"/>
                <a:gd name="connsiteX46" fmla="*/ 746684 w 873219"/>
                <a:gd name="connsiteY46" fmla="*/ 381268 h 733753"/>
                <a:gd name="connsiteX47" fmla="*/ 753048 w 873219"/>
                <a:gd name="connsiteY47" fmla="*/ 393003 h 733753"/>
                <a:gd name="connsiteX48" fmla="*/ 751968 w 873219"/>
                <a:gd name="connsiteY48" fmla="*/ 392640 h 733753"/>
                <a:gd name="connsiteX49" fmla="*/ 626520 w 873219"/>
                <a:gd name="connsiteY49" fmla="*/ 377771 h 733753"/>
                <a:gd name="connsiteX50" fmla="*/ 617130 w 873219"/>
                <a:gd name="connsiteY50" fmla="*/ 387436 h 733753"/>
                <a:gd name="connsiteX51" fmla="*/ 617795 w 873219"/>
                <a:gd name="connsiteY51" fmla="*/ 390799 h 733753"/>
                <a:gd name="connsiteX52" fmla="*/ 691134 w 873219"/>
                <a:gd name="connsiteY52" fmla="*/ 517660 h 733753"/>
                <a:gd name="connsiteX53" fmla="*/ 697656 w 873219"/>
                <a:gd name="connsiteY53" fmla="*/ 525856 h 733753"/>
                <a:gd name="connsiteX54" fmla="*/ 639802 w 873219"/>
                <a:gd name="connsiteY54" fmla="*/ 525632 h 733753"/>
                <a:gd name="connsiteX55" fmla="*/ 609009 w 873219"/>
                <a:gd name="connsiteY55" fmla="*/ 528608 h 733753"/>
                <a:gd name="connsiteX56" fmla="*/ 600447 w 873219"/>
                <a:gd name="connsiteY56" fmla="*/ 539025 h 733753"/>
                <a:gd name="connsiteX57" fmla="*/ 600735 w 873219"/>
                <a:gd name="connsiteY57" fmla="*/ 540598 h 733753"/>
                <a:gd name="connsiteX58" fmla="*/ 604080 w 873219"/>
                <a:gd name="connsiteY58" fmla="*/ 552869 h 733753"/>
                <a:gd name="connsiteX59" fmla="*/ 578244 w 873219"/>
                <a:gd name="connsiteY59" fmla="*/ 589346 h 733753"/>
                <a:gd name="connsiteX60" fmla="*/ 553271 w 873219"/>
                <a:gd name="connsiteY60" fmla="*/ 654884 h 733753"/>
                <a:gd name="connsiteX61" fmla="*/ 546478 w 873219"/>
                <a:gd name="connsiteY61" fmla="*/ 576629 h 733753"/>
                <a:gd name="connsiteX62" fmla="*/ 589795 w 873219"/>
                <a:gd name="connsiteY62" fmla="*/ 521788 h 733753"/>
                <a:gd name="connsiteX63" fmla="*/ 612693 w 873219"/>
                <a:gd name="connsiteY63" fmla="*/ 453046 h 733753"/>
                <a:gd name="connsiteX64" fmla="*/ 567186 w 873219"/>
                <a:gd name="connsiteY64" fmla="*/ 507571 h 733753"/>
                <a:gd name="connsiteX65" fmla="*/ 545911 w 873219"/>
                <a:gd name="connsiteY65" fmla="*/ 562348 h 733753"/>
                <a:gd name="connsiteX66" fmla="*/ 545391 w 873219"/>
                <a:gd name="connsiteY66" fmla="*/ 532512 h 733753"/>
                <a:gd name="connsiteX67" fmla="*/ 552559 w 873219"/>
                <a:gd name="connsiteY67" fmla="*/ 472266 h 733753"/>
                <a:gd name="connsiteX68" fmla="*/ 540530 w 873219"/>
                <a:gd name="connsiteY68" fmla="*/ 372103 h 733753"/>
                <a:gd name="connsiteX69" fmla="*/ 522462 w 873219"/>
                <a:gd name="connsiteY69" fmla="*/ 469216 h 733753"/>
                <a:gd name="connsiteX70" fmla="*/ 526336 w 873219"/>
                <a:gd name="connsiteY70" fmla="*/ 533768 h 733753"/>
                <a:gd name="connsiteX71" fmla="*/ 526868 w 873219"/>
                <a:gd name="connsiteY71" fmla="*/ 562823 h 733753"/>
                <a:gd name="connsiteX72" fmla="*/ 496358 w 873219"/>
                <a:gd name="connsiteY72" fmla="*/ 509600 h 733753"/>
                <a:gd name="connsiteX73" fmla="*/ 442975 w 873219"/>
                <a:gd name="connsiteY73" fmla="*/ 462760 h 733753"/>
                <a:gd name="connsiteX74" fmla="*/ 476217 w 873219"/>
                <a:gd name="connsiteY74" fmla="*/ 527139 h 733753"/>
                <a:gd name="connsiteX75" fmla="*/ 527307 w 873219"/>
                <a:gd name="connsiteY75" fmla="*/ 574506 h 733753"/>
                <a:gd name="connsiteX76" fmla="*/ 533846 w 873219"/>
                <a:gd name="connsiteY76" fmla="*/ 652917 h 733753"/>
                <a:gd name="connsiteX77" fmla="*/ 499317 w 873219"/>
                <a:gd name="connsiteY77" fmla="*/ 592647 h 733753"/>
                <a:gd name="connsiteX78" fmla="*/ 439014 w 873219"/>
                <a:gd name="connsiteY78" fmla="*/ 539735 h 733753"/>
                <a:gd name="connsiteX79" fmla="*/ 454805 w 873219"/>
                <a:gd name="connsiteY79" fmla="*/ 578087 h 733753"/>
                <a:gd name="connsiteX80" fmla="*/ 406210 w 873219"/>
                <a:gd name="connsiteY80" fmla="*/ 615870 h 733753"/>
                <a:gd name="connsiteX81" fmla="*/ 374332 w 873219"/>
                <a:gd name="connsiteY81" fmla="*/ 661720 h 733753"/>
                <a:gd name="connsiteX82" fmla="*/ 380758 w 873219"/>
                <a:gd name="connsiteY82" fmla="*/ 632845 h 733753"/>
                <a:gd name="connsiteX83" fmla="*/ 400374 w 873219"/>
                <a:gd name="connsiteY83" fmla="*/ 579238 h 733753"/>
                <a:gd name="connsiteX84" fmla="*/ 411639 w 873219"/>
                <a:gd name="connsiteY84" fmla="*/ 481966 h 733753"/>
                <a:gd name="connsiteX85" fmla="*/ 372652 w 873219"/>
                <a:gd name="connsiteY85" fmla="*/ 569563 h 733753"/>
                <a:gd name="connsiteX86" fmla="*/ 361889 w 873219"/>
                <a:gd name="connsiteY86" fmla="*/ 629842 h 733753"/>
                <a:gd name="connsiteX87" fmla="*/ 355572 w 873219"/>
                <a:gd name="connsiteY87" fmla="*/ 658363 h 733753"/>
                <a:gd name="connsiteX88" fmla="*/ 338888 w 873219"/>
                <a:gd name="connsiteY88" fmla="*/ 601791 h 733753"/>
                <a:gd name="connsiteX89" fmla="*/ 302678 w 873219"/>
                <a:gd name="connsiteY89" fmla="*/ 549063 h 733753"/>
                <a:gd name="connsiteX90" fmla="*/ 329822 w 873219"/>
                <a:gd name="connsiteY90" fmla="*/ 513851 h 733753"/>
                <a:gd name="connsiteX91" fmla="*/ 331543 w 873219"/>
                <a:gd name="connsiteY91" fmla="*/ 504368 h 733753"/>
                <a:gd name="connsiteX92" fmla="*/ 325906 w 873219"/>
                <a:gd name="connsiteY92" fmla="*/ 488969 h 733753"/>
                <a:gd name="connsiteX93" fmla="*/ 345569 w 873219"/>
                <a:gd name="connsiteY93" fmla="*/ 491210 h 733753"/>
                <a:gd name="connsiteX94" fmla="*/ 353373 w 873219"/>
                <a:gd name="connsiteY94" fmla="*/ 488495 h 733753"/>
                <a:gd name="connsiteX95" fmla="*/ 413523 w 873219"/>
                <a:gd name="connsiteY95" fmla="*/ 439111 h 733753"/>
                <a:gd name="connsiteX96" fmla="*/ 416791 w 873219"/>
                <a:gd name="connsiteY96" fmla="*/ 426039 h 733753"/>
                <a:gd name="connsiteX97" fmla="*/ 411537 w 873219"/>
                <a:gd name="connsiteY97" fmla="*/ 421871 h 733753"/>
                <a:gd name="connsiteX98" fmla="*/ 382543 w 873219"/>
                <a:gd name="connsiteY98" fmla="*/ 415506 h 733753"/>
                <a:gd name="connsiteX99" fmla="*/ 380860 w 873219"/>
                <a:gd name="connsiteY99" fmla="*/ 348308 h 733753"/>
                <a:gd name="connsiteX100" fmla="*/ 381628 w 873219"/>
                <a:gd name="connsiteY100" fmla="*/ 312729 h 733753"/>
                <a:gd name="connsiteX101" fmla="*/ 462376 w 873219"/>
                <a:gd name="connsiteY101" fmla="*/ 283330 h 733753"/>
                <a:gd name="connsiteX102" fmla="*/ 570691 w 873219"/>
                <a:gd name="connsiteY102" fmla="*/ 229594 h 733753"/>
                <a:gd name="connsiteX103" fmla="*/ 598759 w 873219"/>
                <a:gd name="connsiteY103" fmla="*/ 231822 h 733753"/>
                <a:gd name="connsiteX104" fmla="*/ 706793 w 873219"/>
                <a:gd name="connsiteY104" fmla="*/ 170844 h 733753"/>
                <a:gd name="connsiteX105" fmla="*/ 639049 w 873219"/>
                <a:gd name="connsiteY105" fmla="*/ 115127 h 733753"/>
                <a:gd name="connsiteX106" fmla="*/ 581834 w 873219"/>
                <a:gd name="connsiteY106" fmla="*/ 76255 h 733753"/>
                <a:gd name="connsiteX107" fmla="*/ 568663 w 873219"/>
                <a:gd name="connsiteY107" fmla="*/ 48977 h 733753"/>
                <a:gd name="connsiteX108" fmla="*/ 470585 w 873219"/>
                <a:gd name="connsiteY108" fmla="*/ 17072 h 733753"/>
                <a:gd name="connsiteX109" fmla="*/ 425672 w 873219"/>
                <a:gd name="connsiteY109" fmla="*/ 22253 h 733753"/>
                <a:gd name="connsiteX110" fmla="*/ 339226 w 873219"/>
                <a:gd name="connsiteY110" fmla="*/ 82 h 733753"/>
                <a:gd name="connsiteX111" fmla="*/ 237827 w 873219"/>
                <a:gd name="connsiteY111" fmla="*/ 35373 h 733753"/>
                <a:gd name="connsiteX112" fmla="*/ 191398 w 873219"/>
                <a:gd name="connsiteY112" fmla="*/ 29885 h 733753"/>
                <a:gd name="connsiteX113" fmla="*/ 79260 w 873219"/>
                <a:gd name="connsiteY113" fmla="*/ 92556 h 733753"/>
                <a:gd name="connsiteX114" fmla="*/ 87241 w 873219"/>
                <a:gd name="connsiteY114" fmla="*/ 116182 h 733753"/>
                <a:gd name="connsiteX115" fmla="*/ 5395 w 873219"/>
                <a:gd name="connsiteY115" fmla="*/ 184048 h 733753"/>
                <a:gd name="connsiteX116" fmla="*/ 134404 w 873219"/>
                <a:gd name="connsiteY116" fmla="*/ 260416 h 733753"/>
                <a:gd name="connsiteX117" fmla="*/ 145571 w 873219"/>
                <a:gd name="connsiteY117" fmla="*/ 261290 h 733753"/>
                <a:gd name="connsiteX118" fmla="*/ 157404 w 873219"/>
                <a:gd name="connsiteY118" fmla="*/ 263266 h 733753"/>
                <a:gd name="connsiteX119" fmla="*/ 165454 w 873219"/>
                <a:gd name="connsiteY119" fmla="*/ 264652 h 733753"/>
                <a:gd name="connsiteX120" fmla="*/ 288656 w 873219"/>
                <a:gd name="connsiteY120" fmla="*/ 323635 h 733753"/>
                <a:gd name="connsiteX121" fmla="*/ 286785 w 873219"/>
                <a:gd name="connsiteY121" fmla="*/ 427246 h 733753"/>
                <a:gd name="connsiteX122" fmla="*/ 193590 w 873219"/>
                <a:gd name="connsiteY122" fmla="*/ 482272 h 733753"/>
                <a:gd name="connsiteX123" fmla="*/ 205289 w 873219"/>
                <a:gd name="connsiteY123" fmla="*/ 449724 h 733753"/>
                <a:gd name="connsiteX124" fmla="*/ 222316 w 873219"/>
                <a:gd name="connsiteY124" fmla="*/ 415540 h 733753"/>
                <a:gd name="connsiteX125" fmla="*/ 271388 w 873219"/>
                <a:gd name="connsiteY125" fmla="*/ 342629 h 733753"/>
                <a:gd name="connsiteX126" fmla="*/ 270584 w 873219"/>
                <a:gd name="connsiteY126" fmla="*/ 329178 h 733753"/>
                <a:gd name="connsiteX127" fmla="*/ 262863 w 873219"/>
                <a:gd name="connsiteY127" fmla="*/ 326880 h 733753"/>
                <a:gd name="connsiteX128" fmla="*/ 90178 w 873219"/>
                <a:gd name="connsiteY128" fmla="*/ 426027 h 733753"/>
                <a:gd name="connsiteX129" fmla="*/ 17217 w 873219"/>
                <a:gd name="connsiteY129" fmla="*/ 284669 h 733753"/>
                <a:gd name="connsiteX130" fmla="*/ 3806 w 873219"/>
                <a:gd name="connsiteY130" fmla="*/ 283385 h 733753"/>
                <a:gd name="connsiteX131" fmla="*/ 343 w 873219"/>
                <a:gd name="connsiteY131" fmla="*/ 290729 h 733753"/>
                <a:gd name="connsiteX132" fmla="*/ 343 w 873219"/>
                <a:gd name="connsiteY132" fmla="*/ 458482 h 733753"/>
                <a:gd name="connsiteX133" fmla="*/ 8738 w 873219"/>
                <a:gd name="connsiteY133" fmla="*/ 634220 h 733753"/>
                <a:gd name="connsiteX134" fmla="*/ 11236 w 873219"/>
                <a:gd name="connsiteY134" fmla="*/ 656452 h 733753"/>
                <a:gd name="connsiteX135" fmla="*/ 71758 w 873219"/>
                <a:gd name="connsiteY135" fmla="*/ 729747 h 733753"/>
                <a:gd name="connsiteX136" fmla="*/ 83832 w 873219"/>
                <a:gd name="connsiteY136" fmla="*/ 732573 h 733753"/>
                <a:gd name="connsiteX137" fmla="*/ 97710 w 873219"/>
                <a:gd name="connsiteY137" fmla="*/ 733754 h 733753"/>
                <a:gd name="connsiteX138" fmla="*/ 154813 w 873219"/>
                <a:gd name="connsiteY138" fmla="*/ 733754 h 733753"/>
                <a:gd name="connsiteX139" fmla="*/ 235732 w 873219"/>
                <a:gd name="connsiteY139" fmla="*/ 686202 h 733753"/>
                <a:gd name="connsiteX140" fmla="*/ 239864 w 873219"/>
                <a:gd name="connsiteY140" fmla="*/ 679935 h 733753"/>
                <a:gd name="connsiteX141" fmla="*/ 242790 w 873219"/>
                <a:gd name="connsiteY141" fmla="*/ 670064 h 733753"/>
                <a:gd name="connsiteX142" fmla="*/ 24445 w 873219"/>
                <a:gd name="connsiteY142" fmla="*/ 184048 h 733753"/>
                <a:gd name="connsiteX143" fmla="*/ 108169 w 873219"/>
                <a:gd name="connsiteY143" fmla="*/ 131796 h 733753"/>
                <a:gd name="connsiteX144" fmla="*/ 116324 w 873219"/>
                <a:gd name="connsiteY144" fmla="*/ 121076 h 733753"/>
                <a:gd name="connsiteX145" fmla="*/ 112546 w 873219"/>
                <a:gd name="connsiteY145" fmla="*/ 114698 h 733753"/>
                <a:gd name="connsiteX146" fmla="*/ 98310 w 873219"/>
                <a:gd name="connsiteY146" fmla="*/ 92556 h 733753"/>
                <a:gd name="connsiteX147" fmla="*/ 191397 w 873219"/>
                <a:gd name="connsiteY147" fmla="*/ 48936 h 733753"/>
                <a:gd name="connsiteX148" fmla="*/ 232618 w 873219"/>
                <a:gd name="connsiteY148" fmla="*/ 53734 h 733753"/>
                <a:gd name="connsiteX149" fmla="*/ 243622 w 873219"/>
                <a:gd name="connsiteY149" fmla="*/ 57720 h 733753"/>
                <a:gd name="connsiteX150" fmla="*/ 260235 w 873219"/>
                <a:gd name="connsiteY150" fmla="*/ 65479 h 733753"/>
                <a:gd name="connsiteX151" fmla="*/ 272899 w 873219"/>
                <a:gd name="connsiteY151" fmla="*/ 60879 h 733753"/>
                <a:gd name="connsiteX152" fmla="*/ 268300 w 873219"/>
                <a:gd name="connsiteY152" fmla="*/ 48215 h 733753"/>
                <a:gd name="connsiteX153" fmla="*/ 257108 w 873219"/>
                <a:gd name="connsiteY153" fmla="*/ 42987 h 733753"/>
                <a:gd name="connsiteX154" fmla="*/ 339226 w 873219"/>
                <a:gd name="connsiteY154" fmla="*/ 19132 h 733753"/>
                <a:gd name="connsiteX155" fmla="*/ 418170 w 873219"/>
                <a:gd name="connsiteY155" fmla="*/ 40262 h 733753"/>
                <a:gd name="connsiteX156" fmla="*/ 426207 w 873219"/>
                <a:gd name="connsiteY156" fmla="*/ 41824 h 733753"/>
                <a:gd name="connsiteX157" fmla="*/ 470585 w 873219"/>
                <a:gd name="connsiteY157" fmla="*/ 36122 h 733753"/>
                <a:gd name="connsiteX158" fmla="*/ 555003 w 873219"/>
                <a:gd name="connsiteY158" fmla="*/ 62255 h 733753"/>
                <a:gd name="connsiteX159" fmla="*/ 562854 w 873219"/>
                <a:gd name="connsiteY159" fmla="*/ 79384 h 733753"/>
                <a:gd name="connsiteX160" fmla="*/ 562854 w 873219"/>
                <a:gd name="connsiteY160" fmla="*/ 83198 h 733753"/>
                <a:gd name="connsiteX161" fmla="*/ 569607 w 873219"/>
                <a:gd name="connsiteY161" fmla="*/ 92309 h 733753"/>
                <a:gd name="connsiteX162" fmla="*/ 624907 w 873219"/>
                <a:gd name="connsiteY162" fmla="*/ 128406 h 733753"/>
                <a:gd name="connsiteX163" fmla="*/ 631040 w 873219"/>
                <a:gd name="connsiteY163" fmla="*/ 132921 h 733753"/>
                <a:gd name="connsiteX164" fmla="*/ 687753 w 873219"/>
                <a:gd name="connsiteY164" fmla="*/ 171239 h 733753"/>
                <a:gd name="connsiteX165" fmla="*/ 598759 w 873219"/>
                <a:gd name="connsiteY165" fmla="*/ 212772 h 733753"/>
                <a:gd name="connsiteX166" fmla="*/ 568738 w 873219"/>
                <a:gd name="connsiteY166" fmla="*/ 209964 h 733753"/>
                <a:gd name="connsiteX167" fmla="*/ 528605 w 873219"/>
                <a:gd name="connsiteY167" fmla="*/ 199428 h 733753"/>
                <a:gd name="connsiteX168" fmla="*/ 528403 w 873219"/>
                <a:gd name="connsiteY168" fmla="*/ 199421 h 733753"/>
                <a:gd name="connsiteX169" fmla="*/ 525405 w 873219"/>
                <a:gd name="connsiteY169" fmla="*/ 199233 h 733753"/>
                <a:gd name="connsiteX170" fmla="*/ 522196 w 873219"/>
                <a:gd name="connsiteY170" fmla="*/ 199591 h 733753"/>
                <a:gd name="connsiteX171" fmla="*/ 503425 w 873219"/>
                <a:gd name="connsiteY171" fmla="*/ 200972 h 733753"/>
                <a:gd name="connsiteX172" fmla="*/ 435257 w 873219"/>
                <a:gd name="connsiteY172" fmla="*/ 193793 h 733753"/>
                <a:gd name="connsiteX173" fmla="*/ 435221 w 873219"/>
                <a:gd name="connsiteY173" fmla="*/ 193783 h 733753"/>
                <a:gd name="connsiteX174" fmla="*/ 435006 w 873219"/>
                <a:gd name="connsiteY174" fmla="*/ 193722 h 733753"/>
                <a:gd name="connsiteX175" fmla="*/ 434348 w 873219"/>
                <a:gd name="connsiteY175" fmla="*/ 193658 h 733753"/>
                <a:gd name="connsiteX176" fmla="*/ 431527 w 873219"/>
                <a:gd name="connsiteY176" fmla="*/ 193252 h 733753"/>
                <a:gd name="connsiteX177" fmla="*/ 412347 w 873219"/>
                <a:gd name="connsiteY177" fmla="*/ 194354 h 733753"/>
                <a:gd name="connsiteX178" fmla="*/ 409698 w 873219"/>
                <a:gd name="connsiteY178" fmla="*/ 181143 h 733753"/>
                <a:gd name="connsiteX179" fmla="*/ 399296 w 873219"/>
                <a:gd name="connsiteY179" fmla="*/ 181038 h 733753"/>
                <a:gd name="connsiteX180" fmla="*/ 378991 w 873219"/>
                <a:gd name="connsiteY180" fmla="*/ 193987 h 733753"/>
                <a:gd name="connsiteX181" fmla="*/ 365021 w 873219"/>
                <a:gd name="connsiteY181" fmla="*/ 200179 h 733753"/>
                <a:gd name="connsiteX182" fmla="*/ 318599 w 873219"/>
                <a:gd name="connsiteY182" fmla="*/ 207158 h 733753"/>
                <a:gd name="connsiteX183" fmla="*/ 318057 w 873219"/>
                <a:gd name="connsiteY183" fmla="*/ 207266 h 733753"/>
                <a:gd name="connsiteX184" fmla="*/ 318051 w 873219"/>
                <a:gd name="connsiteY184" fmla="*/ 207208 h 733753"/>
                <a:gd name="connsiteX185" fmla="*/ 274556 w 873219"/>
                <a:gd name="connsiteY185" fmla="*/ 206134 h 733753"/>
                <a:gd name="connsiteX186" fmla="*/ 274538 w 873219"/>
                <a:gd name="connsiteY186" fmla="*/ 206218 h 733753"/>
                <a:gd name="connsiteX187" fmla="*/ 273765 w 873219"/>
                <a:gd name="connsiteY187" fmla="*/ 206014 h 733753"/>
                <a:gd name="connsiteX188" fmla="*/ 252338 w 873219"/>
                <a:gd name="connsiteY188" fmla="*/ 202039 h 733753"/>
                <a:gd name="connsiteX189" fmla="*/ 220326 w 873219"/>
                <a:gd name="connsiteY189" fmla="*/ 190763 h 733753"/>
                <a:gd name="connsiteX190" fmla="*/ 208194 w 873219"/>
                <a:gd name="connsiteY190" fmla="*/ 196620 h 733753"/>
                <a:gd name="connsiteX191" fmla="*/ 214000 w 873219"/>
                <a:gd name="connsiteY191" fmla="*/ 208734 h 733753"/>
                <a:gd name="connsiteX192" fmla="*/ 230420 w 873219"/>
                <a:gd name="connsiteY192" fmla="*/ 214518 h 733753"/>
                <a:gd name="connsiteX193" fmla="*/ 210006 w 873219"/>
                <a:gd name="connsiteY193" fmla="*/ 225375 h 733753"/>
                <a:gd name="connsiteX194" fmla="*/ 209339 w 873219"/>
                <a:gd name="connsiteY194" fmla="*/ 225776 h 733753"/>
                <a:gd name="connsiteX195" fmla="*/ 209299 w 873219"/>
                <a:gd name="connsiteY195" fmla="*/ 225696 h 733753"/>
                <a:gd name="connsiteX196" fmla="*/ 147403 w 873219"/>
                <a:gd name="connsiteY196" fmla="*/ 242319 h 733753"/>
                <a:gd name="connsiteX197" fmla="*/ 135010 w 873219"/>
                <a:gd name="connsiteY197" fmla="*/ 241384 h 733753"/>
                <a:gd name="connsiteX198" fmla="*/ 24445 w 873219"/>
                <a:gd name="connsiteY198" fmla="*/ 184048 h 733753"/>
                <a:gd name="connsiteX199" fmla="*/ 433540 w 873219"/>
                <a:gd name="connsiteY199" fmla="*/ 213199 h 733753"/>
                <a:gd name="connsiteX200" fmla="*/ 491058 w 873219"/>
                <a:gd name="connsiteY200" fmla="*/ 219938 h 733753"/>
                <a:gd name="connsiteX201" fmla="*/ 438661 w 873219"/>
                <a:gd name="connsiteY201" fmla="*/ 236510 h 733753"/>
                <a:gd name="connsiteX202" fmla="*/ 397138 w 873219"/>
                <a:gd name="connsiteY202" fmla="*/ 247597 h 733753"/>
                <a:gd name="connsiteX203" fmla="*/ 433540 w 873219"/>
                <a:gd name="connsiteY203" fmla="*/ 213199 h 733753"/>
                <a:gd name="connsiteX204" fmla="*/ 348136 w 873219"/>
                <a:gd name="connsiteY204" fmla="*/ 223297 h 733753"/>
                <a:gd name="connsiteX205" fmla="*/ 339574 w 873219"/>
                <a:gd name="connsiteY205" fmla="*/ 235022 h 733753"/>
                <a:gd name="connsiteX206" fmla="*/ 335565 w 873219"/>
                <a:gd name="connsiteY206" fmla="*/ 224911 h 733753"/>
                <a:gd name="connsiteX207" fmla="*/ 348136 w 873219"/>
                <a:gd name="connsiteY207" fmla="*/ 223297 h 733753"/>
                <a:gd name="connsiteX208" fmla="*/ 252505 w 873219"/>
                <a:gd name="connsiteY208" fmla="*/ 221632 h 733753"/>
                <a:gd name="connsiteX209" fmla="*/ 268640 w 873219"/>
                <a:gd name="connsiteY209" fmla="*/ 224584 h 733753"/>
                <a:gd name="connsiteX210" fmla="*/ 286075 w 873219"/>
                <a:gd name="connsiteY210" fmla="*/ 251053 h 733753"/>
                <a:gd name="connsiteX211" fmla="*/ 238288 w 873219"/>
                <a:gd name="connsiteY211" fmla="*/ 232230 h 733753"/>
                <a:gd name="connsiteX212" fmla="*/ 252505 w 873219"/>
                <a:gd name="connsiteY212" fmla="*/ 221632 h 733753"/>
                <a:gd name="connsiteX213" fmla="*/ 307637 w 873219"/>
                <a:gd name="connsiteY213" fmla="*/ 321732 h 733753"/>
                <a:gd name="connsiteX214" fmla="*/ 194993 w 873219"/>
                <a:gd name="connsiteY214" fmla="*/ 252798 h 733753"/>
                <a:gd name="connsiteX215" fmla="*/ 214351 w 873219"/>
                <a:gd name="connsiteY215" fmla="*/ 244432 h 733753"/>
                <a:gd name="connsiteX216" fmla="*/ 293609 w 873219"/>
                <a:gd name="connsiteY216" fmla="*/ 276162 h 733753"/>
                <a:gd name="connsiteX217" fmla="*/ 306542 w 873219"/>
                <a:gd name="connsiteY217" fmla="*/ 272406 h 733753"/>
                <a:gd name="connsiteX218" fmla="*/ 307721 w 873219"/>
                <a:gd name="connsiteY218" fmla="*/ 267815 h 733753"/>
                <a:gd name="connsiteX219" fmla="*/ 295469 w 873219"/>
                <a:gd name="connsiteY219" fmla="*/ 227179 h 733753"/>
                <a:gd name="connsiteX220" fmla="*/ 299010 w 873219"/>
                <a:gd name="connsiteY220" fmla="*/ 227240 h 733753"/>
                <a:gd name="connsiteX221" fmla="*/ 314705 w 873219"/>
                <a:gd name="connsiteY221" fmla="*/ 226643 h 733753"/>
                <a:gd name="connsiteX222" fmla="*/ 325129 w 873219"/>
                <a:gd name="connsiteY222" fmla="*/ 255602 h 733753"/>
                <a:gd name="connsiteX223" fmla="*/ 326371 w 873219"/>
                <a:gd name="connsiteY223" fmla="*/ 261289 h 733753"/>
                <a:gd name="connsiteX224" fmla="*/ 337797 w 873219"/>
                <a:gd name="connsiteY224" fmla="*/ 268425 h 733753"/>
                <a:gd name="connsiteX225" fmla="*/ 343816 w 873219"/>
                <a:gd name="connsiteY225" fmla="*/ 264051 h 733753"/>
                <a:gd name="connsiteX226" fmla="*/ 380975 w 873219"/>
                <a:gd name="connsiteY226" fmla="*/ 215831 h 733753"/>
                <a:gd name="connsiteX227" fmla="*/ 402222 w 873219"/>
                <a:gd name="connsiteY227" fmla="*/ 214119 h 733753"/>
                <a:gd name="connsiteX228" fmla="*/ 364754 w 873219"/>
                <a:gd name="connsiteY228" fmla="*/ 260768 h 733753"/>
                <a:gd name="connsiteX229" fmla="*/ 367924 w 873219"/>
                <a:gd name="connsiteY229" fmla="*/ 273857 h 733753"/>
                <a:gd name="connsiteX230" fmla="*/ 376322 w 873219"/>
                <a:gd name="connsiteY230" fmla="*/ 274609 h 733753"/>
                <a:gd name="connsiteX231" fmla="*/ 443345 w 873219"/>
                <a:gd name="connsiteY231" fmla="*/ 254973 h 733753"/>
                <a:gd name="connsiteX232" fmla="*/ 443420 w 873219"/>
                <a:gd name="connsiteY232" fmla="*/ 254954 h 733753"/>
                <a:gd name="connsiteX233" fmla="*/ 529826 w 873219"/>
                <a:gd name="connsiteY233" fmla="*/ 219313 h 733753"/>
                <a:gd name="connsiteX234" fmla="*/ 548717 w 873219"/>
                <a:gd name="connsiteY234" fmla="*/ 224200 h 733753"/>
                <a:gd name="connsiteX235" fmla="*/ 457693 w 873219"/>
                <a:gd name="connsiteY235" fmla="*/ 264865 h 733753"/>
                <a:gd name="connsiteX236" fmla="*/ 363391 w 873219"/>
                <a:gd name="connsiteY236" fmla="*/ 306518 h 733753"/>
                <a:gd name="connsiteX237" fmla="*/ 362629 w 873219"/>
                <a:gd name="connsiteY237" fmla="*/ 310048 h 733753"/>
                <a:gd name="connsiteX238" fmla="*/ 361815 w 873219"/>
                <a:gd name="connsiteY238" fmla="*/ 348436 h 733753"/>
                <a:gd name="connsiteX239" fmla="*/ 363455 w 873219"/>
                <a:gd name="connsiteY239" fmla="*/ 414075 h 733753"/>
                <a:gd name="connsiteX240" fmla="*/ 305948 w 873219"/>
                <a:gd name="connsiteY240" fmla="*/ 421337 h 733753"/>
                <a:gd name="connsiteX241" fmla="*/ 307721 w 873219"/>
                <a:gd name="connsiteY241" fmla="*/ 323151 h 733753"/>
                <a:gd name="connsiteX242" fmla="*/ 307637 w 873219"/>
                <a:gd name="connsiteY242" fmla="*/ 321732 h 733753"/>
                <a:gd name="connsiteX243" fmla="*/ 240125 w 873219"/>
                <a:gd name="connsiteY243" fmla="*/ 351660 h 733753"/>
                <a:gd name="connsiteX244" fmla="*/ 205434 w 873219"/>
                <a:gd name="connsiteY244" fmla="*/ 406726 h 733753"/>
                <a:gd name="connsiteX245" fmla="*/ 188086 w 873219"/>
                <a:gd name="connsiteY245" fmla="*/ 441557 h 733753"/>
                <a:gd name="connsiteX246" fmla="*/ 172589 w 873219"/>
                <a:gd name="connsiteY246" fmla="*/ 484541 h 733753"/>
                <a:gd name="connsiteX247" fmla="*/ 162881 w 873219"/>
                <a:gd name="connsiteY247" fmla="*/ 511852 h 733753"/>
                <a:gd name="connsiteX248" fmla="*/ 119794 w 873219"/>
                <a:gd name="connsiteY248" fmla="*/ 569435 h 733753"/>
                <a:gd name="connsiteX249" fmla="*/ 96843 w 873219"/>
                <a:gd name="connsiteY249" fmla="*/ 447266 h 733753"/>
                <a:gd name="connsiteX250" fmla="*/ 240125 w 873219"/>
                <a:gd name="connsiteY250" fmla="*/ 351660 h 733753"/>
                <a:gd name="connsiteX251" fmla="*/ 30165 w 873219"/>
                <a:gd name="connsiteY251" fmla="*/ 654321 h 733753"/>
                <a:gd name="connsiteX252" fmla="*/ 27663 w 873219"/>
                <a:gd name="connsiteY252" fmla="*/ 632048 h 733753"/>
                <a:gd name="connsiteX253" fmla="*/ 19394 w 873219"/>
                <a:gd name="connsiteY253" fmla="*/ 457952 h 733753"/>
                <a:gd name="connsiteX254" fmla="*/ 19394 w 873219"/>
                <a:gd name="connsiteY254" fmla="*/ 319663 h 733753"/>
                <a:gd name="connsiteX255" fmla="*/ 102140 w 873219"/>
                <a:gd name="connsiteY255" fmla="*/ 602817 h 733753"/>
                <a:gd name="connsiteX256" fmla="*/ 93418 w 873219"/>
                <a:gd name="connsiteY256" fmla="*/ 623207 h 733753"/>
                <a:gd name="connsiteX257" fmla="*/ 76288 w 873219"/>
                <a:gd name="connsiteY257" fmla="*/ 685543 h 733753"/>
                <a:gd name="connsiteX258" fmla="*/ 72267 w 873219"/>
                <a:gd name="connsiteY258" fmla="*/ 709747 h 733753"/>
                <a:gd name="connsiteX259" fmla="*/ 30165 w 873219"/>
                <a:gd name="connsiteY259" fmla="*/ 654321 h 733753"/>
                <a:gd name="connsiteX260" fmla="*/ 225260 w 873219"/>
                <a:gd name="connsiteY260" fmla="*/ 662209 h 733753"/>
                <a:gd name="connsiteX261" fmla="*/ 154814 w 873219"/>
                <a:gd name="connsiteY261" fmla="*/ 714704 h 733753"/>
                <a:gd name="connsiteX262" fmla="*/ 97710 w 873219"/>
                <a:gd name="connsiteY262" fmla="*/ 714704 h 733753"/>
                <a:gd name="connsiteX263" fmla="*/ 90814 w 873219"/>
                <a:gd name="connsiteY263" fmla="*/ 714337 h 733753"/>
                <a:gd name="connsiteX264" fmla="*/ 95068 w 873219"/>
                <a:gd name="connsiteY264" fmla="*/ 688720 h 733753"/>
                <a:gd name="connsiteX265" fmla="*/ 111188 w 873219"/>
                <a:gd name="connsiteY265" fmla="*/ 630071 h 733753"/>
                <a:gd name="connsiteX266" fmla="*/ 385692 w 873219"/>
                <a:gd name="connsiteY266" fmla="*/ 435190 h 733753"/>
                <a:gd name="connsiteX267" fmla="*/ 343202 w 873219"/>
                <a:gd name="connsiteY267" fmla="*/ 471765 h 733753"/>
                <a:gd name="connsiteX268" fmla="*/ 312738 w 873219"/>
                <a:gd name="connsiteY268" fmla="*/ 468290 h 733753"/>
                <a:gd name="connsiteX269" fmla="*/ 302196 w 873219"/>
                <a:gd name="connsiteY269" fmla="*/ 476676 h 733753"/>
                <a:gd name="connsiteX270" fmla="*/ 302716 w 873219"/>
                <a:gd name="connsiteY270" fmla="*/ 481029 h 733753"/>
                <a:gd name="connsiteX271" fmla="*/ 311748 w 873219"/>
                <a:gd name="connsiteY271" fmla="*/ 505711 h 733753"/>
                <a:gd name="connsiteX272" fmla="*/ 282843 w 873219"/>
                <a:gd name="connsiteY272" fmla="*/ 544179 h 733753"/>
                <a:gd name="connsiteX273" fmla="*/ 266584 w 873219"/>
                <a:gd name="connsiteY273" fmla="*/ 569651 h 733753"/>
                <a:gd name="connsiteX274" fmla="*/ 236144 w 873219"/>
                <a:gd name="connsiteY274" fmla="*/ 555234 h 733753"/>
                <a:gd name="connsiteX275" fmla="*/ 223458 w 873219"/>
                <a:gd name="connsiteY275" fmla="*/ 559764 h 733753"/>
                <a:gd name="connsiteX276" fmla="*/ 222721 w 873219"/>
                <a:gd name="connsiteY276" fmla="*/ 565684 h 733753"/>
                <a:gd name="connsiteX277" fmla="*/ 234683 w 873219"/>
                <a:gd name="connsiteY277" fmla="*/ 626356 h 733753"/>
                <a:gd name="connsiteX278" fmla="*/ 230590 w 873219"/>
                <a:gd name="connsiteY278" fmla="*/ 642336 h 733753"/>
                <a:gd name="connsiteX279" fmla="*/ 813112 w 873219"/>
                <a:gd name="connsiteY279" fmla="*/ 260080 h 733753"/>
                <a:gd name="connsiteX280" fmla="*/ 827796 w 873219"/>
                <a:gd name="connsiteY280" fmla="*/ 163393 h 733753"/>
                <a:gd name="connsiteX281" fmla="*/ 841144 w 873219"/>
                <a:gd name="connsiteY281" fmla="*/ 257150 h 733753"/>
                <a:gd name="connsiteX282" fmla="*/ 838933 w 873219"/>
                <a:gd name="connsiteY282" fmla="*/ 303713 h 733753"/>
                <a:gd name="connsiteX283" fmla="*/ 833200 w 873219"/>
                <a:gd name="connsiteY283" fmla="*/ 296957 h 733753"/>
                <a:gd name="connsiteX284" fmla="*/ 825926 w 873219"/>
                <a:gd name="connsiteY284" fmla="*/ 289460 h 733753"/>
                <a:gd name="connsiteX285" fmla="*/ 815103 w 873219"/>
                <a:gd name="connsiteY285" fmla="*/ 279535 h 733753"/>
                <a:gd name="connsiteX286" fmla="*/ 813512 w 873219"/>
                <a:gd name="connsiteY286" fmla="*/ 278347 h 733753"/>
                <a:gd name="connsiteX287" fmla="*/ 813633 w 873219"/>
                <a:gd name="connsiteY287" fmla="*/ 277632 h 733753"/>
                <a:gd name="connsiteX288" fmla="*/ 713603 w 873219"/>
                <a:gd name="connsiteY288" fmla="*/ 261560 h 733753"/>
                <a:gd name="connsiteX289" fmla="*/ 803090 w 873219"/>
                <a:gd name="connsiteY289" fmla="*/ 294320 h 733753"/>
                <a:gd name="connsiteX290" fmla="*/ 812708 w 873219"/>
                <a:gd name="connsiteY290" fmla="*/ 303170 h 733753"/>
                <a:gd name="connsiteX291" fmla="*/ 819080 w 873219"/>
                <a:gd name="connsiteY291" fmla="*/ 309747 h 733753"/>
                <a:gd name="connsiteX292" fmla="*/ 847976 w 873219"/>
                <a:gd name="connsiteY292" fmla="*/ 427526 h 733753"/>
                <a:gd name="connsiteX293" fmla="*/ 840502 w 873219"/>
                <a:gd name="connsiteY293" fmla="*/ 461143 h 733753"/>
                <a:gd name="connsiteX294" fmla="*/ 796379 w 873219"/>
                <a:gd name="connsiteY294" fmla="*/ 414076 h 733753"/>
                <a:gd name="connsiteX295" fmla="*/ 780856 w 873219"/>
                <a:gd name="connsiteY295" fmla="*/ 404324 h 733753"/>
                <a:gd name="connsiteX296" fmla="*/ 763348 w 873219"/>
                <a:gd name="connsiteY296" fmla="*/ 372041 h 733753"/>
                <a:gd name="connsiteX297" fmla="*/ 713603 w 873219"/>
                <a:gd name="connsiteY297" fmla="*/ 261560 h 733753"/>
                <a:gd name="connsiteX298" fmla="*/ 640835 w 873219"/>
                <a:gd name="connsiteY298" fmla="*/ 396704 h 733753"/>
                <a:gd name="connsiteX299" fmla="*/ 746917 w 873219"/>
                <a:gd name="connsiteY299" fmla="*/ 411011 h 733753"/>
                <a:gd name="connsiteX300" fmla="*/ 758116 w 873219"/>
                <a:gd name="connsiteY300" fmla="*/ 414773 h 733753"/>
                <a:gd name="connsiteX301" fmla="*/ 759758 w 873219"/>
                <a:gd name="connsiteY301" fmla="*/ 415425 h 733753"/>
                <a:gd name="connsiteX302" fmla="*/ 784887 w 873219"/>
                <a:gd name="connsiteY302" fmla="*/ 429265 h 733753"/>
                <a:gd name="connsiteX303" fmla="*/ 847101 w 873219"/>
                <a:gd name="connsiteY303" fmla="*/ 519390 h 733753"/>
                <a:gd name="connsiteX304" fmla="*/ 850334 w 873219"/>
                <a:gd name="connsiteY304" fmla="*/ 590861 h 733753"/>
                <a:gd name="connsiteX305" fmla="*/ 846711 w 873219"/>
                <a:gd name="connsiteY305" fmla="*/ 612578 h 733753"/>
                <a:gd name="connsiteX306" fmla="*/ 775241 w 873219"/>
                <a:gd name="connsiteY306" fmla="*/ 545895 h 733753"/>
                <a:gd name="connsiteX307" fmla="*/ 741662 w 873219"/>
                <a:gd name="connsiteY307" fmla="*/ 533184 h 733753"/>
                <a:gd name="connsiteX308" fmla="*/ 740336 w 873219"/>
                <a:gd name="connsiteY308" fmla="*/ 532821 h 733753"/>
                <a:gd name="connsiteX309" fmla="*/ 724706 w 873219"/>
                <a:gd name="connsiteY309" fmla="*/ 529251 h 733753"/>
                <a:gd name="connsiteX310" fmla="*/ 706045 w 873219"/>
                <a:gd name="connsiteY310" fmla="*/ 505800 h 733753"/>
                <a:gd name="connsiteX311" fmla="*/ 640835 w 873219"/>
                <a:gd name="connsiteY311" fmla="*/ 396704 h 733753"/>
                <a:gd name="connsiteX312" fmla="*/ 371416 w 873219"/>
                <a:gd name="connsiteY312" fmla="*/ 676178 h 733753"/>
                <a:gd name="connsiteX313" fmla="*/ 424342 w 873219"/>
                <a:gd name="connsiteY313" fmla="*/ 634398 h 733753"/>
                <a:gd name="connsiteX314" fmla="*/ 457708 w 873219"/>
                <a:gd name="connsiteY314" fmla="*/ 583537 h 733753"/>
                <a:gd name="connsiteX315" fmla="*/ 476566 w 873219"/>
                <a:gd name="connsiteY315" fmla="*/ 612460 h 733753"/>
                <a:gd name="connsiteX316" fmla="*/ 535675 w 873219"/>
                <a:gd name="connsiteY316" fmla="*/ 666926 h 733753"/>
                <a:gd name="connsiteX317" fmla="*/ 543603 w 873219"/>
                <a:gd name="connsiteY317" fmla="*/ 714704 h 733753"/>
                <a:gd name="connsiteX318" fmla="*/ 536563 w 873219"/>
                <a:gd name="connsiteY318" fmla="*/ 714704 h 733753"/>
                <a:gd name="connsiteX319" fmla="*/ 506847 w 873219"/>
                <a:gd name="connsiteY319" fmla="*/ 669510 h 733753"/>
                <a:gd name="connsiteX320" fmla="*/ 446631 w 873219"/>
                <a:gd name="connsiteY320" fmla="*/ 632071 h 733753"/>
                <a:gd name="connsiteX321" fmla="*/ 457233 w 873219"/>
                <a:gd name="connsiteY321" fmla="*/ 650682 h 733753"/>
                <a:gd name="connsiteX322" fmla="*/ 382717 w 873219"/>
                <a:gd name="connsiteY322" fmla="*/ 714704 h 733753"/>
                <a:gd name="connsiteX323" fmla="*/ 364958 w 873219"/>
                <a:gd name="connsiteY323" fmla="*/ 714704 h 733753"/>
                <a:gd name="connsiteX324" fmla="*/ 371416 w 873219"/>
                <a:gd name="connsiteY324" fmla="*/ 676178 h 733753"/>
                <a:gd name="connsiteX325" fmla="*/ 489867 w 873219"/>
                <a:gd name="connsiteY325" fmla="*/ 690067 h 733753"/>
                <a:gd name="connsiteX326" fmla="*/ 521037 w 873219"/>
                <a:gd name="connsiteY326" fmla="*/ 714704 h 733753"/>
                <a:gd name="connsiteX327" fmla="*/ 420235 w 873219"/>
                <a:gd name="connsiteY327" fmla="*/ 714704 h 733753"/>
                <a:gd name="connsiteX328" fmla="*/ 458917 w 873219"/>
                <a:gd name="connsiteY328" fmla="*/ 653249 h 733753"/>
                <a:gd name="connsiteX329" fmla="*/ 489867 w 873219"/>
                <a:gd name="connsiteY329" fmla="*/ 690067 h 733753"/>
                <a:gd name="connsiteX330" fmla="*/ 598468 w 873219"/>
                <a:gd name="connsiteY330" fmla="*/ 665112 h 733753"/>
                <a:gd name="connsiteX331" fmla="*/ 576391 w 873219"/>
                <a:gd name="connsiteY331" fmla="*/ 714704 h 733753"/>
                <a:gd name="connsiteX332" fmla="*/ 563009 w 873219"/>
                <a:gd name="connsiteY332" fmla="*/ 714704 h 733753"/>
                <a:gd name="connsiteX333" fmla="*/ 554946 w 873219"/>
                <a:gd name="connsiteY333" fmla="*/ 667266 h 733753"/>
                <a:gd name="connsiteX334" fmla="*/ 603783 w 873219"/>
                <a:gd name="connsiteY334" fmla="*/ 605406 h 733753"/>
                <a:gd name="connsiteX335" fmla="*/ 616034 w 873219"/>
                <a:gd name="connsiteY335" fmla="*/ 578961 h 733753"/>
                <a:gd name="connsiteX336" fmla="*/ 637342 w 873219"/>
                <a:gd name="connsiteY336" fmla="*/ 610850 h 733753"/>
                <a:gd name="connsiteX337" fmla="*/ 640649 w 873219"/>
                <a:gd name="connsiteY337" fmla="*/ 615212 h 733753"/>
                <a:gd name="connsiteX338" fmla="*/ 643649 w 873219"/>
                <a:gd name="connsiteY338" fmla="*/ 618975 h 733753"/>
                <a:gd name="connsiteX339" fmla="*/ 598467 w 873219"/>
                <a:gd name="connsiteY339" fmla="*/ 665112 h 733753"/>
                <a:gd name="connsiteX340" fmla="*/ 854171 w 873219"/>
                <a:gd name="connsiteY340" fmla="*/ 714652 h 733753"/>
                <a:gd name="connsiteX341" fmla="*/ 708142 w 873219"/>
                <a:gd name="connsiteY341" fmla="*/ 658982 h 733753"/>
                <a:gd name="connsiteX342" fmla="*/ 696231 w 873219"/>
                <a:gd name="connsiteY342" fmla="*/ 648592 h 733753"/>
                <a:gd name="connsiteX343" fmla="*/ 655801 w 873219"/>
                <a:gd name="connsiteY343" fmla="*/ 603669 h 733753"/>
                <a:gd name="connsiteX344" fmla="*/ 652573 w 873219"/>
                <a:gd name="connsiteY344" fmla="*/ 599408 h 733753"/>
                <a:gd name="connsiteX345" fmla="*/ 628465 w 873219"/>
                <a:gd name="connsiteY345" fmla="*/ 563058 h 733753"/>
                <a:gd name="connsiteX346" fmla="*/ 623035 w 873219"/>
                <a:gd name="connsiteY346" fmla="*/ 549964 h 733753"/>
                <a:gd name="connsiteX347" fmla="*/ 622087 w 873219"/>
                <a:gd name="connsiteY347" fmla="*/ 546482 h 733753"/>
                <a:gd name="connsiteX348" fmla="*/ 641351 w 873219"/>
                <a:gd name="connsiteY348" fmla="*/ 544617 h 733753"/>
                <a:gd name="connsiteX349" fmla="*/ 703775 w 873219"/>
                <a:gd name="connsiteY349" fmla="*/ 545477 h 733753"/>
                <a:gd name="connsiteX350" fmla="*/ 735257 w 873219"/>
                <a:gd name="connsiteY350" fmla="*/ 551183 h 733753"/>
                <a:gd name="connsiteX351" fmla="*/ 735266 w 873219"/>
                <a:gd name="connsiteY351" fmla="*/ 551188 h 733753"/>
                <a:gd name="connsiteX352" fmla="*/ 736587 w 873219"/>
                <a:gd name="connsiteY352" fmla="*/ 551551 h 733753"/>
                <a:gd name="connsiteX353" fmla="*/ 804388 w 873219"/>
                <a:gd name="connsiteY353" fmla="*/ 592619 h 733753"/>
                <a:gd name="connsiteX354" fmla="*/ 854171 w 873219"/>
                <a:gd name="connsiteY354" fmla="*/ 711463 h 73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873219" h="733753">
                  <a:moveTo>
                    <a:pt x="249156" y="646592"/>
                  </a:moveTo>
                  <a:cubicBezTo>
                    <a:pt x="250255" y="641186"/>
                    <a:pt x="251667" y="635848"/>
                    <a:pt x="253384" y="630607"/>
                  </a:cubicBezTo>
                  <a:cubicBezTo>
                    <a:pt x="254063" y="628903"/>
                    <a:pt x="254235" y="627039"/>
                    <a:pt x="253877" y="625239"/>
                  </a:cubicBezTo>
                  <a:lnTo>
                    <a:pt x="245063" y="580539"/>
                  </a:lnTo>
                  <a:lnTo>
                    <a:pt x="266360" y="590627"/>
                  </a:lnTo>
                  <a:cubicBezTo>
                    <a:pt x="270881" y="592771"/>
                    <a:pt x="276290" y="591050"/>
                    <a:pt x="278741" y="586688"/>
                  </a:cubicBezTo>
                  <a:cubicBezTo>
                    <a:pt x="284470" y="576507"/>
                    <a:pt x="290782" y="566401"/>
                    <a:pt x="298596" y="554894"/>
                  </a:cubicBezTo>
                  <a:cubicBezTo>
                    <a:pt x="298963" y="554354"/>
                    <a:pt x="299346" y="553834"/>
                    <a:pt x="299716" y="553294"/>
                  </a:cubicBezTo>
                  <a:cubicBezTo>
                    <a:pt x="301967" y="574177"/>
                    <a:pt x="307431" y="594585"/>
                    <a:pt x="315914" y="613799"/>
                  </a:cubicBezTo>
                  <a:cubicBezTo>
                    <a:pt x="325638" y="634128"/>
                    <a:pt x="338195" y="652977"/>
                    <a:pt x="353209" y="669782"/>
                  </a:cubicBezTo>
                  <a:cubicBezTo>
                    <a:pt x="350336" y="684665"/>
                    <a:pt x="347878" y="699669"/>
                    <a:pt x="345697" y="714703"/>
                  </a:cubicBezTo>
                  <a:lnTo>
                    <a:pt x="335025" y="714703"/>
                  </a:lnTo>
                  <a:cubicBezTo>
                    <a:pt x="331870" y="703126"/>
                    <a:pt x="327825" y="691810"/>
                    <a:pt x="322925" y="680856"/>
                  </a:cubicBezTo>
                  <a:cubicBezTo>
                    <a:pt x="311935" y="657100"/>
                    <a:pt x="296692" y="635557"/>
                    <a:pt x="277948" y="617287"/>
                  </a:cubicBezTo>
                  <a:cubicBezTo>
                    <a:pt x="279745" y="643910"/>
                    <a:pt x="286183" y="670015"/>
                    <a:pt x="296974" y="694421"/>
                  </a:cubicBezTo>
                  <a:cubicBezTo>
                    <a:pt x="300200" y="701373"/>
                    <a:pt x="303803" y="708144"/>
                    <a:pt x="307766" y="714704"/>
                  </a:cubicBezTo>
                  <a:lnTo>
                    <a:pt x="251152" y="714703"/>
                  </a:lnTo>
                  <a:cubicBezTo>
                    <a:pt x="245891" y="714703"/>
                    <a:pt x="241627" y="718968"/>
                    <a:pt x="241627" y="724228"/>
                  </a:cubicBezTo>
                  <a:cubicBezTo>
                    <a:pt x="241627" y="729489"/>
                    <a:pt x="245891" y="733753"/>
                    <a:pt x="251152" y="733753"/>
                  </a:cubicBezTo>
                  <a:lnTo>
                    <a:pt x="721123" y="733753"/>
                  </a:lnTo>
                  <a:cubicBezTo>
                    <a:pt x="726384" y="733753"/>
                    <a:pt x="730648" y="729489"/>
                    <a:pt x="730648" y="724228"/>
                  </a:cubicBezTo>
                  <a:cubicBezTo>
                    <a:pt x="730648" y="718968"/>
                    <a:pt x="726384" y="714703"/>
                    <a:pt x="721123" y="714703"/>
                  </a:cubicBezTo>
                  <a:lnTo>
                    <a:pt x="596756" y="714703"/>
                  </a:lnTo>
                  <a:cubicBezTo>
                    <a:pt x="605863" y="705067"/>
                    <a:pt x="614291" y="694812"/>
                    <a:pt x="621982" y="684011"/>
                  </a:cubicBezTo>
                  <a:cubicBezTo>
                    <a:pt x="634110" y="666765"/>
                    <a:pt x="643851" y="647958"/>
                    <a:pt x="650940" y="628101"/>
                  </a:cubicBezTo>
                  <a:cubicBezTo>
                    <a:pt x="661025" y="640259"/>
                    <a:pt x="671846" y="651786"/>
                    <a:pt x="683344" y="662618"/>
                  </a:cubicBezTo>
                  <a:cubicBezTo>
                    <a:pt x="687390" y="666250"/>
                    <a:pt x="691567" y="669888"/>
                    <a:pt x="695789" y="673482"/>
                  </a:cubicBezTo>
                  <a:cubicBezTo>
                    <a:pt x="741296" y="712301"/>
                    <a:pt x="799128" y="733664"/>
                    <a:pt x="858942" y="733753"/>
                  </a:cubicBezTo>
                  <a:lnTo>
                    <a:pt x="863695" y="733753"/>
                  </a:lnTo>
                  <a:cubicBezTo>
                    <a:pt x="868956" y="733753"/>
                    <a:pt x="873220" y="729489"/>
                    <a:pt x="873220" y="724228"/>
                  </a:cubicBezTo>
                  <a:lnTo>
                    <a:pt x="873220" y="707373"/>
                  </a:lnTo>
                  <a:cubicBezTo>
                    <a:pt x="873211" y="685051"/>
                    <a:pt x="869103" y="662918"/>
                    <a:pt x="861101" y="642078"/>
                  </a:cubicBezTo>
                  <a:lnTo>
                    <a:pt x="869123" y="593994"/>
                  </a:lnTo>
                  <a:cubicBezTo>
                    <a:pt x="873959" y="567399"/>
                    <a:pt x="872679" y="540051"/>
                    <a:pt x="865379" y="514023"/>
                  </a:cubicBezTo>
                  <a:cubicBezTo>
                    <a:pt x="862519" y="504323"/>
                    <a:pt x="858896" y="494866"/>
                    <a:pt x="854545" y="485737"/>
                  </a:cubicBezTo>
                  <a:lnTo>
                    <a:pt x="866570" y="431656"/>
                  </a:lnTo>
                  <a:cubicBezTo>
                    <a:pt x="874160" y="398440"/>
                    <a:pt x="870671" y="363654"/>
                    <a:pt x="856635" y="332608"/>
                  </a:cubicBezTo>
                  <a:lnTo>
                    <a:pt x="860184" y="257666"/>
                  </a:lnTo>
                  <a:cubicBezTo>
                    <a:pt x="860673" y="188261"/>
                    <a:pt x="846064" y="148068"/>
                    <a:pt x="832232" y="133604"/>
                  </a:cubicBezTo>
                  <a:cubicBezTo>
                    <a:pt x="828597" y="129802"/>
                    <a:pt x="822568" y="129666"/>
                    <a:pt x="818766" y="133302"/>
                  </a:cubicBezTo>
                  <a:cubicBezTo>
                    <a:pt x="817697" y="134323"/>
                    <a:pt x="816881" y="135579"/>
                    <a:pt x="816382" y="136972"/>
                  </a:cubicBezTo>
                  <a:cubicBezTo>
                    <a:pt x="802197" y="176540"/>
                    <a:pt x="794657" y="218185"/>
                    <a:pt x="794067" y="260216"/>
                  </a:cubicBezTo>
                  <a:lnTo>
                    <a:pt x="794225" y="265632"/>
                  </a:lnTo>
                  <a:cubicBezTo>
                    <a:pt x="765066" y="250631"/>
                    <a:pt x="732880" y="242452"/>
                    <a:pt x="700096" y="241714"/>
                  </a:cubicBezTo>
                  <a:cubicBezTo>
                    <a:pt x="694835" y="241738"/>
                    <a:pt x="690590" y="246023"/>
                    <a:pt x="690615" y="251284"/>
                  </a:cubicBezTo>
                  <a:cubicBezTo>
                    <a:pt x="690619" y="252256"/>
                    <a:pt x="690772" y="253220"/>
                    <a:pt x="691069" y="254145"/>
                  </a:cubicBezTo>
                  <a:cubicBezTo>
                    <a:pt x="705231" y="298302"/>
                    <a:pt x="723867" y="340898"/>
                    <a:pt x="746684" y="381268"/>
                  </a:cubicBezTo>
                  <a:lnTo>
                    <a:pt x="753048" y="393003"/>
                  </a:lnTo>
                  <a:cubicBezTo>
                    <a:pt x="752693" y="392901"/>
                    <a:pt x="752321" y="392737"/>
                    <a:pt x="751968" y="392640"/>
                  </a:cubicBezTo>
                  <a:cubicBezTo>
                    <a:pt x="711265" y="380758"/>
                    <a:pt x="668871" y="375734"/>
                    <a:pt x="626520" y="377771"/>
                  </a:cubicBezTo>
                  <a:cubicBezTo>
                    <a:pt x="621257" y="377847"/>
                    <a:pt x="617054" y="382175"/>
                    <a:pt x="617130" y="387436"/>
                  </a:cubicBezTo>
                  <a:cubicBezTo>
                    <a:pt x="617146" y="388588"/>
                    <a:pt x="617372" y="389727"/>
                    <a:pt x="617795" y="390799"/>
                  </a:cubicBezTo>
                  <a:cubicBezTo>
                    <a:pt x="635846" y="436474"/>
                    <a:pt x="660560" y="479225"/>
                    <a:pt x="691134" y="517660"/>
                  </a:cubicBezTo>
                  <a:lnTo>
                    <a:pt x="697656" y="525856"/>
                  </a:lnTo>
                  <a:cubicBezTo>
                    <a:pt x="678417" y="524037"/>
                    <a:pt x="659054" y="523962"/>
                    <a:pt x="639802" y="525632"/>
                  </a:cubicBezTo>
                  <a:lnTo>
                    <a:pt x="609009" y="528608"/>
                  </a:lnTo>
                  <a:cubicBezTo>
                    <a:pt x="603768" y="529121"/>
                    <a:pt x="599934" y="533784"/>
                    <a:pt x="600447" y="539025"/>
                  </a:cubicBezTo>
                  <a:cubicBezTo>
                    <a:pt x="600498" y="539556"/>
                    <a:pt x="600594" y="540083"/>
                    <a:pt x="600735" y="540598"/>
                  </a:cubicBezTo>
                  <a:lnTo>
                    <a:pt x="604080" y="552869"/>
                  </a:lnTo>
                  <a:cubicBezTo>
                    <a:pt x="594221" y="564095"/>
                    <a:pt x="585562" y="576321"/>
                    <a:pt x="578244" y="589346"/>
                  </a:cubicBezTo>
                  <a:cubicBezTo>
                    <a:pt x="567220" y="610066"/>
                    <a:pt x="558831" y="632082"/>
                    <a:pt x="553271" y="654884"/>
                  </a:cubicBezTo>
                  <a:cubicBezTo>
                    <a:pt x="550354" y="632129"/>
                    <a:pt x="547848" y="605737"/>
                    <a:pt x="546478" y="576629"/>
                  </a:cubicBezTo>
                  <a:cubicBezTo>
                    <a:pt x="563451" y="560501"/>
                    <a:pt x="578036" y="542035"/>
                    <a:pt x="589795" y="521788"/>
                  </a:cubicBezTo>
                  <a:cubicBezTo>
                    <a:pt x="601377" y="500385"/>
                    <a:pt x="609126" y="477120"/>
                    <a:pt x="612693" y="453046"/>
                  </a:cubicBezTo>
                  <a:cubicBezTo>
                    <a:pt x="594326" y="468295"/>
                    <a:pt x="578904" y="486773"/>
                    <a:pt x="567186" y="507571"/>
                  </a:cubicBezTo>
                  <a:cubicBezTo>
                    <a:pt x="557929" y="524913"/>
                    <a:pt x="550786" y="543303"/>
                    <a:pt x="545911" y="562348"/>
                  </a:cubicBezTo>
                  <a:cubicBezTo>
                    <a:pt x="545597" y="552661"/>
                    <a:pt x="545424" y="542715"/>
                    <a:pt x="545391" y="532512"/>
                  </a:cubicBezTo>
                  <a:cubicBezTo>
                    <a:pt x="549389" y="512654"/>
                    <a:pt x="551786" y="492507"/>
                    <a:pt x="552559" y="472266"/>
                  </a:cubicBezTo>
                  <a:cubicBezTo>
                    <a:pt x="553365" y="438474"/>
                    <a:pt x="549314" y="404742"/>
                    <a:pt x="540530" y="372103"/>
                  </a:cubicBezTo>
                  <a:cubicBezTo>
                    <a:pt x="529667" y="403384"/>
                    <a:pt x="523575" y="436121"/>
                    <a:pt x="522462" y="469216"/>
                  </a:cubicBezTo>
                  <a:cubicBezTo>
                    <a:pt x="521991" y="490803"/>
                    <a:pt x="523287" y="512393"/>
                    <a:pt x="526336" y="533768"/>
                  </a:cubicBezTo>
                  <a:cubicBezTo>
                    <a:pt x="526367" y="543705"/>
                    <a:pt x="526561" y="553374"/>
                    <a:pt x="526868" y="562823"/>
                  </a:cubicBezTo>
                  <a:cubicBezTo>
                    <a:pt x="518938" y="543889"/>
                    <a:pt x="508689" y="526012"/>
                    <a:pt x="496358" y="509600"/>
                  </a:cubicBezTo>
                  <a:cubicBezTo>
                    <a:pt x="481568" y="490863"/>
                    <a:pt x="463476" y="474988"/>
                    <a:pt x="442975" y="462760"/>
                  </a:cubicBezTo>
                  <a:cubicBezTo>
                    <a:pt x="450217" y="485993"/>
                    <a:pt x="461468" y="507782"/>
                    <a:pt x="476217" y="527139"/>
                  </a:cubicBezTo>
                  <a:cubicBezTo>
                    <a:pt x="490915" y="545271"/>
                    <a:pt x="508117" y="561220"/>
                    <a:pt x="527307" y="574506"/>
                  </a:cubicBezTo>
                  <a:cubicBezTo>
                    <a:pt x="528587" y="603538"/>
                    <a:pt x="531001" y="629913"/>
                    <a:pt x="533846" y="652917"/>
                  </a:cubicBezTo>
                  <a:cubicBezTo>
                    <a:pt x="524876" y="631474"/>
                    <a:pt x="513278" y="611229"/>
                    <a:pt x="499317" y="592647"/>
                  </a:cubicBezTo>
                  <a:cubicBezTo>
                    <a:pt x="482610" y="571480"/>
                    <a:pt x="462173" y="553548"/>
                    <a:pt x="439014" y="539735"/>
                  </a:cubicBezTo>
                  <a:cubicBezTo>
                    <a:pt x="443097" y="552974"/>
                    <a:pt x="448382" y="565812"/>
                    <a:pt x="454805" y="578087"/>
                  </a:cubicBezTo>
                  <a:cubicBezTo>
                    <a:pt x="436691" y="588004"/>
                    <a:pt x="420285" y="600760"/>
                    <a:pt x="406210" y="615870"/>
                  </a:cubicBezTo>
                  <a:cubicBezTo>
                    <a:pt x="393812" y="629843"/>
                    <a:pt x="383113" y="645233"/>
                    <a:pt x="374332" y="661720"/>
                  </a:cubicBezTo>
                  <a:cubicBezTo>
                    <a:pt x="376329" y="652026"/>
                    <a:pt x="378471" y="642401"/>
                    <a:pt x="380758" y="632845"/>
                  </a:cubicBezTo>
                  <a:cubicBezTo>
                    <a:pt x="388685" y="615515"/>
                    <a:pt x="395244" y="597591"/>
                    <a:pt x="400374" y="579238"/>
                  </a:cubicBezTo>
                  <a:cubicBezTo>
                    <a:pt x="408767" y="547520"/>
                    <a:pt x="412560" y="514762"/>
                    <a:pt x="411639" y="481966"/>
                  </a:cubicBezTo>
                  <a:cubicBezTo>
                    <a:pt x="394320" y="509042"/>
                    <a:pt x="381177" y="538572"/>
                    <a:pt x="372652" y="569563"/>
                  </a:cubicBezTo>
                  <a:cubicBezTo>
                    <a:pt x="367456" y="589335"/>
                    <a:pt x="363857" y="609493"/>
                    <a:pt x="361889" y="629842"/>
                  </a:cubicBezTo>
                  <a:cubicBezTo>
                    <a:pt x="359647" y="639285"/>
                    <a:pt x="357541" y="648792"/>
                    <a:pt x="355572" y="658363"/>
                  </a:cubicBezTo>
                  <a:cubicBezTo>
                    <a:pt x="352356" y="638891"/>
                    <a:pt x="346752" y="619891"/>
                    <a:pt x="338888" y="601791"/>
                  </a:cubicBezTo>
                  <a:cubicBezTo>
                    <a:pt x="329833" y="582324"/>
                    <a:pt x="317595" y="564504"/>
                    <a:pt x="302678" y="549063"/>
                  </a:cubicBezTo>
                  <a:cubicBezTo>
                    <a:pt x="311602" y="536337"/>
                    <a:pt x="320888" y="524241"/>
                    <a:pt x="329822" y="513851"/>
                  </a:cubicBezTo>
                  <a:cubicBezTo>
                    <a:pt x="332069" y="511235"/>
                    <a:pt x="332728" y="507607"/>
                    <a:pt x="331543" y="504368"/>
                  </a:cubicBezTo>
                  <a:lnTo>
                    <a:pt x="325906" y="488969"/>
                  </a:lnTo>
                  <a:lnTo>
                    <a:pt x="345569" y="491210"/>
                  </a:lnTo>
                  <a:cubicBezTo>
                    <a:pt x="348450" y="491548"/>
                    <a:pt x="351325" y="490548"/>
                    <a:pt x="353373" y="488495"/>
                  </a:cubicBezTo>
                  <a:cubicBezTo>
                    <a:pt x="371565" y="469892"/>
                    <a:pt x="391735" y="453333"/>
                    <a:pt x="413523" y="439111"/>
                  </a:cubicBezTo>
                  <a:cubicBezTo>
                    <a:pt x="418035" y="436404"/>
                    <a:pt x="419498" y="430551"/>
                    <a:pt x="416791" y="426039"/>
                  </a:cubicBezTo>
                  <a:cubicBezTo>
                    <a:pt x="415603" y="424059"/>
                    <a:pt x="413736" y="422578"/>
                    <a:pt x="411537" y="421871"/>
                  </a:cubicBezTo>
                  <a:cubicBezTo>
                    <a:pt x="402085" y="418876"/>
                    <a:pt x="392381" y="416746"/>
                    <a:pt x="382543" y="415506"/>
                  </a:cubicBezTo>
                  <a:lnTo>
                    <a:pt x="380860" y="348308"/>
                  </a:lnTo>
                  <a:cubicBezTo>
                    <a:pt x="380875" y="347201"/>
                    <a:pt x="381451" y="320718"/>
                    <a:pt x="381628" y="312729"/>
                  </a:cubicBezTo>
                  <a:cubicBezTo>
                    <a:pt x="389153" y="301892"/>
                    <a:pt x="432992" y="290781"/>
                    <a:pt x="462376" y="283330"/>
                  </a:cubicBezTo>
                  <a:cubicBezTo>
                    <a:pt x="501304" y="273438"/>
                    <a:pt x="550073" y="252816"/>
                    <a:pt x="570691" y="229594"/>
                  </a:cubicBezTo>
                  <a:cubicBezTo>
                    <a:pt x="579977" y="231044"/>
                    <a:pt x="589360" y="231789"/>
                    <a:pt x="598759" y="231822"/>
                  </a:cubicBezTo>
                  <a:cubicBezTo>
                    <a:pt x="659346" y="231822"/>
                    <a:pt x="706803" y="205209"/>
                    <a:pt x="706793" y="170844"/>
                  </a:cubicBezTo>
                  <a:cubicBezTo>
                    <a:pt x="705743" y="145599"/>
                    <a:pt x="679307" y="123991"/>
                    <a:pt x="639049" y="115127"/>
                  </a:cubicBezTo>
                  <a:cubicBezTo>
                    <a:pt x="624565" y="96448"/>
                    <a:pt x="604535" y="82840"/>
                    <a:pt x="581834" y="76255"/>
                  </a:cubicBezTo>
                  <a:cubicBezTo>
                    <a:pt x="580864" y="65875"/>
                    <a:pt x="576189" y="56191"/>
                    <a:pt x="568663" y="48977"/>
                  </a:cubicBezTo>
                  <a:cubicBezTo>
                    <a:pt x="549529" y="29299"/>
                    <a:pt x="511950" y="17072"/>
                    <a:pt x="470585" y="17072"/>
                  </a:cubicBezTo>
                  <a:cubicBezTo>
                    <a:pt x="455459" y="16971"/>
                    <a:pt x="440377" y="18711"/>
                    <a:pt x="425672" y="22253"/>
                  </a:cubicBezTo>
                  <a:cubicBezTo>
                    <a:pt x="399548" y="6800"/>
                    <a:pt x="369562" y="-891"/>
                    <a:pt x="339226" y="82"/>
                  </a:cubicBezTo>
                  <a:cubicBezTo>
                    <a:pt x="295758" y="82"/>
                    <a:pt x="256296" y="14039"/>
                    <a:pt x="237827" y="35373"/>
                  </a:cubicBezTo>
                  <a:cubicBezTo>
                    <a:pt x="222625" y="31695"/>
                    <a:pt x="207038" y="29852"/>
                    <a:pt x="191398" y="29885"/>
                  </a:cubicBezTo>
                  <a:cubicBezTo>
                    <a:pt x="128517" y="29885"/>
                    <a:pt x="79260" y="57413"/>
                    <a:pt x="79260" y="92556"/>
                  </a:cubicBezTo>
                  <a:cubicBezTo>
                    <a:pt x="79344" y="101079"/>
                    <a:pt x="82139" y="109354"/>
                    <a:pt x="87241" y="116182"/>
                  </a:cubicBezTo>
                  <a:cubicBezTo>
                    <a:pt x="37588" y="127195"/>
                    <a:pt x="5395" y="153301"/>
                    <a:pt x="5395" y="184048"/>
                  </a:cubicBezTo>
                  <a:cubicBezTo>
                    <a:pt x="5395" y="226046"/>
                    <a:pt x="63215" y="260219"/>
                    <a:pt x="134404" y="260416"/>
                  </a:cubicBezTo>
                  <a:cubicBezTo>
                    <a:pt x="138202" y="260915"/>
                    <a:pt x="141913" y="261169"/>
                    <a:pt x="145571" y="261290"/>
                  </a:cubicBezTo>
                  <a:cubicBezTo>
                    <a:pt x="149267" y="261807"/>
                    <a:pt x="153190" y="262509"/>
                    <a:pt x="157404" y="263266"/>
                  </a:cubicBezTo>
                  <a:cubicBezTo>
                    <a:pt x="160217" y="263768"/>
                    <a:pt x="163115" y="264289"/>
                    <a:pt x="165454" y="264652"/>
                  </a:cubicBezTo>
                  <a:cubicBezTo>
                    <a:pt x="223446" y="278424"/>
                    <a:pt x="284922" y="304133"/>
                    <a:pt x="288656" y="323635"/>
                  </a:cubicBezTo>
                  <a:lnTo>
                    <a:pt x="286785" y="427246"/>
                  </a:lnTo>
                  <a:cubicBezTo>
                    <a:pt x="252662" y="439832"/>
                    <a:pt x="221092" y="458473"/>
                    <a:pt x="193590" y="482272"/>
                  </a:cubicBezTo>
                  <a:cubicBezTo>
                    <a:pt x="198775" y="467582"/>
                    <a:pt x="204394" y="451738"/>
                    <a:pt x="205289" y="449724"/>
                  </a:cubicBezTo>
                  <a:lnTo>
                    <a:pt x="222316" y="415540"/>
                  </a:lnTo>
                  <a:cubicBezTo>
                    <a:pt x="236172" y="389643"/>
                    <a:pt x="252613" y="365214"/>
                    <a:pt x="271388" y="342629"/>
                  </a:cubicBezTo>
                  <a:cubicBezTo>
                    <a:pt x="274879" y="338692"/>
                    <a:pt x="274519" y="332670"/>
                    <a:pt x="270584" y="329178"/>
                  </a:cubicBezTo>
                  <a:cubicBezTo>
                    <a:pt x="268476" y="327309"/>
                    <a:pt x="265649" y="326467"/>
                    <a:pt x="262863" y="326880"/>
                  </a:cubicBezTo>
                  <a:cubicBezTo>
                    <a:pt x="206491" y="335297"/>
                    <a:pt x="136200" y="376089"/>
                    <a:pt x="90178" y="426027"/>
                  </a:cubicBezTo>
                  <a:cubicBezTo>
                    <a:pt x="74368" y="374980"/>
                    <a:pt x="49668" y="327127"/>
                    <a:pt x="17217" y="284669"/>
                  </a:cubicBezTo>
                  <a:cubicBezTo>
                    <a:pt x="13868" y="280611"/>
                    <a:pt x="7864" y="280036"/>
                    <a:pt x="3806" y="283385"/>
                  </a:cubicBezTo>
                  <a:cubicBezTo>
                    <a:pt x="1614" y="285194"/>
                    <a:pt x="344" y="287888"/>
                    <a:pt x="343" y="290729"/>
                  </a:cubicBezTo>
                  <a:lnTo>
                    <a:pt x="343" y="458482"/>
                  </a:lnTo>
                  <a:cubicBezTo>
                    <a:pt x="-1042" y="517187"/>
                    <a:pt x="1764" y="575915"/>
                    <a:pt x="8738" y="634220"/>
                  </a:cubicBezTo>
                  <a:lnTo>
                    <a:pt x="11236" y="656452"/>
                  </a:lnTo>
                  <a:cubicBezTo>
                    <a:pt x="15082" y="690727"/>
                    <a:pt x="38829" y="719485"/>
                    <a:pt x="71758" y="729747"/>
                  </a:cubicBezTo>
                  <a:lnTo>
                    <a:pt x="83832" y="732573"/>
                  </a:lnTo>
                  <a:cubicBezTo>
                    <a:pt x="88419" y="733336"/>
                    <a:pt x="93060" y="733731"/>
                    <a:pt x="97710" y="733754"/>
                  </a:cubicBezTo>
                  <a:lnTo>
                    <a:pt x="154813" y="733754"/>
                  </a:lnTo>
                  <a:cubicBezTo>
                    <a:pt x="188390" y="733662"/>
                    <a:pt x="219312" y="715491"/>
                    <a:pt x="235732" y="686202"/>
                  </a:cubicBezTo>
                  <a:lnTo>
                    <a:pt x="239864" y="679935"/>
                  </a:lnTo>
                  <a:cubicBezTo>
                    <a:pt x="240786" y="676605"/>
                    <a:pt x="241821" y="673359"/>
                    <a:pt x="242790" y="670064"/>
                  </a:cubicBezTo>
                  <a:close/>
                  <a:moveTo>
                    <a:pt x="24445" y="184048"/>
                  </a:moveTo>
                  <a:cubicBezTo>
                    <a:pt x="24445" y="160371"/>
                    <a:pt x="59656" y="138395"/>
                    <a:pt x="108169" y="131796"/>
                  </a:cubicBezTo>
                  <a:cubicBezTo>
                    <a:pt x="113381" y="131087"/>
                    <a:pt x="117032" y="126288"/>
                    <a:pt x="116324" y="121076"/>
                  </a:cubicBezTo>
                  <a:cubicBezTo>
                    <a:pt x="115978" y="118527"/>
                    <a:pt x="114615" y="116227"/>
                    <a:pt x="112546" y="114698"/>
                  </a:cubicBezTo>
                  <a:cubicBezTo>
                    <a:pt x="104660" y="109887"/>
                    <a:pt x="99415" y="101727"/>
                    <a:pt x="98310" y="92556"/>
                  </a:cubicBezTo>
                  <a:cubicBezTo>
                    <a:pt x="98310" y="71924"/>
                    <a:pt x="136539" y="48936"/>
                    <a:pt x="191397" y="48936"/>
                  </a:cubicBezTo>
                  <a:cubicBezTo>
                    <a:pt x="205278" y="48907"/>
                    <a:pt x="219114" y="50518"/>
                    <a:pt x="232618" y="53734"/>
                  </a:cubicBezTo>
                  <a:cubicBezTo>
                    <a:pt x="236409" y="54694"/>
                    <a:pt x="240095" y="56028"/>
                    <a:pt x="243622" y="57720"/>
                  </a:cubicBezTo>
                  <a:lnTo>
                    <a:pt x="260235" y="65479"/>
                  </a:lnTo>
                  <a:cubicBezTo>
                    <a:pt x="265002" y="67706"/>
                    <a:pt x="270672" y="65646"/>
                    <a:pt x="272899" y="60879"/>
                  </a:cubicBezTo>
                  <a:cubicBezTo>
                    <a:pt x="275126" y="56111"/>
                    <a:pt x="273067" y="50442"/>
                    <a:pt x="268300" y="48215"/>
                  </a:cubicBezTo>
                  <a:lnTo>
                    <a:pt x="257108" y="42987"/>
                  </a:lnTo>
                  <a:cubicBezTo>
                    <a:pt x="273625" y="28608"/>
                    <a:pt x="305155" y="19132"/>
                    <a:pt x="339226" y="19132"/>
                  </a:cubicBezTo>
                  <a:cubicBezTo>
                    <a:pt x="367085" y="17909"/>
                    <a:pt x="394646" y="25285"/>
                    <a:pt x="418170" y="40262"/>
                  </a:cubicBezTo>
                  <a:cubicBezTo>
                    <a:pt x="420452" y="42023"/>
                    <a:pt x="423432" y="42602"/>
                    <a:pt x="426207" y="41824"/>
                  </a:cubicBezTo>
                  <a:cubicBezTo>
                    <a:pt x="440669" y="37897"/>
                    <a:pt x="455601" y="35979"/>
                    <a:pt x="470585" y="36122"/>
                  </a:cubicBezTo>
                  <a:cubicBezTo>
                    <a:pt x="506434" y="36122"/>
                    <a:pt x="539572" y="46381"/>
                    <a:pt x="555003" y="62255"/>
                  </a:cubicBezTo>
                  <a:cubicBezTo>
                    <a:pt x="559883" y="66629"/>
                    <a:pt x="562726" y="72832"/>
                    <a:pt x="562854" y="79384"/>
                  </a:cubicBezTo>
                  <a:lnTo>
                    <a:pt x="562854" y="83198"/>
                  </a:lnTo>
                  <a:cubicBezTo>
                    <a:pt x="562853" y="87391"/>
                    <a:pt x="565595" y="91091"/>
                    <a:pt x="569607" y="92309"/>
                  </a:cubicBezTo>
                  <a:cubicBezTo>
                    <a:pt x="596551" y="100506"/>
                    <a:pt x="616190" y="113328"/>
                    <a:pt x="624907" y="128406"/>
                  </a:cubicBezTo>
                  <a:cubicBezTo>
                    <a:pt x="626195" y="130734"/>
                    <a:pt x="628435" y="132382"/>
                    <a:pt x="631040" y="132921"/>
                  </a:cubicBezTo>
                  <a:cubicBezTo>
                    <a:pt x="663734" y="139212"/>
                    <a:pt x="687072" y="155155"/>
                    <a:pt x="687753" y="171239"/>
                  </a:cubicBezTo>
                  <a:cubicBezTo>
                    <a:pt x="687753" y="190884"/>
                    <a:pt x="651207" y="212772"/>
                    <a:pt x="598759" y="212772"/>
                  </a:cubicBezTo>
                  <a:cubicBezTo>
                    <a:pt x="588689" y="212706"/>
                    <a:pt x="578645" y="211767"/>
                    <a:pt x="568738" y="209964"/>
                  </a:cubicBezTo>
                  <a:cubicBezTo>
                    <a:pt x="565572" y="209063"/>
                    <a:pt x="545308" y="203328"/>
                    <a:pt x="528605" y="199428"/>
                  </a:cubicBezTo>
                  <a:cubicBezTo>
                    <a:pt x="528536" y="199412"/>
                    <a:pt x="528471" y="199436"/>
                    <a:pt x="528403" y="199421"/>
                  </a:cubicBezTo>
                  <a:cubicBezTo>
                    <a:pt x="527420" y="199198"/>
                    <a:pt x="526408" y="199135"/>
                    <a:pt x="525405" y="199233"/>
                  </a:cubicBezTo>
                  <a:lnTo>
                    <a:pt x="522196" y="199591"/>
                  </a:lnTo>
                  <a:cubicBezTo>
                    <a:pt x="515971" y="200411"/>
                    <a:pt x="509703" y="200872"/>
                    <a:pt x="503425" y="200972"/>
                  </a:cubicBezTo>
                  <a:cubicBezTo>
                    <a:pt x="480472" y="201984"/>
                    <a:pt x="457496" y="199564"/>
                    <a:pt x="435257" y="193793"/>
                  </a:cubicBezTo>
                  <a:lnTo>
                    <a:pt x="435221" y="193783"/>
                  </a:lnTo>
                  <a:lnTo>
                    <a:pt x="435006" y="193722"/>
                  </a:lnTo>
                  <a:cubicBezTo>
                    <a:pt x="434791" y="193650"/>
                    <a:pt x="434565" y="193714"/>
                    <a:pt x="434348" y="193658"/>
                  </a:cubicBezTo>
                  <a:cubicBezTo>
                    <a:pt x="433435" y="193373"/>
                    <a:pt x="432483" y="193237"/>
                    <a:pt x="431527" y="193252"/>
                  </a:cubicBezTo>
                  <a:cubicBezTo>
                    <a:pt x="430852" y="193284"/>
                    <a:pt x="422830" y="193694"/>
                    <a:pt x="412347" y="194354"/>
                  </a:cubicBezTo>
                  <a:cubicBezTo>
                    <a:pt x="415264" y="189974"/>
                    <a:pt x="414078" y="184060"/>
                    <a:pt x="409698" y="181143"/>
                  </a:cubicBezTo>
                  <a:cubicBezTo>
                    <a:pt x="406558" y="179051"/>
                    <a:pt x="402478" y="179010"/>
                    <a:pt x="399296" y="181038"/>
                  </a:cubicBezTo>
                  <a:lnTo>
                    <a:pt x="378991" y="193987"/>
                  </a:lnTo>
                  <a:cubicBezTo>
                    <a:pt x="374671" y="196741"/>
                    <a:pt x="369963" y="198828"/>
                    <a:pt x="365021" y="200179"/>
                  </a:cubicBezTo>
                  <a:cubicBezTo>
                    <a:pt x="349855" y="204227"/>
                    <a:pt x="334285" y="206568"/>
                    <a:pt x="318599" y="207158"/>
                  </a:cubicBezTo>
                  <a:cubicBezTo>
                    <a:pt x="318412" y="207169"/>
                    <a:pt x="318242" y="207244"/>
                    <a:pt x="318057" y="207266"/>
                  </a:cubicBezTo>
                  <a:lnTo>
                    <a:pt x="318051" y="207208"/>
                  </a:lnTo>
                  <a:cubicBezTo>
                    <a:pt x="303568" y="208761"/>
                    <a:pt x="288943" y="208400"/>
                    <a:pt x="274556" y="206134"/>
                  </a:cubicBezTo>
                  <a:lnTo>
                    <a:pt x="274538" y="206218"/>
                  </a:lnTo>
                  <a:cubicBezTo>
                    <a:pt x="274276" y="206167"/>
                    <a:pt x="274034" y="206043"/>
                    <a:pt x="273765" y="206014"/>
                  </a:cubicBezTo>
                  <a:cubicBezTo>
                    <a:pt x="266547" y="205131"/>
                    <a:pt x="259391" y="203803"/>
                    <a:pt x="252338" y="202039"/>
                  </a:cubicBezTo>
                  <a:lnTo>
                    <a:pt x="220326" y="190763"/>
                  </a:lnTo>
                  <a:cubicBezTo>
                    <a:pt x="215359" y="189030"/>
                    <a:pt x="209927" y="191653"/>
                    <a:pt x="208194" y="196620"/>
                  </a:cubicBezTo>
                  <a:cubicBezTo>
                    <a:pt x="206468" y="201568"/>
                    <a:pt x="209063" y="206980"/>
                    <a:pt x="214000" y="208734"/>
                  </a:cubicBezTo>
                  <a:lnTo>
                    <a:pt x="230420" y="214518"/>
                  </a:lnTo>
                  <a:cubicBezTo>
                    <a:pt x="224004" y="218826"/>
                    <a:pt x="217164" y="222463"/>
                    <a:pt x="210006" y="225375"/>
                  </a:cubicBezTo>
                  <a:cubicBezTo>
                    <a:pt x="209760" y="225475"/>
                    <a:pt x="209573" y="225658"/>
                    <a:pt x="209339" y="225776"/>
                  </a:cubicBezTo>
                  <a:lnTo>
                    <a:pt x="209299" y="225696"/>
                  </a:lnTo>
                  <a:cubicBezTo>
                    <a:pt x="190350" y="236248"/>
                    <a:pt x="169089" y="241958"/>
                    <a:pt x="147403" y="242319"/>
                  </a:cubicBezTo>
                  <a:cubicBezTo>
                    <a:pt x="143297" y="241732"/>
                    <a:pt x="139157" y="241420"/>
                    <a:pt x="135010" y="241384"/>
                  </a:cubicBezTo>
                  <a:cubicBezTo>
                    <a:pt x="68875" y="241384"/>
                    <a:pt x="24445" y="211739"/>
                    <a:pt x="24445" y="184048"/>
                  </a:cubicBezTo>
                  <a:close/>
                  <a:moveTo>
                    <a:pt x="433540" y="213199"/>
                  </a:moveTo>
                  <a:cubicBezTo>
                    <a:pt x="452347" y="217889"/>
                    <a:pt x="471676" y="220153"/>
                    <a:pt x="491058" y="219938"/>
                  </a:cubicBezTo>
                  <a:cubicBezTo>
                    <a:pt x="473961" y="226567"/>
                    <a:pt x="456460" y="232102"/>
                    <a:pt x="438661" y="236510"/>
                  </a:cubicBezTo>
                  <a:cubicBezTo>
                    <a:pt x="424317" y="240114"/>
                    <a:pt x="410272" y="243723"/>
                    <a:pt x="397138" y="247597"/>
                  </a:cubicBezTo>
                  <a:cubicBezTo>
                    <a:pt x="407532" y="234420"/>
                    <a:pt x="419797" y="222832"/>
                    <a:pt x="433540" y="213199"/>
                  </a:cubicBezTo>
                  <a:close/>
                  <a:moveTo>
                    <a:pt x="348136" y="223297"/>
                  </a:moveTo>
                  <a:cubicBezTo>
                    <a:pt x="345002" y="227283"/>
                    <a:pt x="342170" y="231203"/>
                    <a:pt x="339574" y="235022"/>
                  </a:cubicBezTo>
                  <a:cubicBezTo>
                    <a:pt x="338462" y="231567"/>
                    <a:pt x="337122" y="228190"/>
                    <a:pt x="335565" y="224911"/>
                  </a:cubicBezTo>
                  <a:cubicBezTo>
                    <a:pt x="339993" y="224454"/>
                    <a:pt x="344137" y="223929"/>
                    <a:pt x="348136" y="223297"/>
                  </a:cubicBezTo>
                  <a:close/>
                  <a:moveTo>
                    <a:pt x="252505" y="221632"/>
                  </a:moveTo>
                  <a:cubicBezTo>
                    <a:pt x="257663" y="222780"/>
                    <a:pt x="262914" y="223827"/>
                    <a:pt x="268640" y="224584"/>
                  </a:cubicBezTo>
                  <a:cubicBezTo>
                    <a:pt x="276691" y="231709"/>
                    <a:pt x="282707" y="240843"/>
                    <a:pt x="286075" y="251053"/>
                  </a:cubicBezTo>
                  <a:cubicBezTo>
                    <a:pt x="270482" y="243958"/>
                    <a:pt x="254531" y="237676"/>
                    <a:pt x="238288" y="232230"/>
                  </a:cubicBezTo>
                  <a:cubicBezTo>
                    <a:pt x="243302" y="229083"/>
                    <a:pt x="248057" y="225538"/>
                    <a:pt x="252505" y="221632"/>
                  </a:cubicBezTo>
                  <a:close/>
                  <a:moveTo>
                    <a:pt x="307637" y="321732"/>
                  </a:moveTo>
                  <a:cubicBezTo>
                    <a:pt x="303300" y="288902"/>
                    <a:pt x="235481" y="264514"/>
                    <a:pt x="194993" y="252798"/>
                  </a:cubicBezTo>
                  <a:cubicBezTo>
                    <a:pt x="201586" y="250345"/>
                    <a:pt x="208046" y="247552"/>
                    <a:pt x="214351" y="244432"/>
                  </a:cubicBezTo>
                  <a:cubicBezTo>
                    <a:pt x="241687" y="252559"/>
                    <a:pt x="268218" y="263181"/>
                    <a:pt x="293609" y="276162"/>
                  </a:cubicBezTo>
                  <a:cubicBezTo>
                    <a:pt x="298219" y="278697"/>
                    <a:pt x="304009" y="277015"/>
                    <a:pt x="306542" y="272406"/>
                  </a:cubicBezTo>
                  <a:cubicBezTo>
                    <a:pt x="307316" y="271000"/>
                    <a:pt x="307722" y="269420"/>
                    <a:pt x="307721" y="267815"/>
                  </a:cubicBezTo>
                  <a:cubicBezTo>
                    <a:pt x="307587" y="253379"/>
                    <a:pt x="303336" y="239282"/>
                    <a:pt x="295469" y="227179"/>
                  </a:cubicBezTo>
                  <a:cubicBezTo>
                    <a:pt x="296653" y="227200"/>
                    <a:pt x="297874" y="227240"/>
                    <a:pt x="299010" y="227240"/>
                  </a:cubicBezTo>
                  <a:cubicBezTo>
                    <a:pt x="305394" y="227240"/>
                    <a:pt x="310871" y="226935"/>
                    <a:pt x="314705" y="226643"/>
                  </a:cubicBezTo>
                  <a:cubicBezTo>
                    <a:pt x="320049" y="235517"/>
                    <a:pt x="323591" y="245358"/>
                    <a:pt x="325129" y="255602"/>
                  </a:cubicBezTo>
                  <a:cubicBezTo>
                    <a:pt x="325538" y="257550"/>
                    <a:pt x="325943" y="259448"/>
                    <a:pt x="326371" y="261289"/>
                  </a:cubicBezTo>
                  <a:cubicBezTo>
                    <a:pt x="327556" y="266415"/>
                    <a:pt x="332671" y="269610"/>
                    <a:pt x="337797" y="268425"/>
                  </a:cubicBezTo>
                  <a:cubicBezTo>
                    <a:pt x="340313" y="267844"/>
                    <a:pt x="342486" y="266265"/>
                    <a:pt x="343816" y="264051"/>
                  </a:cubicBezTo>
                  <a:cubicBezTo>
                    <a:pt x="353669" y="246177"/>
                    <a:pt x="366200" y="229915"/>
                    <a:pt x="380975" y="215831"/>
                  </a:cubicBezTo>
                  <a:cubicBezTo>
                    <a:pt x="387492" y="215208"/>
                    <a:pt x="394979" y="214626"/>
                    <a:pt x="402222" y="214119"/>
                  </a:cubicBezTo>
                  <a:cubicBezTo>
                    <a:pt x="387673" y="227895"/>
                    <a:pt x="375067" y="243589"/>
                    <a:pt x="364754" y="260768"/>
                  </a:cubicBezTo>
                  <a:cubicBezTo>
                    <a:pt x="362015" y="265258"/>
                    <a:pt x="363434" y="271119"/>
                    <a:pt x="367924" y="273857"/>
                  </a:cubicBezTo>
                  <a:cubicBezTo>
                    <a:pt x="370454" y="275400"/>
                    <a:pt x="373557" y="275678"/>
                    <a:pt x="376322" y="274609"/>
                  </a:cubicBezTo>
                  <a:cubicBezTo>
                    <a:pt x="398265" y="266778"/>
                    <a:pt x="420644" y="260221"/>
                    <a:pt x="443345" y="254973"/>
                  </a:cubicBezTo>
                  <a:lnTo>
                    <a:pt x="443420" y="254954"/>
                  </a:lnTo>
                  <a:cubicBezTo>
                    <a:pt x="499878" y="240248"/>
                    <a:pt x="520748" y="228149"/>
                    <a:pt x="529826" y="219313"/>
                  </a:cubicBezTo>
                  <a:cubicBezTo>
                    <a:pt x="536285" y="220899"/>
                    <a:pt x="542938" y="222643"/>
                    <a:pt x="548717" y="224200"/>
                  </a:cubicBezTo>
                  <a:cubicBezTo>
                    <a:pt x="521265" y="243468"/>
                    <a:pt x="490362" y="257273"/>
                    <a:pt x="457693" y="264865"/>
                  </a:cubicBezTo>
                  <a:cubicBezTo>
                    <a:pt x="404300" y="278399"/>
                    <a:pt x="371312" y="287956"/>
                    <a:pt x="363391" y="306518"/>
                  </a:cubicBezTo>
                  <a:cubicBezTo>
                    <a:pt x="362917" y="307636"/>
                    <a:pt x="362658" y="308834"/>
                    <a:pt x="362629" y="310048"/>
                  </a:cubicBezTo>
                  <a:cubicBezTo>
                    <a:pt x="362629" y="310048"/>
                    <a:pt x="361810" y="347738"/>
                    <a:pt x="361815" y="348436"/>
                  </a:cubicBezTo>
                  <a:lnTo>
                    <a:pt x="363455" y="414075"/>
                  </a:lnTo>
                  <a:cubicBezTo>
                    <a:pt x="344040" y="413780"/>
                    <a:pt x="324681" y="416226"/>
                    <a:pt x="305948" y="421337"/>
                  </a:cubicBezTo>
                  <a:lnTo>
                    <a:pt x="307721" y="323151"/>
                  </a:lnTo>
                  <a:cubicBezTo>
                    <a:pt x="307730" y="322677"/>
                    <a:pt x="307702" y="322202"/>
                    <a:pt x="307637" y="321732"/>
                  </a:cubicBezTo>
                  <a:close/>
                  <a:moveTo>
                    <a:pt x="240125" y="351660"/>
                  </a:moveTo>
                  <a:cubicBezTo>
                    <a:pt x="227405" y="369262"/>
                    <a:pt x="215818" y="387654"/>
                    <a:pt x="205434" y="406726"/>
                  </a:cubicBezTo>
                  <a:lnTo>
                    <a:pt x="188086" y="441557"/>
                  </a:lnTo>
                  <a:cubicBezTo>
                    <a:pt x="186653" y="444724"/>
                    <a:pt x="181021" y="460635"/>
                    <a:pt x="172589" y="484541"/>
                  </a:cubicBezTo>
                  <a:cubicBezTo>
                    <a:pt x="168614" y="495817"/>
                    <a:pt x="164539" y="507374"/>
                    <a:pt x="162881" y="511852"/>
                  </a:cubicBezTo>
                  <a:cubicBezTo>
                    <a:pt x="146616" y="529546"/>
                    <a:pt x="132180" y="548838"/>
                    <a:pt x="119794" y="569435"/>
                  </a:cubicBezTo>
                  <a:cubicBezTo>
                    <a:pt x="116407" y="528025"/>
                    <a:pt x="108716" y="487082"/>
                    <a:pt x="96843" y="447266"/>
                  </a:cubicBezTo>
                  <a:cubicBezTo>
                    <a:pt x="135332" y="403313"/>
                    <a:pt x="184765" y="370328"/>
                    <a:pt x="240125" y="351660"/>
                  </a:cubicBezTo>
                  <a:close/>
                  <a:moveTo>
                    <a:pt x="30165" y="654321"/>
                  </a:moveTo>
                  <a:lnTo>
                    <a:pt x="27663" y="632048"/>
                  </a:lnTo>
                  <a:cubicBezTo>
                    <a:pt x="20773" y="574286"/>
                    <a:pt x="18010" y="516107"/>
                    <a:pt x="19394" y="457952"/>
                  </a:cubicBezTo>
                  <a:lnTo>
                    <a:pt x="19394" y="319663"/>
                  </a:lnTo>
                  <a:cubicBezTo>
                    <a:pt x="67604" y="392153"/>
                    <a:pt x="102019" y="507713"/>
                    <a:pt x="102140" y="602817"/>
                  </a:cubicBezTo>
                  <a:cubicBezTo>
                    <a:pt x="99047" y="609505"/>
                    <a:pt x="96092" y="616278"/>
                    <a:pt x="93418" y="623207"/>
                  </a:cubicBezTo>
                  <a:cubicBezTo>
                    <a:pt x="85659" y="643367"/>
                    <a:pt x="79921" y="664248"/>
                    <a:pt x="76288" y="685543"/>
                  </a:cubicBezTo>
                  <a:lnTo>
                    <a:pt x="72267" y="709747"/>
                  </a:lnTo>
                  <a:cubicBezTo>
                    <a:pt x="49112" y="700415"/>
                    <a:pt x="32944" y="679131"/>
                    <a:pt x="30165" y="654321"/>
                  </a:cubicBezTo>
                  <a:close/>
                  <a:moveTo>
                    <a:pt x="225260" y="662209"/>
                  </a:moveTo>
                  <a:cubicBezTo>
                    <a:pt x="215876" y="693294"/>
                    <a:pt x="187285" y="714600"/>
                    <a:pt x="154814" y="714704"/>
                  </a:cubicBezTo>
                  <a:lnTo>
                    <a:pt x="97710" y="714704"/>
                  </a:lnTo>
                  <a:cubicBezTo>
                    <a:pt x="95407" y="714697"/>
                    <a:pt x="93104" y="714574"/>
                    <a:pt x="90814" y="714337"/>
                  </a:cubicBezTo>
                  <a:lnTo>
                    <a:pt x="95068" y="688720"/>
                  </a:lnTo>
                  <a:cubicBezTo>
                    <a:pt x="98488" y="668685"/>
                    <a:pt x="103889" y="649039"/>
                    <a:pt x="111188" y="630071"/>
                  </a:cubicBezTo>
                  <a:cubicBezTo>
                    <a:pt x="159115" y="505944"/>
                    <a:pt x="285336" y="418638"/>
                    <a:pt x="385692" y="435190"/>
                  </a:cubicBezTo>
                  <a:cubicBezTo>
                    <a:pt x="370742" y="446436"/>
                    <a:pt x="356548" y="458654"/>
                    <a:pt x="343202" y="471765"/>
                  </a:cubicBezTo>
                  <a:lnTo>
                    <a:pt x="312738" y="468290"/>
                  </a:lnTo>
                  <a:cubicBezTo>
                    <a:pt x="307512" y="467695"/>
                    <a:pt x="302792" y="471450"/>
                    <a:pt x="302196" y="476676"/>
                  </a:cubicBezTo>
                  <a:cubicBezTo>
                    <a:pt x="302029" y="478148"/>
                    <a:pt x="302207" y="479638"/>
                    <a:pt x="302716" y="481029"/>
                  </a:cubicBezTo>
                  <a:lnTo>
                    <a:pt x="311748" y="505711"/>
                  </a:lnTo>
                  <a:cubicBezTo>
                    <a:pt x="302116" y="517251"/>
                    <a:pt x="292196" y="530445"/>
                    <a:pt x="282843" y="544179"/>
                  </a:cubicBezTo>
                  <a:cubicBezTo>
                    <a:pt x="276671" y="553271"/>
                    <a:pt x="271392" y="561536"/>
                    <a:pt x="266584" y="569651"/>
                  </a:cubicBezTo>
                  <a:lnTo>
                    <a:pt x="236144" y="555234"/>
                  </a:lnTo>
                  <a:cubicBezTo>
                    <a:pt x="231389" y="552982"/>
                    <a:pt x="225710" y="555011"/>
                    <a:pt x="223458" y="559764"/>
                  </a:cubicBezTo>
                  <a:cubicBezTo>
                    <a:pt x="222585" y="561609"/>
                    <a:pt x="222327" y="563683"/>
                    <a:pt x="222721" y="565684"/>
                  </a:cubicBezTo>
                  <a:lnTo>
                    <a:pt x="234683" y="626356"/>
                  </a:lnTo>
                  <a:cubicBezTo>
                    <a:pt x="233241" y="630770"/>
                    <a:pt x="231948" y="636420"/>
                    <a:pt x="230590" y="642336"/>
                  </a:cubicBezTo>
                  <a:close/>
                  <a:moveTo>
                    <a:pt x="813112" y="260080"/>
                  </a:moveTo>
                  <a:cubicBezTo>
                    <a:pt x="813604" y="227334"/>
                    <a:pt x="818543" y="194808"/>
                    <a:pt x="827796" y="163393"/>
                  </a:cubicBezTo>
                  <a:cubicBezTo>
                    <a:pt x="834200" y="179225"/>
                    <a:pt x="841488" y="208083"/>
                    <a:pt x="841144" y="257150"/>
                  </a:cubicBezTo>
                  <a:lnTo>
                    <a:pt x="838933" y="303713"/>
                  </a:lnTo>
                  <a:cubicBezTo>
                    <a:pt x="837098" y="301405"/>
                    <a:pt x="835188" y="299153"/>
                    <a:pt x="833200" y="296957"/>
                  </a:cubicBezTo>
                  <a:cubicBezTo>
                    <a:pt x="830865" y="294381"/>
                    <a:pt x="828441" y="291881"/>
                    <a:pt x="825926" y="289460"/>
                  </a:cubicBezTo>
                  <a:cubicBezTo>
                    <a:pt x="821243" y="284940"/>
                    <a:pt x="817378" y="281381"/>
                    <a:pt x="815103" y="279535"/>
                  </a:cubicBezTo>
                  <a:cubicBezTo>
                    <a:pt x="814585" y="279113"/>
                    <a:pt x="814034" y="278760"/>
                    <a:pt x="813512" y="278347"/>
                  </a:cubicBezTo>
                  <a:cubicBezTo>
                    <a:pt x="813523" y="278100"/>
                    <a:pt x="813641" y="277884"/>
                    <a:pt x="813633" y="277632"/>
                  </a:cubicBezTo>
                  <a:close/>
                  <a:moveTo>
                    <a:pt x="713603" y="261560"/>
                  </a:moveTo>
                  <a:cubicBezTo>
                    <a:pt x="734039" y="263536"/>
                    <a:pt x="773678" y="270405"/>
                    <a:pt x="803090" y="294320"/>
                  </a:cubicBezTo>
                  <a:cubicBezTo>
                    <a:pt x="805118" y="295967"/>
                    <a:pt x="808536" y="299143"/>
                    <a:pt x="812708" y="303170"/>
                  </a:cubicBezTo>
                  <a:cubicBezTo>
                    <a:pt x="814913" y="305296"/>
                    <a:pt x="817037" y="307488"/>
                    <a:pt x="819080" y="309747"/>
                  </a:cubicBezTo>
                  <a:cubicBezTo>
                    <a:pt x="847193" y="342023"/>
                    <a:pt x="857959" y="385904"/>
                    <a:pt x="847976" y="427526"/>
                  </a:cubicBezTo>
                  <a:lnTo>
                    <a:pt x="840502" y="461143"/>
                  </a:lnTo>
                  <a:cubicBezTo>
                    <a:pt x="828523" y="443101"/>
                    <a:pt x="813610" y="427193"/>
                    <a:pt x="796379" y="414076"/>
                  </a:cubicBezTo>
                  <a:cubicBezTo>
                    <a:pt x="791466" y="410426"/>
                    <a:pt x="786276" y="407165"/>
                    <a:pt x="780856" y="404324"/>
                  </a:cubicBezTo>
                  <a:lnTo>
                    <a:pt x="763348" y="372041"/>
                  </a:lnTo>
                  <a:cubicBezTo>
                    <a:pt x="743428" y="336809"/>
                    <a:pt x="726777" y="299827"/>
                    <a:pt x="713603" y="261560"/>
                  </a:cubicBezTo>
                  <a:close/>
                  <a:moveTo>
                    <a:pt x="640835" y="396704"/>
                  </a:moveTo>
                  <a:cubicBezTo>
                    <a:pt x="676716" y="396076"/>
                    <a:pt x="712485" y="400901"/>
                    <a:pt x="746917" y="411011"/>
                  </a:cubicBezTo>
                  <a:cubicBezTo>
                    <a:pt x="750714" y="412064"/>
                    <a:pt x="754453" y="413320"/>
                    <a:pt x="758116" y="414773"/>
                  </a:cubicBezTo>
                  <a:lnTo>
                    <a:pt x="759758" y="415425"/>
                  </a:lnTo>
                  <a:cubicBezTo>
                    <a:pt x="768722" y="418880"/>
                    <a:pt x="777176" y="423536"/>
                    <a:pt x="784887" y="429265"/>
                  </a:cubicBezTo>
                  <a:cubicBezTo>
                    <a:pt x="814685" y="451923"/>
                    <a:pt x="836479" y="483495"/>
                    <a:pt x="847101" y="519390"/>
                  </a:cubicBezTo>
                  <a:cubicBezTo>
                    <a:pt x="853582" y="542660"/>
                    <a:pt x="854688" y="567100"/>
                    <a:pt x="850334" y="590861"/>
                  </a:cubicBezTo>
                  <a:lnTo>
                    <a:pt x="846711" y="612578"/>
                  </a:lnTo>
                  <a:cubicBezTo>
                    <a:pt x="829428" y="584238"/>
                    <a:pt x="804709" y="561175"/>
                    <a:pt x="775241" y="545895"/>
                  </a:cubicBezTo>
                  <a:cubicBezTo>
                    <a:pt x="764529" y="540481"/>
                    <a:pt x="753274" y="536220"/>
                    <a:pt x="741662" y="533184"/>
                  </a:cubicBezTo>
                  <a:lnTo>
                    <a:pt x="740336" y="532821"/>
                  </a:lnTo>
                  <a:cubicBezTo>
                    <a:pt x="735189" y="531398"/>
                    <a:pt x="729960" y="530251"/>
                    <a:pt x="724706" y="529251"/>
                  </a:cubicBezTo>
                  <a:lnTo>
                    <a:pt x="706045" y="505800"/>
                  </a:lnTo>
                  <a:cubicBezTo>
                    <a:pt x="679551" y="472498"/>
                    <a:pt x="657621" y="435809"/>
                    <a:pt x="640835" y="396704"/>
                  </a:cubicBezTo>
                  <a:close/>
                  <a:moveTo>
                    <a:pt x="371416" y="676178"/>
                  </a:moveTo>
                  <a:cubicBezTo>
                    <a:pt x="390947" y="664826"/>
                    <a:pt x="408767" y="650759"/>
                    <a:pt x="424342" y="634398"/>
                  </a:cubicBezTo>
                  <a:cubicBezTo>
                    <a:pt x="437948" y="619211"/>
                    <a:pt x="449196" y="602066"/>
                    <a:pt x="457708" y="583537"/>
                  </a:cubicBezTo>
                  <a:cubicBezTo>
                    <a:pt x="463211" y="593667"/>
                    <a:pt x="469516" y="603338"/>
                    <a:pt x="476566" y="612460"/>
                  </a:cubicBezTo>
                  <a:cubicBezTo>
                    <a:pt x="493532" y="633377"/>
                    <a:pt x="513443" y="651724"/>
                    <a:pt x="535675" y="666926"/>
                  </a:cubicBezTo>
                  <a:cubicBezTo>
                    <a:pt x="538283" y="685743"/>
                    <a:pt x="541077" y="701802"/>
                    <a:pt x="543603" y="714704"/>
                  </a:cubicBezTo>
                  <a:lnTo>
                    <a:pt x="536563" y="714704"/>
                  </a:lnTo>
                  <a:cubicBezTo>
                    <a:pt x="535430" y="708950"/>
                    <a:pt x="530188" y="691031"/>
                    <a:pt x="506847" y="669510"/>
                  </a:cubicBezTo>
                  <a:cubicBezTo>
                    <a:pt x="489225" y="653463"/>
                    <a:pt x="468818" y="640775"/>
                    <a:pt x="446631" y="632071"/>
                  </a:cubicBezTo>
                  <a:cubicBezTo>
                    <a:pt x="449786" y="638483"/>
                    <a:pt x="453326" y="644698"/>
                    <a:pt x="457233" y="650682"/>
                  </a:cubicBezTo>
                  <a:cubicBezTo>
                    <a:pt x="427585" y="665686"/>
                    <a:pt x="402016" y="687654"/>
                    <a:pt x="382717" y="714704"/>
                  </a:cubicBezTo>
                  <a:lnTo>
                    <a:pt x="364958" y="714704"/>
                  </a:lnTo>
                  <a:cubicBezTo>
                    <a:pt x="366868" y="701812"/>
                    <a:pt x="368989" y="688953"/>
                    <a:pt x="371416" y="676178"/>
                  </a:cubicBezTo>
                  <a:close/>
                  <a:moveTo>
                    <a:pt x="489867" y="690067"/>
                  </a:moveTo>
                  <a:cubicBezTo>
                    <a:pt x="499569" y="699113"/>
                    <a:pt x="509995" y="707353"/>
                    <a:pt x="521037" y="714704"/>
                  </a:cubicBezTo>
                  <a:lnTo>
                    <a:pt x="420235" y="714704"/>
                  </a:lnTo>
                  <a:cubicBezTo>
                    <a:pt x="436272" y="696374"/>
                    <a:pt x="449325" y="675635"/>
                    <a:pt x="458917" y="653249"/>
                  </a:cubicBezTo>
                  <a:cubicBezTo>
                    <a:pt x="467732" y="666709"/>
                    <a:pt x="478123" y="679069"/>
                    <a:pt x="489867" y="690067"/>
                  </a:cubicBezTo>
                  <a:close/>
                  <a:moveTo>
                    <a:pt x="598468" y="665112"/>
                  </a:moveTo>
                  <a:cubicBezTo>
                    <a:pt x="587199" y="679610"/>
                    <a:pt x="579623" y="696628"/>
                    <a:pt x="576391" y="714704"/>
                  </a:cubicBezTo>
                  <a:lnTo>
                    <a:pt x="563009" y="714704"/>
                  </a:lnTo>
                  <a:cubicBezTo>
                    <a:pt x="560494" y="702178"/>
                    <a:pt x="557628" y="686179"/>
                    <a:pt x="554946" y="667266"/>
                  </a:cubicBezTo>
                  <a:cubicBezTo>
                    <a:pt x="574080" y="649070"/>
                    <a:pt x="590524" y="628241"/>
                    <a:pt x="603783" y="605406"/>
                  </a:cubicBezTo>
                  <a:cubicBezTo>
                    <a:pt x="608471" y="596883"/>
                    <a:pt x="612565" y="588047"/>
                    <a:pt x="616034" y="578961"/>
                  </a:cubicBezTo>
                  <a:cubicBezTo>
                    <a:pt x="622634" y="589763"/>
                    <a:pt x="629614" y="600470"/>
                    <a:pt x="637342" y="610850"/>
                  </a:cubicBezTo>
                  <a:lnTo>
                    <a:pt x="640649" y="615212"/>
                  </a:lnTo>
                  <a:cubicBezTo>
                    <a:pt x="641628" y="616492"/>
                    <a:pt x="642658" y="617711"/>
                    <a:pt x="643649" y="618975"/>
                  </a:cubicBezTo>
                  <a:cubicBezTo>
                    <a:pt x="626437" y="632089"/>
                    <a:pt x="611218" y="647630"/>
                    <a:pt x="598467" y="665112"/>
                  </a:cubicBezTo>
                  <a:close/>
                  <a:moveTo>
                    <a:pt x="854171" y="714652"/>
                  </a:moveTo>
                  <a:cubicBezTo>
                    <a:pt x="800538" y="713460"/>
                    <a:pt x="748958" y="693796"/>
                    <a:pt x="708142" y="658982"/>
                  </a:cubicBezTo>
                  <a:cubicBezTo>
                    <a:pt x="704040" y="655489"/>
                    <a:pt x="699994" y="651964"/>
                    <a:pt x="696231" y="648592"/>
                  </a:cubicBezTo>
                  <a:cubicBezTo>
                    <a:pt x="681562" y="634736"/>
                    <a:pt x="668040" y="619712"/>
                    <a:pt x="655801" y="603669"/>
                  </a:cubicBezTo>
                  <a:lnTo>
                    <a:pt x="652573" y="599408"/>
                  </a:lnTo>
                  <a:cubicBezTo>
                    <a:pt x="643878" y="587741"/>
                    <a:pt x="635829" y="575606"/>
                    <a:pt x="628465" y="563058"/>
                  </a:cubicBezTo>
                  <a:cubicBezTo>
                    <a:pt x="626084" y="558952"/>
                    <a:pt x="624259" y="554550"/>
                    <a:pt x="623035" y="549964"/>
                  </a:cubicBezTo>
                  <a:lnTo>
                    <a:pt x="622087" y="546482"/>
                  </a:lnTo>
                  <a:lnTo>
                    <a:pt x="641351" y="544617"/>
                  </a:lnTo>
                  <a:cubicBezTo>
                    <a:pt x="662135" y="542828"/>
                    <a:pt x="683047" y="543116"/>
                    <a:pt x="703775" y="545477"/>
                  </a:cubicBezTo>
                  <a:cubicBezTo>
                    <a:pt x="714420" y="546423"/>
                    <a:pt x="724957" y="548333"/>
                    <a:pt x="735257" y="551183"/>
                  </a:cubicBezTo>
                  <a:lnTo>
                    <a:pt x="735266" y="551188"/>
                  </a:lnTo>
                  <a:lnTo>
                    <a:pt x="736587" y="551551"/>
                  </a:lnTo>
                  <a:cubicBezTo>
                    <a:pt x="762848" y="558000"/>
                    <a:pt x="786507" y="572332"/>
                    <a:pt x="804388" y="592619"/>
                  </a:cubicBezTo>
                  <a:cubicBezTo>
                    <a:pt x="836167" y="624010"/>
                    <a:pt x="854090" y="666795"/>
                    <a:pt x="854171" y="711463"/>
                  </a:cubicBezTo>
                  <a:close/>
                </a:path>
              </a:pathLst>
            </a:custGeom>
            <a:solidFill>
              <a:srgbClr val="F7990F"/>
            </a:solidFill>
            <a:ln w="9525" cap="flat">
              <a:noFill/>
              <a:prstDash val="solid"/>
              <a:miter/>
            </a:ln>
          </p:spPr>
          <p:txBody>
            <a:bodyPr rtlCol="0" anchor="ctr"/>
            <a:lstStyle/>
            <a:p>
              <a:endParaRPr lang="en-US">
                <a:latin typeface="Avenir Next LT Pro" panose="020B0504020202020204" pitchFamily="34" charset="0"/>
              </a:endParaRPr>
            </a:p>
          </p:txBody>
        </p:sp>
      </p:grpSp>
      <p:sp>
        <p:nvSpPr>
          <p:cNvPr id="29" name="TextBox 28">
            <a:extLst>
              <a:ext uri="{FF2B5EF4-FFF2-40B4-BE49-F238E27FC236}">
                <a16:creationId xmlns:a16="http://schemas.microsoft.com/office/drawing/2014/main" id="{11DBB52C-4649-272F-377B-A4C11DB27CA8}"/>
              </a:ext>
            </a:extLst>
          </p:cNvPr>
          <p:cNvSpPr txBox="1"/>
          <p:nvPr/>
        </p:nvSpPr>
        <p:spPr>
          <a:xfrm>
            <a:off x="5260844" y="3311946"/>
            <a:ext cx="1741936" cy="246221"/>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lnSpc>
                <a:spcPct val="100000"/>
              </a:lnSpc>
              <a:spcBef>
                <a:spcPts val="200"/>
              </a:spcBef>
              <a:spcAft>
                <a:spcPts val="200"/>
              </a:spcAft>
              <a:buNone/>
            </a:pPr>
            <a:r>
              <a:rPr lang="en-US" sz="1600" b="1" dirty="0">
                <a:solidFill>
                  <a:srgbClr val="031F35"/>
                </a:solidFill>
              </a:rPr>
              <a:t>CBA MISSION</a:t>
            </a:r>
          </a:p>
        </p:txBody>
      </p:sp>
      <p:grpSp>
        <p:nvGrpSpPr>
          <p:cNvPr id="150" name="Group 149">
            <a:extLst>
              <a:ext uri="{FF2B5EF4-FFF2-40B4-BE49-F238E27FC236}">
                <a16:creationId xmlns:a16="http://schemas.microsoft.com/office/drawing/2014/main" id="{0D218E54-932D-87BF-B8D7-CE41C43337A0}"/>
              </a:ext>
            </a:extLst>
          </p:cNvPr>
          <p:cNvGrpSpPr/>
          <p:nvPr/>
        </p:nvGrpSpPr>
        <p:grpSpPr>
          <a:xfrm>
            <a:off x="7078246" y="2723627"/>
            <a:ext cx="811242" cy="811240"/>
            <a:chOff x="7078246" y="2723627"/>
            <a:chExt cx="811242" cy="811240"/>
          </a:xfrm>
        </p:grpSpPr>
        <p:grpSp>
          <p:nvGrpSpPr>
            <p:cNvPr id="142" name="Group 141">
              <a:extLst>
                <a:ext uri="{FF2B5EF4-FFF2-40B4-BE49-F238E27FC236}">
                  <a16:creationId xmlns:a16="http://schemas.microsoft.com/office/drawing/2014/main" id="{48A8AFB9-89F7-4B17-551B-B11004A1206D}"/>
                </a:ext>
              </a:extLst>
            </p:cNvPr>
            <p:cNvGrpSpPr/>
            <p:nvPr/>
          </p:nvGrpSpPr>
          <p:grpSpPr>
            <a:xfrm>
              <a:off x="7078246" y="2723627"/>
              <a:ext cx="811242" cy="811240"/>
              <a:chOff x="2833864" y="3891542"/>
              <a:chExt cx="811242" cy="811240"/>
            </a:xfrm>
          </p:grpSpPr>
          <p:sp>
            <p:nvSpPr>
              <p:cNvPr id="143" name="Oval 142">
                <a:extLst>
                  <a:ext uri="{FF2B5EF4-FFF2-40B4-BE49-F238E27FC236}">
                    <a16:creationId xmlns:a16="http://schemas.microsoft.com/office/drawing/2014/main" id="{B139B131-CB01-C14D-C905-B57F7A42DBC9}"/>
                  </a:ext>
                </a:extLst>
              </p:cNvPr>
              <p:cNvSpPr>
                <a:spLocks noChangeAspect="1"/>
              </p:cNvSpPr>
              <p:nvPr/>
            </p:nvSpPr>
            <p:spPr>
              <a:xfrm>
                <a:off x="2833864"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144" name="Arc 143">
                <a:extLst>
                  <a:ext uri="{FF2B5EF4-FFF2-40B4-BE49-F238E27FC236}">
                    <a16:creationId xmlns:a16="http://schemas.microsoft.com/office/drawing/2014/main" id="{1F611140-B8B4-7626-AC51-361651572709}"/>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grpSp>
        <p:grpSp>
          <p:nvGrpSpPr>
            <p:cNvPr id="72" name="Graphic 68" descr="Neighborhood outline">
              <a:extLst>
                <a:ext uri="{FF2B5EF4-FFF2-40B4-BE49-F238E27FC236}">
                  <a16:creationId xmlns:a16="http://schemas.microsoft.com/office/drawing/2014/main" id="{729A0FE2-D51C-084D-8342-A9139C49B5E4}"/>
                </a:ext>
              </a:extLst>
            </p:cNvPr>
            <p:cNvGrpSpPr/>
            <p:nvPr/>
          </p:nvGrpSpPr>
          <p:grpSpPr>
            <a:xfrm>
              <a:off x="7207626" y="2898906"/>
              <a:ext cx="552482" cy="460682"/>
              <a:chOff x="4421690" y="2049341"/>
              <a:chExt cx="492683" cy="410820"/>
            </a:xfrm>
            <a:solidFill>
              <a:srgbClr val="F7990F"/>
            </a:solidFill>
          </p:grpSpPr>
          <p:sp>
            <p:nvSpPr>
              <p:cNvPr id="73" name="Freeform: Shape 72">
                <a:extLst>
                  <a:ext uri="{FF2B5EF4-FFF2-40B4-BE49-F238E27FC236}">
                    <a16:creationId xmlns:a16="http://schemas.microsoft.com/office/drawing/2014/main" id="{6649BC58-0863-012F-79D1-5A8016DB67F7}"/>
                  </a:ext>
                </a:extLst>
              </p:cNvPr>
              <p:cNvSpPr/>
              <p:nvPr/>
            </p:nvSpPr>
            <p:spPr>
              <a:xfrm>
                <a:off x="4695565" y="2375265"/>
                <a:ext cx="32865" cy="32865"/>
              </a:xfrm>
              <a:custGeom>
                <a:avLst/>
                <a:gdLst>
                  <a:gd name="connsiteX0" fmla="*/ 32865 w 32865"/>
                  <a:gd name="connsiteY0" fmla="*/ 32865 h 32865"/>
                  <a:gd name="connsiteX1" fmla="*/ 32865 w 32865"/>
                  <a:gd name="connsiteY1" fmla="*/ 0 h 32865"/>
                  <a:gd name="connsiteX2" fmla="*/ 0 w 32865"/>
                  <a:gd name="connsiteY2" fmla="*/ 0 h 32865"/>
                  <a:gd name="connsiteX3" fmla="*/ 0 w 32865"/>
                  <a:gd name="connsiteY3" fmla="*/ 32865 h 32865"/>
                  <a:gd name="connsiteX4" fmla="*/ 10955 w 32865"/>
                  <a:gd name="connsiteY4" fmla="*/ 10955 h 32865"/>
                  <a:gd name="connsiteX5" fmla="*/ 21910 w 32865"/>
                  <a:gd name="connsiteY5" fmla="*/ 10955 h 32865"/>
                  <a:gd name="connsiteX6" fmla="*/ 21910 w 32865"/>
                  <a:gd name="connsiteY6" fmla="*/ 21910 h 32865"/>
                  <a:gd name="connsiteX7" fmla="*/ 10955 w 32865"/>
                  <a:gd name="connsiteY7" fmla="*/ 21910 h 3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65" h="32865">
                    <a:moveTo>
                      <a:pt x="32865" y="32865"/>
                    </a:moveTo>
                    <a:lnTo>
                      <a:pt x="32865" y="0"/>
                    </a:lnTo>
                    <a:lnTo>
                      <a:pt x="0" y="0"/>
                    </a:lnTo>
                    <a:lnTo>
                      <a:pt x="0" y="32865"/>
                    </a:lnTo>
                    <a:close/>
                    <a:moveTo>
                      <a:pt x="10955" y="10955"/>
                    </a:moveTo>
                    <a:lnTo>
                      <a:pt x="21910" y="10955"/>
                    </a:lnTo>
                    <a:lnTo>
                      <a:pt x="21910" y="21910"/>
                    </a:lnTo>
                    <a:lnTo>
                      <a:pt x="10955" y="21910"/>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74" name="Freeform: Shape 73">
                <a:extLst>
                  <a:ext uri="{FF2B5EF4-FFF2-40B4-BE49-F238E27FC236}">
                    <a16:creationId xmlns:a16="http://schemas.microsoft.com/office/drawing/2014/main" id="{95CD7981-E41B-633C-103B-35DF685ADF92}"/>
                  </a:ext>
                </a:extLst>
              </p:cNvPr>
              <p:cNvSpPr/>
              <p:nvPr/>
            </p:nvSpPr>
            <p:spPr>
              <a:xfrm>
                <a:off x="4788685" y="2375273"/>
                <a:ext cx="32865" cy="32865"/>
              </a:xfrm>
              <a:custGeom>
                <a:avLst/>
                <a:gdLst>
                  <a:gd name="connsiteX0" fmla="*/ 32865 w 32865"/>
                  <a:gd name="connsiteY0" fmla="*/ 32865 h 32865"/>
                  <a:gd name="connsiteX1" fmla="*/ 32865 w 32865"/>
                  <a:gd name="connsiteY1" fmla="*/ 0 h 32865"/>
                  <a:gd name="connsiteX2" fmla="*/ 0 w 32865"/>
                  <a:gd name="connsiteY2" fmla="*/ 0 h 32865"/>
                  <a:gd name="connsiteX3" fmla="*/ 0 w 32865"/>
                  <a:gd name="connsiteY3" fmla="*/ 32865 h 32865"/>
                  <a:gd name="connsiteX4" fmla="*/ 10955 w 32865"/>
                  <a:gd name="connsiteY4" fmla="*/ 10955 h 32865"/>
                  <a:gd name="connsiteX5" fmla="*/ 21910 w 32865"/>
                  <a:gd name="connsiteY5" fmla="*/ 10955 h 32865"/>
                  <a:gd name="connsiteX6" fmla="*/ 21910 w 32865"/>
                  <a:gd name="connsiteY6" fmla="*/ 21910 h 32865"/>
                  <a:gd name="connsiteX7" fmla="*/ 10955 w 32865"/>
                  <a:gd name="connsiteY7" fmla="*/ 21910 h 3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65" h="32865">
                    <a:moveTo>
                      <a:pt x="32865" y="32865"/>
                    </a:moveTo>
                    <a:lnTo>
                      <a:pt x="32865" y="0"/>
                    </a:lnTo>
                    <a:lnTo>
                      <a:pt x="0" y="0"/>
                    </a:lnTo>
                    <a:lnTo>
                      <a:pt x="0" y="32865"/>
                    </a:lnTo>
                    <a:close/>
                    <a:moveTo>
                      <a:pt x="10955" y="10955"/>
                    </a:moveTo>
                    <a:lnTo>
                      <a:pt x="21910" y="10955"/>
                    </a:lnTo>
                    <a:lnTo>
                      <a:pt x="21910" y="21910"/>
                    </a:lnTo>
                    <a:lnTo>
                      <a:pt x="10955" y="21910"/>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75" name="Freeform: Shape 74">
                <a:extLst>
                  <a:ext uri="{FF2B5EF4-FFF2-40B4-BE49-F238E27FC236}">
                    <a16:creationId xmlns:a16="http://schemas.microsoft.com/office/drawing/2014/main" id="{7DDC30BB-6123-FADA-FFBA-3A293515EF95}"/>
                  </a:ext>
                </a:extLst>
              </p:cNvPr>
              <p:cNvSpPr/>
              <p:nvPr/>
            </p:nvSpPr>
            <p:spPr>
              <a:xfrm>
                <a:off x="4470985" y="2375265"/>
                <a:ext cx="32864" cy="32865"/>
              </a:xfrm>
              <a:custGeom>
                <a:avLst/>
                <a:gdLst>
                  <a:gd name="connsiteX0" fmla="*/ 0 w 32864"/>
                  <a:gd name="connsiteY0" fmla="*/ 32865 h 32865"/>
                  <a:gd name="connsiteX1" fmla="*/ 32865 w 32864"/>
                  <a:gd name="connsiteY1" fmla="*/ 32865 h 32865"/>
                  <a:gd name="connsiteX2" fmla="*/ 32865 w 32864"/>
                  <a:gd name="connsiteY2" fmla="*/ 0 h 32865"/>
                  <a:gd name="connsiteX3" fmla="*/ 0 w 32864"/>
                  <a:gd name="connsiteY3" fmla="*/ 0 h 32865"/>
                  <a:gd name="connsiteX4" fmla="*/ 10955 w 32864"/>
                  <a:gd name="connsiteY4" fmla="*/ 10955 h 32865"/>
                  <a:gd name="connsiteX5" fmla="*/ 21910 w 32864"/>
                  <a:gd name="connsiteY5" fmla="*/ 10955 h 32865"/>
                  <a:gd name="connsiteX6" fmla="*/ 21910 w 32864"/>
                  <a:gd name="connsiteY6" fmla="*/ 21910 h 32865"/>
                  <a:gd name="connsiteX7" fmla="*/ 10955 w 32864"/>
                  <a:gd name="connsiteY7" fmla="*/ 21910 h 3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64" h="32865">
                    <a:moveTo>
                      <a:pt x="0" y="32865"/>
                    </a:moveTo>
                    <a:lnTo>
                      <a:pt x="32865" y="32865"/>
                    </a:lnTo>
                    <a:lnTo>
                      <a:pt x="32865" y="0"/>
                    </a:lnTo>
                    <a:lnTo>
                      <a:pt x="0" y="0"/>
                    </a:lnTo>
                    <a:close/>
                    <a:moveTo>
                      <a:pt x="10955" y="10955"/>
                    </a:moveTo>
                    <a:lnTo>
                      <a:pt x="21910" y="10955"/>
                    </a:lnTo>
                    <a:lnTo>
                      <a:pt x="21910" y="21910"/>
                    </a:lnTo>
                    <a:lnTo>
                      <a:pt x="10955" y="21910"/>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76" name="Freeform: Shape 75">
                <a:extLst>
                  <a:ext uri="{FF2B5EF4-FFF2-40B4-BE49-F238E27FC236}">
                    <a16:creationId xmlns:a16="http://schemas.microsoft.com/office/drawing/2014/main" id="{82949B9D-DA9D-18A9-2AAD-DEC1ECB1C32A}"/>
                  </a:ext>
                </a:extLst>
              </p:cNvPr>
              <p:cNvSpPr/>
              <p:nvPr/>
            </p:nvSpPr>
            <p:spPr>
              <a:xfrm>
                <a:off x="4564105" y="2375273"/>
                <a:ext cx="32864" cy="32865"/>
              </a:xfrm>
              <a:custGeom>
                <a:avLst/>
                <a:gdLst>
                  <a:gd name="connsiteX0" fmla="*/ 32865 w 32864"/>
                  <a:gd name="connsiteY0" fmla="*/ 0 h 32865"/>
                  <a:gd name="connsiteX1" fmla="*/ 0 w 32864"/>
                  <a:gd name="connsiteY1" fmla="*/ 0 h 32865"/>
                  <a:gd name="connsiteX2" fmla="*/ 0 w 32864"/>
                  <a:gd name="connsiteY2" fmla="*/ 32865 h 32865"/>
                  <a:gd name="connsiteX3" fmla="*/ 32865 w 32864"/>
                  <a:gd name="connsiteY3" fmla="*/ 32865 h 32865"/>
                  <a:gd name="connsiteX4" fmla="*/ 21910 w 32864"/>
                  <a:gd name="connsiteY4" fmla="*/ 21910 h 32865"/>
                  <a:gd name="connsiteX5" fmla="*/ 10955 w 32864"/>
                  <a:gd name="connsiteY5" fmla="*/ 21910 h 32865"/>
                  <a:gd name="connsiteX6" fmla="*/ 10955 w 32864"/>
                  <a:gd name="connsiteY6" fmla="*/ 10955 h 32865"/>
                  <a:gd name="connsiteX7" fmla="*/ 21910 w 32864"/>
                  <a:gd name="connsiteY7" fmla="*/ 10955 h 3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64" h="32865">
                    <a:moveTo>
                      <a:pt x="32865" y="0"/>
                    </a:moveTo>
                    <a:lnTo>
                      <a:pt x="0" y="0"/>
                    </a:lnTo>
                    <a:lnTo>
                      <a:pt x="0" y="32865"/>
                    </a:lnTo>
                    <a:lnTo>
                      <a:pt x="32865" y="32865"/>
                    </a:lnTo>
                    <a:close/>
                    <a:moveTo>
                      <a:pt x="21910" y="21910"/>
                    </a:moveTo>
                    <a:lnTo>
                      <a:pt x="10955" y="21910"/>
                    </a:lnTo>
                    <a:lnTo>
                      <a:pt x="10955" y="10955"/>
                    </a:lnTo>
                    <a:lnTo>
                      <a:pt x="21910" y="10955"/>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77" name="Freeform: Shape 76">
                <a:extLst>
                  <a:ext uri="{FF2B5EF4-FFF2-40B4-BE49-F238E27FC236}">
                    <a16:creationId xmlns:a16="http://schemas.microsoft.com/office/drawing/2014/main" id="{D3D3ACD7-A412-E836-6416-09F7AF2FC8B9}"/>
                  </a:ext>
                </a:extLst>
              </p:cNvPr>
              <p:cNvSpPr/>
              <p:nvPr/>
            </p:nvSpPr>
            <p:spPr>
              <a:xfrm>
                <a:off x="4542195" y="2115071"/>
                <a:ext cx="27387" cy="10955"/>
              </a:xfrm>
              <a:custGeom>
                <a:avLst/>
                <a:gdLst>
                  <a:gd name="connsiteX0" fmla="*/ 0 w 27387"/>
                  <a:gd name="connsiteY0" fmla="*/ 0 h 10955"/>
                  <a:gd name="connsiteX1" fmla="*/ 27388 w 27387"/>
                  <a:gd name="connsiteY1" fmla="*/ 0 h 10955"/>
                  <a:gd name="connsiteX2" fmla="*/ 27388 w 27387"/>
                  <a:gd name="connsiteY2" fmla="*/ 10955 h 10955"/>
                  <a:gd name="connsiteX3" fmla="*/ 0 w 27387"/>
                  <a:gd name="connsiteY3" fmla="*/ 10955 h 10955"/>
                </a:gdLst>
                <a:ahLst/>
                <a:cxnLst>
                  <a:cxn ang="0">
                    <a:pos x="connsiteX0" y="connsiteY0"/>
                  </a:cxn>
                  <a:cxn ang="0">
                    <a:pos x="connsiteX1" y="connsiteY1"/>
                  </a:cxn>
                  <a:cxn ang="0">
                    <a:pos x="connsiteX2" y="connsiteY2"/>
                  </a:cxn>
                  <a:cxn ang="0">
                    <a:pos x="connsiteX3" y="connsiteY3"/>
                  </a:cxn>
                </a:cxnLst>
                <a:rect l="l" t="t" r="r" b="b"/>
                <a:pathLst>
                  <a:path w="27387" h="10955">
                    <a:moveTo>
                      <a:pt x="0" y="0"/>
                    </a:moveTo>
                    <a:lnTo>
                      <a:pt x="27388" y="0"/>
                    </a:lnTo>
                    <a:lnTo>
                      <a:pt x="27388" y="10955"/>
                    </a:lnTo>
                    <a:lnTo>
                      <a:pt x="0" y="10955"/>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78" name="Freeform: Shape 77">
                <a:extLst>
                  <a:ext uri="{FF2B5EF4-FFF2-40B4-BE49-F238E27FC236}">
                    <a16:creationId xmlns:a16="http://schemas.microsoft.com/office/drawing/2014/main" id="{47E3EF8F-8A6C-02AF-6924-2987A07EFBEA}"/>
                  </a:ext>
                </a:extLst>
              </p:cNvPr>
              <p:cNvSpPr/>
              <p:nvPr/>
            </p:nvSpPr>
            <p:spPr>
              <a:xfrm>
                <a:off x="4560600" y="2067638"/>
                <a:ext cx="26784" cy="27387"/>
              </a:xfrm>
              <a:custGeom>
                <a:avLst/>
                <a:gdLst>
                  <a:gd name="connsiteX0" fmla="*/ 26785 w 26784"/>
                  <a:gd name="connsiteY0" fmla="*/ 19445 h 27387"/>
                  <a:gd name="connsiteX1" fmla="*/ 7778 w 26784"/>
                  <a:gd name="connsiteY1" fmla="*/ 0 h 27387"/>
                  <a:gd name="connsiteX2" fmla="*/ 0 w 26784"/>
                  <a:gd name="connsiteY2" fmla="*/ 7942 h 27387"/>
                  <a:gd name="connsiteX3" fmla="*/ 19062 w 26784"/>
                  <a:gd name="connsiteY3" fmla="*/ 27387 h 27387"/>
                  <a:gd name="connsiteX4" fmla="*/ 26785 w 26784"/>
                  <a:gd name="connsiteY4" fmla="*/ 19445 h 2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4" h="27387">
                    <a:moveTo>
                      <a:pt x="26785" y="19445"/>
                    </a:moveTo>
                    <a:lnTo>
                      <a:pt x="7778" y="0"/>
                    </a:lnTo>
                    <a:lnTo>
                      <a:pt x="0" y="7942"/>
                    </a:lnTo>
                    <a:lnTo>
                      <a:pt x="19062" y="27387"/>
                    </a:lnTo>
                    <a:lnTo>
                      <a:pt x="26785" y="19445"/>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79" name="Freeform: Shape 78">
                <a:extLst>
                  <a:ext uri="{FF2B5EF4-FFF2-40B4-BE49-F238E27FC236}">
                    <a16:creationId xmlns:a16="http://schemas.microsoft.com/office/drawing/2014/main" id="{1B9D6AC8-943C-A3C3-0464-CFC9722CF82E}"/>
                  </a:ext>
                </a:extLst>
              </p:cNvPr>
              <p:cNvSpPr/>
              <p:nvPr/>
            </p:nvSpPr>
            <p:spPr>
              <a:xfrm>
                <a:off x="4580538" y="2088341"/>
                <a:ext cx="65730" cy="65730"/>
              </a:xfrm>
              <a:custGeom>
                <a:avLst/>
                <a:gdLst>
                  <a:gd name="connsiteX0" fmla="*/ 32865 w 65730"/>
                  <a:gd name="connsiteY0" fmla="*/ 65730 h 65730"/>
                  <a:gd name="connsiteX1" fmla="*/ 65730 w 65730"/>
                  <a:gd name="connsiteY1" fmla="*/ 32865 h 65730"/>
                  <a:gd name="connsiteX2" fmla="*/ 32865 w 65730"/>
                  <a:gd name="connsiteY2" fmla="*/ 0 h 65730"/>
                  <a:gd name="connsiteX3" fmla="*/ 0 w 65730"/>
                  <a:gd name="connsiteY3" fmla="*/ 32865 h 65730"/>
                  <a:gd name="connsiteX4" fmla="*/ 32865 w 65730"/>
                  <a:gd name="connsiteY4" fmla="*/ 65730 h 65730"/>
                  <a:gd name="connsiteX5" fmla="*/ 32865 w 65730"/>
                  <a:gd name="connsiteY5" fmla="*/ 10955 h 65730"/>
                  <a:gd name="connsiteX6" fmla="*/ 54775 w 65730"/>
                  <a:gd name="connsiteY6" fmla="*/ 32865 h 65730"/>
                  <a:gd name="connsiteX7" fmla="*/ 32865 w 65730"/>
                  <a:gd name="connsiteY7" fmla="*/ 54775 h 65730"/>
                  <a:gd name="connsiteX8" fmla="*/ 10955 w 65730"/>
                  <a:gd name="connsiteY8" fmla="*/ 32865 h 65730"/>
                  <a:gd name="connsiteX9" fmla="*/ 32865 w 65730"/>
                  <a:gd name="connsiteY9" fmla="*/ 10955 h 6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730" h="65730">
                    <a:moveTo>
                      <a:pt x="32865" y="65730"/>
                    </a:moveTo>
                    <a:cubicBezTo>
                      <a:pt x="51016" y="65730"/>
                      <a:pt x="65730" y="51016"/>
                      <a:pt x="65730" y="32865"/>
                    </a:cubicBezTo>
                    <a:cubicBezTo>
                      <a:pt x="65730" y="14714"/>
                      <a:pt x="51016" y="0"/>
                      <a:pt x="32865" y="0"/>
                    </a:cubicBezTo>
                    <a:cubicBezTo>
                      <a:pt x="14714" y="0"/>
                      <a:pt x="0" y="14714"/>
                      <a:pt x="0" y="32865"/>
                    </a:cubicBezTo>
                    <a:cubicBezTo>
                      <a:pt x="0" y="51016"/>
                      <a:pt x="14714" y="65730"/>
                      <a:pt x="32865" y="65730"/>
                    </a:cubicBezTo>
                    <a:close/>
                    <a:moveTo>
                      <a:pt x="32865" y="10955"/>
                    </a:moveTo>
                    <a:cubicBezTo>
                      <a:pt x="44966" y="10955"/>
                      <a:pt x="54775" y="20765"/>
                      <a:pt x="54775" y="32865"/>
                    </a:cubicBezTo>
                    <a:cubicBezTo>
                      <a:pt x="54775" y="44965"/>
                      <a:pt x="44966" y="54775"/>
                      <a:pt x="32865" y="54775"/>
                    </a:cubicBezTo>
                    <a:cubicBezTo>
                      <a:pt x="20765" y="54775"/>
                      <a:pt x="10955" y="44965"/>
                      <a:pt x="10955" y="32865"/>
                    </a:cubicBezTo>
                    <a:cubicBezTo>
                      <a:pt x="10969" y="20770"/>
                      <a:pt x="20770" y="10969"/>
                      <a:pt x="32865" y="10955"/>
                    </a:cubicBez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80" name="Freeform: Shape 79">
                <a:extLst>
                  <a:ext uri="{FF2B5EF4-FFF2-40B4-BE49-F238E27FC236}">
                    <a16:creationId xmlns:a16="http://schemas.microsoft.com/office/drawing/2014/main" id="{9CE80E6F-08E2-630F-A4F1-D6CB99B7F690}"/>
                  </a:ext>
                </a:extLst>
              </p:cNvPr>
              <p:cNvSpPr/>
              <p:nvPr/>
            </p:nvSpPr>
            <p:spPr>
              <a:xfrm>
                <a:off x="4607925" y="2049341"/>
                <a:ext cx="10955" cy="27387"/>
              </a:xfrm>
              <a:custGeom>
                <a:avLst/>
                <a:gdLst>
                  <a:gd name="connsiteX0" fmla="*/ 0 w 10955"/>
                  <a:gd name="connsiteY0" fmla="*/ 0 h 27387"/>
                  <a:gd name="connsiteX1" fmla="*/ 10955 w 10955"/>
                  <a:gd name="connsiteY1" fmla="*/ 0 h 27387"/>
                  <a:gd name="connsiteX2" fmla="*/ 10955 w 10955"/>
                  <a:gd name="connsiteY2" fmla="*/ 27387 h 27387"/>
                  <a:gd name="connsiteX3" fmla="*/ 0 w 10955"/>
                  <a:gd name="connsiteY3" fmla="*/ 27387 h 27387"/>
                </a:gdLst>
                <a:ahLst/>
                <a:cxnLst>
                  <a:cxn ang="0">
                    <a:pos x="connsiteX0" y="connsiteY0"/>
                  </a:cxn>
                  <a:cxn ang="0">
                    <a:pos x="connsiteX1" y="connsiteY1"/>
                  </a:cxn>
                  <a:cxn ang="0">
                    <a:pos x="connsiteX2" y="connsiteY2"/>
                  </a:cxn>
                  <a:cxn ang="0">
                    <a:pos x="connsiteX3" y="connsiteY3"/>
                  </a:cxn>
                </a:cxnLst>
                <a:rect l="l" t="t" r="r" b="b"/>
                <a:pathLst>
                  <a:path w="10955" h="27387">
                    <a:moveTo>
                      <a:pt x="0" y="0"/>
                    </a:moveTo>
                    <a:lnTo>
                      <a:pt x="10955" y="0"/>
                    </a:lnTo>
                    <a:lnTo>
                      <a:pt x="10955" y="27387"/>
                    </a:lnTo>
                    <a:lnTo>
                      <a:pt x="0" y="27387"/>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81" name="Freeform: Shape 80">
                <a:extLst>
                  <a:ext uri="{FF2B5EF4-FFF2-40B4-BE49-F238E27FC236}">
                    <a16:creationId xmlns:a16="http://schemas.microsoft.com/office/drawing/2014/main" id="{74FA00DA-661F-641A-3A5E-C3A5D3361F47}"/>
                  </a:ext>
                </a:extLst>
              </p:cNvPr>
              <p:cNvSpPr/>
              <p:nvPr/>
            </p:nvSpPr>
            <p:spPr>
              <a:xfrm>
                <a:off x="4657223" y="2115071"/>
                <a:ext cx="27387" cy="10955"/>
              </a:xfrm>
              <a:custGeom>
                <a:avLst/>
                <a:gdLst>
                  <a:gd name="connsiteX0" fmla="*/ 0 w 27387"/>
                  <a:gd name="connsiteY0" fmla="*/ 0 h 10955"/>
                  <a:gd name="connsiteX1" fmla="*/ 27388 w 27387"/>
                  <a:gd name="connsiteY1" fmla="*/ 0 h 10955"/>
                  <a:gd name="connsiteX2" fmla="*/ 27388 w 27387"/>
                  <a:gd name="connsiteY2" fmla="*/ 10955 h 10955"/>
                  <a:gd name="connsiteX3" fmla="*/ 0 w 27387"/>
                  <a:gd name="connsiteY3" fmla="*/ 10955 h 10955"/>
                </a:gdLst>
                <a:ahLst/>
                <a:cxnLst>
                  <a:cxn ang="0">
                    <a:pos x="connsiteX0" y="connsiteY0"/>
                  </a:cxn>
                  <a:cxn ang="0">
                    <a:pos x="connsiteX1" y="connsiteY1"/>
                  </a:cxn>
                  <a:cxn ang="0">
                    <a:pos x="connsiteX2" y="connsiteY2"/>
                  </a:cxn>
                  <a:cxn ang="0">
                    <a:pos x="connsiteX3" y="connsiteY3"/>
                  </a:cxn>
                </a:cxnLst>
                <a:rect l="l" t="t" r="r" b="b"/>
                <a:pathLst>
                  <a:path w="27387" h="10955">
                    <a:moveTo>
                      <a:pt x="0" y="0"/>
                    </a:moveTo>
                    <a:lnTo>
                      <a:pt x="27388" y="0"/>
                    </a:lnTo>
                    <a:lnTo>
                      <a:pt x="27388" y="10955"/>
                    </a:lnTo>
                    <a:lnTo>
                      <a:pt x="0" y="10955"/>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82" name="Freeform: Shape 81">
                <a:extLst>
                  <a:ext uri="{FF2B5EF4-FFF2-40B4-BE49-F238E27FC236}">
                    <a16:creationId xmlns:a16="http://schemas.microsoft.com/office/drawing/2014/main" id="{2260F224-5158-61B7-41C0-680D7CADD3BC}"/>
                  </a:ext>
                </a:extLst>
              </p:cNvPr>
              <p:cNvSpPr/>
              <p:nvPr/>
            </p:nvSpPr>
            <p:spPr>
              <a:xfrm>
                <a:off x="4639422" y="2067638"/>
                <a:ext cx="26784" cy="27387"/>
              </a:xfrm>
              <a:custGeom>
                <a:avLst/>
                <a:gdLst>
                  <a:gd name="connsiteX0" fmla="*/ 26785 w 26784"/>
                  <a:gd name="connsiteY0" fmla="*/ 7942 h 27387"/>
                  <a:gd name="connsiteX1" fmla="*/ 19007 w 26784"/>
                  <a:gd name="connsiteY1" fmla="*/ 0 h 27387"/>
                  <a:gd name="connsiteX2" fmla="*/ 0 w 26784"/>
                  <a:gd name="connsiteY2" fmla="*/ 19445 h 27387"/>
                  <a:gd name="connsiteX3" fmla="*/ 7723 w 26784"/>
                  <a:gd name="connsiteY3" fmla="*/ 27387 h 27387"/>
                  <a:gd name="connsiteX4" fmla="*/ 26785 w 26784"/>
                  <a:gd name="connsiteY4" fmla="*/ 7942 h 2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4" h="27387">
                    <a:moveTo>
                      <a:pt x="26785" y="7942"/>
                    </a:moveTo>
                    <a:lnTo>
                      <a:pt x="19007" y="0"/>
                    </a:lnTo>
                    <a:lnTo>
                      <a:pt x="0" y="19445"/>
                    </a:lnTo>
                    <a:lnTo>
                      <a:pt x="7723" y="27387"/>
                    </a:lnTo>
                    <a:lnTo>
                      <a:pt x="26785" y="7942"/>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83" name="Freeform: Shape 82">
                <a:extLst>
                  <a:ext uri="{FF2B5EF4-FFF2-40B4-BE49-F238E27FC236}">
                    <a16:creationId xmlns:a16="http://schemas.microsoft.com/office/drawing/2014/main" id="{18D3328C-C88C-0C75-1413-55B2B38011E1}"/>
                  </a:ext>
                </a:extLst>
              </p:cNvPr>
              <p:cNvSpPr/>
              <p:nvPr/>
            </p:nvSpPr>
            <p:spPr>
              <a:xfrm>
                <a:off x="4560600" y="2146678"/>
                <a:ext cx="26784" cy="27387"/>
              </a:xfrm>
              <a:custGeom>
                <a:avLst/>
                <a:gdLst>
                  <a:gd name="connsiteX0" fmla="*/ 0 w 26784"/>
                  <a:gd name="connsiteY0" fmla="*/ 19500 h 27387"/>
                  <a:gd name="connsiteX1" fmla="*/ 7778 w 26784"/>
                  <a:gd name="connsiteY1" fmla="*/ 27388 h 27387"/>
                  <a:gd name="connsiteX2" fmla="*/ 26785 w 26784"/>
                  <a:gd name="connsiteY2" fmla="*/ 7942 h 27387"/>
                  <a:gd name="connsiteX3" fmla="*/ 19062 w 26784"/>
                  <a:gd name="connsiteY3" fmla="*/ 0 h 27387"/>
                  <a:gd name="connsiteX4" fmla="*/ 0 w 26784"/>
                  <a:gd name="connsiteY4" fmla="*/ 19500 h 2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4" h="27387">
                    <a:moveTo>
                      <a:pt x="0" y="19500"/>
                    </a:moveTo>
                    <a:lnTo>
                      <a:pt x="7778" y="27388"/>
                    </a:lnTo>
                    <a:lnTo>
                      <a:pt x="26785" y="7942"/>
                    </a:lnTo>
                    <a:lnTo>
                      <a:pt x="19062" y="0"/>
                    </a:lnTo>
                    <a:lnTo>
                      <a:pt x="0" y="19500"/>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84" name="Freeform: Shape 83">
                <a:extLst>
                  <a:ext uri="{FF2B5EF4-FFF2-40B4-BE49-F238E27FC236}">
                    <a16:creationId xmlns:a16="http://schemas.microsoft.com/office/drawing/2014/main" id="{84D22D73-A357-C172-587A-2490FA4C10B4}"/>
                  </a:ext>
                </a:extLst>
              </p:cNvPr>
              <p:cNvSpPr/>
              <p:nvPr/>
            </p:nvSpPr>
            <p:spPr>
              <a:xfrm>
                <a:off x="4607925" y="2165026"/>
                <a:ext cx="10955" cy="27387"/>
              </a:xfrm>
              <a:custGeom>
                <a:avLst/>
                <a:gdLst>
                  <a:gd name="connsiteX0" fmla="*/ 0 w 10955"/>
                  <a:gd name="connsiteY0" fmla="*/ 0 h 27387"/>
                  <a:gd name="connsiteX1" fmla="*/ 10955 w 10955"/>
                  <a:gd name="connsiteY1" fmla="*/ 0 h 27387"/>
                  <a:gd name="connsiteX2" fmla="*/ 10955 w 10955"/>
                  <a:gd name="connsiteY2" fmla="*/ 27387 h 27387"/>
                  <a:gd name="connsiteX3" fmla="*/ 0 w 10955"/>
                  <a:gd name="connsiteY3" fmla="*/ 27387 h 27387"/>
                </a:gdLst>
                <a:ahLst/>
                <a:cxnLst>
                  <a:cxn ang="0">
                    <a:pos x="connsiteX0" y="connsiteY0"/>
                  </a:cxn>
                  <a:cxn ang="0">
                    <a:pos x="connsiteX1" y="connsiteY1"/>
                  </a:cxn>
                  <a:cxn ang="0">
                    <a:pos x="connsiteX2" y="connsiteY2"/>
                  </a:cxn>
                  <a:cxn ang="0">
                    <a:pos x="connsiteX3" y="connsiteY3"/>
                  </a:cxn>
                </a:cxnLst>
                <a:rect l="l" t="t" r="r" b="b"/>
                <a:pathLst>
                  <a:path w="10955" h="27387">
                    <a:moveTo>
                      <a:pt x="0" y="0"/>
                    </a:moveTo>
                    <a:lnTo>
                      <a:pt x="10955" y="0"/>
                    </a:lnTo>
                    <a:lnTo>
                      <a:pt x="10955" y="27387"/>
                    </a:lnTo>
                    <a:lnTo>
                      <a:pt x="0" y="27387"/>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85" name="Freeform: Shape 84">
                <a:extLst>
                  <a:ext uri="{FF2B5EF4-FFF2-40B4-BE49-F238E27FC236}">
                    <a16:creationId xmlns:a16="http://schemas.microsoft.com/office/drawing/2014/main" id="{1E52C36A-F03B-D038-0E45-930A423DCE46}"/>
                  </a:ext>
                </a:extLst>
              </p:cNvPr>
              <p:cNvSpPr/>
              <p:nvPr/>
            </p:nvSpPr>
            <p:spPr>
              <a:xfrm>
                <a:off x="4639422" y="2146678"/>
                <a:ext cx="26784" cy="27387"/>
              </a:xfrm>
              <a:custGeom>
                <a:avLst/>
                <a:gdLst>
                  <a:gd name="connsiteX0" fmla="*/ 0 w 26784"/>
                  <a:gd name="connsiteY0" fmla="*/ 7942 h 27387"/>
                  <a:gd name="connsiteX1" fmla="*/ 19007 w 26784"/>
                  <a:gd name="connsiteY1" fmla="*/ 27388 h 27387"/>
                  <a:gd name="connsiteX2" fmla="*/ 26785 w 26784"/>
                  <a:gd name="connsiteY2" fmla="*/ 19500 h 27387"/>
                  <a:gd name="connsiteX3" fmla="*/ 7723 w 26784"/>
                  <a:gd name="connsiteY3" fmla="*/ 0 h 27387"/>
                  <a:gd name="connsiteX4" fmla="*/ 0 w 26784"/>
                  <a:gd name="connsiteY4" fmla="*/ 7942 h 2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84" h="27387">
                    <a:moveTo>
                      <a:pt x="0" y="7942"/>
                    </a:moveTo>
                    <a:lnTo>
                      <a:pt x="19007" y="27388"/>
                    </a:lnTo>
                    <a:lnTo>
                      <a:pt x="26785" y="19500"/>
                    </a:lnTo>
                    <a:lnTo>
                      <a:pt x="7723" y="0"/>
                    </a:lnTo>
                    <a:lnTo>
                      <a:pt x="0" y="7942"/>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sp>
            <p:nvSpPr>
              <p:cNvPr id="86" name="Freeform: Shape 85">
                <a:extLst>
                  <a:ext uri="{FF2B5EF4-FFF2-40B4-BE49-F238E27FC236}">
                    <a16:creationId xmlns:a16="http://schemas.microsoft.com/office/drawing/2014/main" id="{067318A4-7080-40FC-FD07-6AF6AFD09E41}"/>
                  </a:ext>
                </a:extLst>
              </p:cNvPr>
              <p:cNvSpPr/>
              <p:nvPr/>
            </p:nvSpPr>
            <p:spPr>
              <a:xfrm>
                <a:off x="4421690" y="2234367"/>
                <a:ext cx="492683" cy="225794"/>
              </a:xfrm>
              <a:custGeom>
                <a:avLst/>
                <a:gdLst>
                  <a:gd name="connsiteX0" fmla="*/ 454632 w 492683"/>
                  <a:gd name="connsiteY0" fmla="*/ 143630 h 225794"/>
                  <a:gd name="connsiteX1" fmla="*/ 455611 w 492683"/>
                  <a:gd name="connsiteY1" fmla="*/ 143637 h 225794"/>
                  <a:gd name="connsiteX2" fmla="*/ 456093 w 492683"/>
                  <a:gd name="connsiteY2" fmla="*/ 143552 h 225794"/>
                  <a:gd name="connsiteX3" fmla="*/ 492683 w 492683"/>
                  <a:gd name="connsiteY3" fmla="*/ 91732 h 225794"/>
                  <a:gd name="connsiteX4" fmla="*/ 449010 w 492683"/>
                  <a:gd name="connsiteY4" fmla="*/ 0 h 225794"/>
                  <a:gd name="connsiteX5" fmla="*/ 405335 w 492683"/>
                  <a:gd name="connsiteY5" fmla="*/ 91732 h 225794"/>
                  <a:gd name="connsiteX6" fmla="*/ 441920 w 492683"/>
                  <a:gd name="connsiteY6" fmla="*/ 143549 h 225794"/>
                  <a:gd name="connsiteX7" fmla="*/ 443677 w 492683"/>
                  <a:gd name="connsiteY7" fmla="*/ 143560 h 225794"/>
                  <a:gd name="connsiteX8" fmla="*/ 443677 w 492683"/>
                  <a:gd name="connsiteY8" fmla="*/ 214839 h 225794"/>
                  <a:gd name="connsiteX9" fmla="*/ 421770 w 492683"/>
                  <a:gd name="connsiteY9" fmla="*/ 214839 h 225794"/>
                  <a:gd name="connsiteX10" fmla="*/ 421770 w 492683"/>
                  <a:gd name="connsiteY10" fmla="*/ 147276 h 225794"/>
                  <a:gd name="connsiteX11" fmla="*/ 410815 w 492683"/>
                  <a:gd name="connsiteY11" fmla="*/ 138052 h 225794"/>
                  <a:gd name="connsiteX12" fmla="*/ 410815 w 492683"/>
                  <a:gd name="connsiteY12" fmla="*/ 214839 h 225794"/>
                  <a:gd name="connsiteX13" fmla="*/ 358779 w 492683"/>
                  <a:gd name="connsiteY13" fmla="*/ 214839 h 225794"/>
                  <a:gd name="connsiteX14" fmla="*/ 358779 w 492683"/>
                  <a:gd name="connsiteY14" fmla="*/ 140898 h 225794"/>
                  <a:gd name="connsiteX15" fmla="*/ 314956 w 492683"/>
                  <a:gd name="connsiteY15" fmla="*/ 140898 h 225794"/>
                  <a:gd name="connsiteX16" fmla="*/ 314956 w 492683"/>
                  <a:gd name="connsiteY16" fmla="*/ 214839 h 225794"/>
                  <a:gd name="connsiteX17" fmla="*/ 262923 w 492683"/>
                  <a:gd name="connsiteY17" fmla="*/ 214839 h 225794"/>
                  <a:gd name="connsiteX18" fmla="*/ 262923 w 492683"/>
                  <a:gd name="connsiteY18" fmla="*/ 131832 h 225794"/>
                  <a:gd name="connsiteX19" fmla="*/ 336770 w 492683"/>
                  <a:gd name="connsiteY19" fmla="*/ 57928 h 225794"/>
                  <a:gd name="connsiteX20" fmla="*/ 400155 w 492683"/>
                  <a:gd name="connsiteY20" fmla="*/ 121217 h 225794"/>
                  <a:gd name="connsiteX21" fmla="*/ 394889 w 492683"/>
                  <a:gd name="connsiteY21" fmla="*/ 100479 h 225794"/>
                  <a:gd name="connsiteX22" fmla="*/ 336759 w 492683"/>
                  <a:gd name="connsiteY22" fmla="*/ 42437 h 225794"/>
                  <a:gd name="connsiteX23" fmla="*/ 246667 w 492683"/>
                  <a:gd name="connsiteY23" fmla="*/ 132599 h 225794"/>
                  <a:gd name="connsiteX24" fmla="*/ 240547 w 492683"/>
                  <a:gd name="connsiteY24" fmla="*/ 126488 h 225794"/>
                  <a:gd name="connsiteX25" fmla="*/ 336869 w 492683"/>
                  <a:gd name="connsiteY25" fmla="*/ 30319 h 225794"/>
                  <a:gd name="connsiteX26" fmla="*/ 394559 w 492683"/>
                  <a:gd name="connsiteY26" fmla="*/ 87919 h 225794"/>
                  <a:gd name="connsiteX27" fmla="*/ 396662 w 492683"/>
                  <a:gd name="connsiteY27" fmla="*/ 74537 h 225794"/>
                  <a:gd name="connsiteX28" fmla="*/ 336869 w 492683"/>
                  <a:gd name="connsiteY28" fmla="*/ 14838 h 225794"/>
                  <a:gd name="connsiteX29" fmla="*/ 225046 w 492683"/>
                  <a:gd name="connsiteY29" fmla="*/ 126488 h 225794"/>
                  <a:gd name="connsiteX30" fmla="*/ 246677 w 492683"/>
                  <a:gd name="connsiteY30" fmla="*/ 148090 h 225794"/>
                  <a:gd name="connsiteX31" fmla="*/ 251968 w 492683"/>
                  <a:gd name="connsiteY31" fmla="*/ 142796 h 225794"/>
                  <a:gd name="connsiteX32" fmla="*/ 251968 w 492683"/>
                  <a:gd name="connsiteY32" fmla="*/ 214839 h 225794"/>
                  <a:gd name="connsiteX33" fmla="*/ 197190 w 492683"/>
                  <a:gd name="connsiteY33" fmla="*/ 214839 h 225794"/>
                  <a:gd name="connsiteX34" fmla="*/ 197190 w 492683"/>
                  <a:gd name="connsiteY34" fmla="*/ 142797 h 225794"/>
                  <a:gd name="connsiteX35" fmla="*/ 202486 w 492683"/>
                  <a:gd name="connsiteY35" fmla="*/ 148085 h 225794"/>
                  <a:gd name="connsiteX36" fmla="*/ 224112 w 492683"/>
                  <a:gd name="connsiteY36" fmla="*/ 126488 h 225794"/>
                  <a:gd name="connsiteX37" fmla="*/ 178019 w 492683"/>
                  <a:gd name="connsiteY37" fmla="*/ 80466 h 225794"/>
                  <a:gd name="connsiteX38" fmla="*/ 178019 w 492683"/>
                  <a:gd name="connsiteY38" fmla="*/ 30992 h 225794"/>
                  <a:gd name="connsiteX39" fmla="*/ 145154 w 492683"/>
                  <a:gd name="connsiteY39" fmla="*/ 30992 h 225794"/>
                  <a:gd name="connsiteX40" fmla="*/ 145154 w 492683"/>
                  <a:gd name="connsiteY40" fmla="*/ 47652 h 225794"/>
                  <a:gd name="connsiteX41" fmla="*/ 112289 w 492683"/>
                  <a:gd name="connsiteY41" fmla="*/ 14838 h 225794"/>
                  <a:gd name="connsiteX42" fmla="*/ 466 w 492683"/>
                  <a:gd name="connsiteY42" fmla="*/ 126488 h 225794"/>
                  <a:gd name="connsiteX43" fmla="*/ 22097 w 492683"/>
                  <a:gd name="connsiteY43" fmla="*/ 148090 h 225794"/>
                  <a:gd name="connsiteX44" fmla="*/ 27388 w 492683"/>
                  <a:gd name="connsiteY44" fmla="*/ 142796 h 225794"/>
                  <a:gd name="connsiteX45" fmla="*/ 27388 w 492683"/>
                  <a:gd name="connsiteY45" fmla="*/ 214839 h 225794"/>
                  <a:gd name="connsiteX46" fmla="*/ 0 w 492683"/>
                  <a:gd name="connsiteY46" fmla="*/ 214839 h 225794"/>
                  <a:gd name="connsiteX47" fmla="*/ 0 w 492683"/>
                  <a:gd name="connsiteY47" fmla="*/ 225794 h 225794"/>
                  <a:gd name="connsiteX48" fmla="*/ 482020 w 492683"/>
                  <a:gd name="connsiteY48" fmla="*/ 225794 h 225794"/>
                  <a:gd name="connsiteX49" fmla="*/ 482020 w 492683"/>
                  <a:gd name="connsiteY49" fmla="*/ 214839 h 225794"/>
                  <a:gd name="connsiteX50" fmla="*/ 454632 w 492683"/>
                  <a:gd name="connsiteY50" fmla="*/ 214839 h 225794"/>
                  <a:gd name="connsiteX51" fmla="*/ 416290 w 492683"/>
                  <a:gd name="connsiteY51" fmla="*/ 91732 h 225794"/>
                  <a:gd name="connsiteX52" fmla="*/ 449008 w 492683"/>
                  <a:gd name="connsiteY52" fmla="*/ 11450 h 225794"/>
                  <a:gd name="connsiteX53" fmla="*/ 481728 w 492683"/>
                  <a:gd name="connsiteY53" fmla="*/ 91732 h 225794"/>
                  <a:gd name="connsiteX54" fmla="*/ 454611 w 492683"/>
                  <a:gd name="connsiteY54" fmla="*/ 132682 h 225794"/>
                  <a:gd name="connsiteX55" fmla="*/ 443413 w 492683"/>
                  <a:gd name="connsiteY55" fmla="*/ 132682 h 225794"/>
                  <a:gd name="connsiteX56" fmla="*/ 416290 w 492683"/>
                  <a:gd name="connsiteY56" fmla="*/ 91732 h 225794"/>
                  <a:gd name="connsiteX57" fmla="*/ 156109 w 492683"/>
                  <a:gd name="connsiteY57" fmla="*/ 41948 h 225794"/>
                  <a:gd name="connsiteX58" fmla="*/ 167064 w 492683"/>
                  <a:gd name="connsiteY58" fmla="*/ 41948 h 225794"/>
                  <a:gd name="connsiteX59" fmla="*/ 167064 w 492683"/>
                  <a:gd name="connsiteY59" fmla="*/ 69528 h 225794"/>
                  <a:gd name="connsiteX60" fmla="*/ 156109 w 492683"/>
                  <a:gd name="connsiteY60" fmla="*/ 58590 h 225794"/>
                  <a:gd name="connsiteX61" fmla="*/ 22086 w 492683"/>
                  <a:gd name="connsiteY61" fmla="*/ 132599 h 225794"/>
                  <a:gd name="connsiteX62" fmla="*/ 15967 w 492683"/>
                  <a:gd name="connsiteY62" fmla="*/ 126488 h 225794"/>
                  <a:gd name="connsiteX63" fmla="*/ 112289 w 492683"/>
                  <a:gd name="connsiteY63" fmla="*/ 30319 h 225794"/>
                  <a:gd name="connsiteX64" fmla="*/ 208610 w 492683"/>
                  <a:gd name="connsiteY64" fmla="*/ 126488 h 225794"/>
                  <a:gd name="connsiteX65" fmla="*/ 202486 w 492683"/>
                  <a:gd name="connsiteY65" fmla="*/ 132604 h 225794"/>
                  <a:gd name="connsiteX66" fmla="*/ 112179 w 492683"/>
                  <a:gd name="connsiteY66" fmla="*/ 42437 h 225794"/>
                  <a:gd name="connsiteX67" fmla="*/ 123244 w 492683"/>
                  <a:gd name="connsiteY67" fmla="*/ 214839 h 225794"/>
                  <a:gd name="connsiteX68" fmla="*/ 101331 w 492683"/>
                  <a:gd name="connsiteY68" fmla="*/ 214839 h 225794"/>
                  <a:gd name="connsiteX69" fmla="*/ 101331 w 492683"/>
                  <a:gd name="connsiteY69" fmla="*/ 151853 h 225794"/>
                  <a:gd name="connsiteX70" fmla="*/ 123244 w 492683"/>
                  <a:gd name="connsiteY70" fmla="*/ 151853 h 225794"/>
                  <a:gd name="connsiteX71" fmla="*/ 186235 w 492683"/>
                  <a:gd name="connsiteY71" fmla="*/ 214839 h 225794"/>
                  <a:gd name="connsiteX72" fmla="*/ 134199 w 492683"/>
                  <a:gd name="connsiteY72" fmla="*/ 214839 h 225794"/>
                  <a:gd name="connsiteX73" fmla="*/ 134199 w 492683"/>
                  <a:gd name="connsiteY73" fmla="*/ 140898 h 225794"/>
                  <a:gd name="connsiteX74" fmla="*/ 90376 w 492683"/>
                  <a:gd name="connsiteY74" fmla="*/ 140898 h 225794"/>
                  <a:gd name="connsiteX75" fmla="*/ 90376 w 492683"/>
                  <a:gd name="connsiteY75" fmla="*/ 214839 h 225794"/>
                  <a:gd name="connsiteX76" fmla="*/ 38342 w 492683"/>
                  <a:gd name="connsiteY76" fmla="*/ 214839 h 225794"/>
                  <a:gd name="connsiteX77" fmla="*/ 38342 w 492683"/>
                  <a:gd name="connsiteY77" fmla="*/ 131832 h 225794"/>
                  <a:gd name="connsiteX78" fmla="*/ 112190 w 492683"/>
                  <a:gd name="connsiteY78" fmla="*/ 57928 h 225794"/>
                  <a:gd name="connsiteX79" fmla="*/ 186235 w 492683"/>
                  <a:gd name="connsiteY79" fmla="*/ 131859 h 225794"/>
                  <a:gd name="connsiteX80" fmla="*/ 347824 w 492683"/>
                  <a:gd name="connsiteY80" fmla="*/ 214839 h 225794"/>
                  <a:gd name="connsiteX81" fmla="*/ 325911 w 492683"/>
                  <a:gd name="connsiteY81" fmla="*/ 214839 h 225794"/>
                  <a:gd name="connsiteX82" fmla="*/ 325911 w 492683"/>
                  <a:gd name="connsiteY82" fmla="*/ 151853 h 225794"/>
                  <a:gd name="connsiteX83" fmla="*/ 347824 w 492683"/>
                  <a:gd name="connsiteY83" fmla="*/ 151853 h 22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92683" h="225794">
                    <a:moveTo>
                      <a:pt x="454632" y="143630"/>
                    </a:moveTo>
                    <a:lnTo>
                      <a:pt x="455611" y="143637"/>
                    </a:lnTo>
                    <a:lnTo>
                      <a:pt x="456093" y="143552"/>
                    </a:lnTo>
                    <a:cubicBezTo>
                      <a:pt x="477979" y="139612"/>
                      <a:pt x="492683" y="118785"/>
                      <a:pt x="492683" y="91732"/>
                    </a:cubicBezTo>
                    <a:cubicBezTo>
                      <a:pt x="492683" y="65074"/>
                      <a:pt x="464025" y="0"/>
                      <a:pt x="449010" y="0"/>
                    </a:cubicBezTo>
                    <a:cubicBezTo>
                      <a:pt x="433993" y="0"/>
                      <a:pt x="405335" y="65074"/>
                      <a:pt x="405335" y="91732"/>
                    </a:cubicBezTo>
                    <a:cubicBezTo>
                      <a:pt x="405335" y="118753"/>
                      <a:pt x="420037" y="139577"/>
                      <a:pt x="441920" y="143549"/>
                    </a:cubicBezTo>
                    <a:lnTo>
                      <a:pt x="443677" y="143560"/>
                    </a:lnTo>
                    <a:lnTo>
                      <a:pt x="443677" y="214839"/>
                    </a:lnTo>
                    <a:lnTo>
                      <a:pt x="421770" y="214839"/>
                    </a:lnTo>
                    <a:lnTo>
                      <a:pt x="421770" y="147276"/>
                    </a:lnTo>
                    <a:cubicBezTo>
                      <a:pt x="417715" y="144714"/>
                      <a:pt x="414029" y="141611"/>
                      <a:pt x="410815" y="138052"/>
                    </a:cubicBezTo>
                    <a:lnTo>
                      <a:pt x="410815" y="214839"/>
                    </a:lnTo>
                    <a:lnTo>
                      <a:pt x="358779" y="214839"/>
                    </a:lnTo>
                    <a:lnTo>
                      <a:pt x="358779" y="140898"/>
                    </a:lnTo>
                    <a:lnTo>
                      <a:pt x="314956" y="140898"/>
                    </a:lnTo>
                    <a:lnTo>
                      <a:pt x="314956" y="214839"/>
                    </a:lnTo>
                    <a:lnTo>
                      <a:pt x="262923" y="214839"/>
                    </a:lnTo>
                    <a:lnTo>
                      <a:pt x="262923" y="131832"/>
                    </a:lnTo>
                    <a:lnTo>
                      <a:pt x="336770" y="57928"/>
                    </a:lnTo>
                    <a:lnTo>
                      <a:pt x="400155" y="121217"/>
                    </a:lnTo>
                    <a:cubicBezTo>
                      <a:pt x="397381" y="114604"/>
                      <a:pt x="395606" y="107615"/>
                      <a:pt x="394889" y="100479"/>
                    </a:cubicBezTo>
                    <a:lnTo>
                      <a:pt x="336759" y="42437"/>
                    </a:lnTo>
                    <a:lnTo>
                      <a:pt x="246667" y="132599"/>
                    </a:lnTo>
                    <a:lnTo>
                      <a:pt x="240547" y="126488"/>
                    </a:lnTo>
                    <a:lnTo>
                      <a:pt x="336869" y="30319"/>
                    </a:lnTo>
                    <a:lnTo>
                      <a:pt x="394559" y="87919"/>
                    </a:lnTo>
                    <a:cubicBezTo>
                      <a:pt x="394964" y="83417"/>
                      <a:pt x="395667" y="78947"/>
                      <a:pt x="396662" y="74537"/>
                    </a:cubicBezTo>
                    <a:lnTo>
                      <a:pt x="336869" y="14838"/>
                    </a:lnTo>
                    <a:lnTo>
                      <a:pt x="225046" y="126488"/>
                    </a:lnTo>
                    <a:lnTo>
                      <a:pt x="246677" y="148090"/>
                    </a:lnTo>
                    <a:lnTo>
                      <a:pt x="251968" y="142796"/>
                    </a:lnTo>
                    <a:lnTo>
                      <a:pt x="251968" y="214839"/>
                    </a:lnTo>
                    <a:lnTo>
                      <a:pt x="197190" y="214839"/>
                    </a:lnTo>
                    <a:lnTo>
                      <a:pt x="197190" y="142797"/>
                    </a:lnTo>
                    <a:lnTo>
                      <a:pt x="202486" y="148085"/>
                    </a:lnTo>
                    <a:lnTo>
                      <a:pt x="224112" y="126488"/>
                    </a:lnTo>
                    <a:lnTo>
                      <a:pt x="178019" y="80466"/>
                    </a:lnTo>
                    <a:lnTo>
                      <a:pt x="178019" y="30992"/>
                    </a:lnTo>
                    <a:lnTo>
                      <a:pt x="145154" y="30992"/>
                    </a:lnTo>
                    <a:lnTo>
                      <a:pt x="145154" y="47652"/>
                    </a:lnTo>
                    <a:lnTo>
                      <a:pt x="112289" y="14838"/>
                    </a:lnTo>
                    <a:lnTo>
                      <a:pt x="466" y="126488"/>
                    </a:lnTo>
                    <a:lnTo>
                      <a:pt x="22097" y="148090"/>
                    </a:lnTo>
                    <a:lnTo>
                      <a:pt x="27388" y="142796"/>
                    </a:lnTo>
                    <a:lnTo>
                      <a:pt x="27388" y="214839"/>
                    </a:lnTo>
                    <a:lnTo>
                      <a:pt x="0" y="214839"/>
                    </a:lnTo>
                    <a:lnTo>
                      <a:pt x="0" y="225794"/>
                    </a:lnTo>
                    <a:lnTo>
                      <a:pt x="482020" y="225794"/>
                    </a:lnTo>
                    <a:lnTo>
                      <a:pt x="482020" y="214839"/>
                    </a:lnTo>
                    <a:lnTo>
                      <a:pt x="454632" y="214839"/>
                    </a:lnTo>
                    <a:close/>
                    <a:moveTo>
                      <a:pt x="416290" y="91732"/>
                    </a:moveTo>
                    <a:cubicBezTo>
                      <a:pt x="416290" y="66083"/>
                      <a:pt x="440926" y="18339"/>
                      <a:pt x="449008" y="11450"/>
                    </a:cubicBezTo>
                    <a:cubicBezTo>
                      <a:pt x="457093" y="18347"/>
                      <a:pt x="481728" y="66096"/>
                      <a:pt x="481728" y="91732"/>
                    </a:cubicBezTo>
                    <a:cubicBezTo>
                      <a:pt x="481728" y="113107"/>
                      <a:pt x="470851" y="129491"/>
                      <a:pt x="454611" y="132682"/>
                    </a:cubicBezTo>
                    <a:lnTo>
                      <a:pt x="443413" y="132682"/>
                    </a:lnTo>
                    <a:cubicBezTo>
                      <a:pt x="427170" y="129465"/>
                      <a:pt x="416290" y="113080"/>
                      <a:pt x="416290" y="91732"/>
                    </a:cubicBezTo>
                    <a:close/>
                    <a:moveTo>
                      <a:pt x="156109" y="41948"/>
                    </a:moveTo>
                    <a:lnTo>
                      <a:pt x="167064" y="41948"/>
                    </a:lnTo>
                    <a:lnTo>
                      <a:pt x="167064" y="69528"/>
                    </a:lnTo>
                    <a:lnTo>
                      <a:pt x="156109" y="58590"/>
                    </a:lnTo>
                    <a:close/>
                    <a:moveTo>
                      <a:pt x="22086" y="132599"/>
                    </a:moveTo>
                    <a:lnTo>
                      <a:pt x="15967" y="126488"/>
                    </a:lnTo>
                    <a:lnTo>
                      <a:pt x="112289" y="30319"/>
                    </a:lnTo>
                    <a:lnTo>
                      <a:pt x="208610" y="126488"/>
                    </a:lnTo>
                    <a:lnTo>
                      <a:pt x="202486" y="132604"/>
                    </a:lnTo>
                    <a:lnTo>
                      <a:pt x="112179" y="42437"/>
                    </a:lnTo>
                    <a:close/>
                    <a:moveTo>
                      <a:pt x="123244" y="214839"/>
                    </a:moveTo>
                    <a:lnTo>
                      <a:pt x="101331" y="214839"/>
                    </a:lnTo>
                    <a:lnTo>
                      <a:pt x="101331" y="151853"/>
                    </a:lnTo>
                    <a:lnTo>
                      <a:pt x="123244" y="151853"/>
                    </a:lnTo>
                    <a:close/>
                    <a:moveTo>
                      <a:pt x="186235" y="214839"/>
                    </a:moveTo>
                    <a:lnTo>
                      <a:pt x="134199" y="214839"/>
                    </a:lnTo>
                    <a:lnTo>
                      <a:pt x="134199" y="140898"/>
                    </a:lnTo>
                    <a:lnTo>
                      <a:pt x="90376" y="140898"/>
                    </a:lnTo>
                    <a:lnTo>
                      <a:pt x="90376" y="214839"/>
                    </a:lnTo>
                    <a:lnTo>
                      <a:pt x="38342" y="214839"/>
                    </a:lnTo>
                    <a:lnTo>
                      <a:pt x="38342" y="131832"/>
                    </a:lnTo>
                    <a:lnTo>
                      <a:pt x="112190" y="57928"/>
                    </a:lnTo>
                    <a:lnTo>
                      <a:pt x="186235" y="131859"/>
                    </a:lnTo>
                    <a:close/>
                    <a:moveTo>
                      <a:pt x="347824" y="214839"/>
                    </a:moveTo>
                    <a:lnTo>
                      <a:pt x="325911" y="214839"/>
                    </a:lnTo>
                    <a:lnTo>
                      <a:pt x="325911" y="151853"/>
                    </a:lnTo>
                    <a:lnTo>
                      <a:pt x="347824" y="151853"/>
                    </a:lnTo>
                    <a:close/>
                  </a:path>
                </a:pathLst>
              </a:custGeom>
              <a:grpFill/>
              <a:ln w="5457" cap="flat">
                <a:noFill/>
                <a:prstDash val="solid"/>
                <a:miter/>
              </a:ln>
            </p:spPr>
            <p:txBody>
              <a:bodyPr rtlCol="0" anchor="ctr"/>
              <a:lstStyle/>
              <a:p>
                <a:endParaRPr lang="en-US">
                  <a:latin typeface="Avenir Next LT Pro" panose="020B0504020202020204" pitchFamily="34" charset="0"/>
                </a:endParaRPr>
              </a:p>
            </p:txBody>
          </p:sp>
        </p:grpSp>
      </p:grpSp>
      <p:grpSp>
        <p:nvGrpSpPr>
          <p:cNvPr id="148" name="Group 147">
            <a:extLst>
              <a:ext uri="{FF2B5EF4-FFF2-40B4-BE49-F238E27FC236}">
                <a16:creationId xmlns:a16="http://schemas.microsoft.com/office/drawing/2014/main" id="{9673775A-4525-7FB7-039B-7F41A36FFC2C}"/>
              </a:ext>
            </a:extLst>
          </p:cNvPr>
          <p:cNvGrpSpPr/>
          <p:nvPr/>
        </p:nvGrpSpPr>
        <p:grpSpPr>
          <a:xfrm>
            <a:off x="4249616" y="2723627"/>
            <a:ext cx="811242" cy="811240"/>
            <a:chOff x="4249616" y="2723627"/>
            <a:chExt cx="811242" cy="811240"/>
          </a:xfrm>
        </p:grpSpPr>
        <p:grpSp>
          <p:nvGrpSpPr>
            <p:cNvPr id="139" name="Group 138">
              <a:extLst>
                <a:ext uri="{FF2B5EF4-FFF2-40B4-BE49-F238E27FC236}">
                  <a16:creationId xmlns:a16="http://schemas.microsoft.com/office/drawing/2014/main" id="{C76FF98D-8A69-881F-9EA2-3C6451FEBB1D}"/>
                </a:ext>
              </a:extLst>
            </p:cNvPr>
            <p:cNvGrpSpPr/>
            <p:nvPr/>
          </p:nvGrpSpPr>
          <p:grpSpPr>
            <a:xfrm>
              <a:off x="4249616" y="2723627"/>
              <a:ext cx="811242" cy="811240"/>
              <a:chOff x="2833864" y="3891542"/>
              <a:chExt cx="811242" cy="811240"/>
            </a:xfrm>
          </p:grpSpPr>
          <p:sp>
            <p:nvSpPr>
              <p:cNvPr id="140" name="Oval 139">
                <a:extLst>
                  <a:ext uri="{FF2B5EF4-FFF2-40B4-BE49-F238E27FC236}">
                    <a16:creationId xmlns:a16="http://schemas.microsoft.com/office/drawing/2014/main" id="{B3F3431B-F399-C421-703A-A92B48A5DF3B}"/>
                  </a:ext>
                </a:extLst>
              </p:cNvPr>
              <p:cNvSpPr>
                <a:spLocks noChangeAspect="1"/>
              </p:cNvSpPr>
              <p:nvPr/>
            </p:nvSpPr>
            <p:spPr>
              <a:xfrm>
                <a:off x="2833864" y="3891542"/>
                <a:ext cx="811242" cy="811240"/>
              </a:xfrm>
              <a:prstGeom prst="ellipse">
                <a:avLst/>
              </a:prstGeom>
              <a:solidFill>
                <a:schemeClr val="bg1"/>
              </a:solidFill>
              <a:ln w="19050" cap="rnd" cmpd="sng" algn="ctr">
                <a:noFill/>
                <a:prstDash val="sysDot"/>
                <a:miter lim="800000"/>
              </a:ln>
              <a:effectLst>
                <a:outerShdw blurRad="63500" sx="102000" sy="102000" algn="ctr" rotWithShape="0">
                  <a:prstClr val="black">
                    <a:alpha val="40000"/>
                  </a:prstClr>
                </a:outerShdw>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prstClr val="white"/>
                  </a:solidFill>
                  <a:effectLst/>
                  <a:uLnTx/>
                  <a:uFillTx/>
                  <a:latin typeface="Helvetica" pitchFamily="2" charset="0"/>
                </a:endParaRPr>
              </a:p>
            </p:txBody>
          </p:sp>
          <p:sp>
            <p:nvSpPr>
              <p:cNvPr id="141" name="Arc 140">
                <a:extLst>
                  <a:ext uri="{FF2B5EF4-FFF2-40B4-BE49-F238E27FC236}">
                    <a16:creationId xmlns:a16="http://schemas.microsoft.com/office/drawing/2014/main" id="{C65FF118-5418-3481-5DEA-9447B9DEE4FB}"/>
                  </a:ext>
                </a:extLst>
              </p:cNvPr>
              <p:cNvSpPr>
                <a:spLocks noChangeAspect="1"/>
              </p:cNvSpPr>
              <p:nvPr/>
            </p:nvSpPr>
            <p:spPr>
              <a:xfrm flipH="1">
                <a:off x="2834750" y="3891986"/>
                <a:ext cx="810356" cy="810354"/>
              </a:xfrm>
              <a:prstGeom prst="arc">
                <a:avLst/>
              </a:prstGeom>
              <a:noFill/>
              <a:ln w="28575" cap="rnd" cmpd="sng" algn="ctr">
                <a:solidFill>
                  <a:srgbClr val="FBAD17"/>
                </a:solidFill>
                <a:prstDash val="solid"/>
                <a:miter lim="800000"/>
              </a:ln>
              <a:effectLst/>
            </p:spPr>
            <p:txBody>
              <a:bodyPr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b="0" i="0" u="none" strike="noStrike" kern="0" cap="none" spc="0" normalizeH="0" baseline="0" noProof="0">
                  <a:ln>
                    <a:noFill/>
                  </a:ln>
                  <a:solidFill>
                    <a:srgbClr val="424242"/>
                  </a:solidFill>
                  <a:effectLst/>
                  <a:uLnTx/>
                  <a:uFillTx/>
                  <a:latin typeface="Helvetica" pitchFamily="2" charset="0"/>
                </a:endParaRPr>
              </a:p>
            </p:txBody>
          </p:sp>
        </p:grpSp>
        <p:grpSp>
          <p:nvGrpSpPr>
            <p:cNvPr id="101" name="Graphic 97" descr="Agriculture outline">
              <a:extLst>
                <a:ext uri="{FF2B5EF4-FFF2-40B4-BE49-F238E27FC236}">
                  <a16:creationId xmlns:a16="http://schemas.microsoft.com/office/drawing/2014/main" id="{892E0147-8D36-DE32-7BB6-7A6B7C0CB552}"/>
                </a:ext>
              </a:extLst>
            </p:cNvPr>
            <p:cNvGrpSpPr/>
            <p:nvPr/>
          </p:nvGrpSpPr>
          <p:grpSpPr>
            <a:xfrm>
              <a:off x="4350623" y="2841837"/>
              <a:ext cx="609228" cy="574820"/>
              <a:chOff x="6941488" y="1857231"/>
              <a:chExt cx="819159" cy="772896"/>
            </a:xfrm>
            <a:solidFill>
              <a:srgbClr val="F7990F"/>
            </a:solidFill>
          </p:grpSpPr>
          <p:sp>
            <p:nvSpPr>
              <p:cNvPr id="102" name="Freeform: Shape 101">
                <a:extLst>
                  <a:ext uri="{FF2B5EF4-FFF2-40B4-BE49-F238E27FC236}">
                    <a16:creationId xmlns:a16="http://schemas.microsoft.com/office/drawing/2014/main" id="{C09A7078-3DCB-6E29-1F2D-0099BC6A3D04}"/>
                  </a:ext>
                </a:extLst>
              </p:cNvPr>
              <p:cNvSpPr/>
              <p:nvPr/>
            </p:nvSpPr>
            <p:spPr>
              <a:xfrm>
                <a:off x="6941488" y="2339501"/>
                <a:ext cx="381628" cy="94411"/>
              </a:xfrm>
              <a:custGeom>
                <a:avLst/>
                <a:gdLst>
                  <a:gd name="connsiteX0" fmla="*/ 355378 w 381628"/>
                  <a:gd name="connsiteY0" fmla="*/ 94412 h 94411"/>
                  <a:gd name="connsiteX1" fmla="*/ 381629 w 381628"/>
                  <a:gd name="connsiteY1" fmla="*/ 82982 h 94411"/>
                  <a:gd name="connsiteX2" fmla="*/ 372208 w 381628"/>
                  <a:gd name="connsiteY2" fmla="*/ 79829 h 94411"/>
                  <a:gd name="connsiteX3" fmla="*/ 20003 w 381628"/>
                  <a:gd name="connsiteY3" fmla="*/ 2019 h 94411"/>
                  <a:gd name="connsiteX4" fmla="*/ 0 w 381628"/>
                  <a:gd name="connsiteY4" fmla="*/ 0 h 94411"/>
                  <a:gd name="connsiteX5" fmla="*/ 0 w 381628"/>
                  <a:gd name="connsiteY5" fmla="*/ 19164 h 94411"/>
                  <a:gd name="connsiteX6" fmla="*/ 18002 w 381628"/>
                  <a:gd name="connsiteY6" fmla="*/ 20984 h 94411"/>
                  <a:gd name="connsiteX7" fmla="*/ 355378 w 381628"/>
                  <a:gd name="connsiteY7" fmla="*/ 94412 h 94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628" h="94411">
                    <a:moveTo>
                      <a:pt x="355378" y="94412"/>
                    </a:moveTo>
                    <a:cubicBezTo>
                      <a:pt x="364084" y="90507"/>
                      <a:pt x="372856" y="86725"/>
                      <a:pt x="381629" y="82982"/>
                    </a:cubicBezTo>
                    <a:lnTo>
                      <a:pt x="372208" y="79829"/>
                    </a:lnTo>
                    <a:cubicBezTo>
                      <a:pt x="257939" y="41328"/>
                      <a:pt x="139857" y="15241"/>
                      <a:pt x="20003" y="2019"/>
                    </a:cubicBezTo>
                    <a:lnTo>
                      <a:pt x="0" y="0"/>
                    </a:lnTo>
                    <a:lnTo>
                      <a:pt x="0" y="19164"/>
                    </a:lnTo>
                    <a:lnTo>
                      <a:pt x="18002" y="20984"/>
                    </a:lnTo>
                    <a:cubicBezTo>
                      <a:pt x="132706" y="33673"/>
                      <a:pt x="245775" y="58282"/>
                      <a:pt x="355378" y="94412"/>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03" name="Freeform: Shape 102">
                <a:extLst>
                  <a:ext uri="{FF2B5EF4-FFF2-40B4-BE49-F238E27FC236}">
                    <a16:creationId xmlns:a16="http://schemas.microsoft.com/office/drawing/2014/main" id="{1661C5B1-06B0-E991-B037-E435070670EB}"/>
                  </a:ext>
                </a:extLst>
              </p:cNvPr>
              <p:cNvSpPr/>
              <p:nvPr/>
            </p:nvSpPr>
            <p:spPr>
              <a:xfrm>
                <a:off x="6941488" y="2045750"/>
                <a:ext cx="514283" cy="335518"/>
              </a:xfrm>
              <a:custGeom>
                <a:avLst/>
                <a:gdLst>
                  <a:gd name="connsiteX0" fmla="*/ 179022 w 514283"/>
                  <a:gd name="connsiteY0" fmla="*/ 241821 h 335518"/>
                  <a:gd name="connsiteX1" fmla="*/ 198072 w 514283"/>
                  <a:gd name="connsiteY1" fmla="*/ 245793 h 335518"/>
                  <a:gd name="connsiteX2" fmla="*/ 487328 w 514283"/>
                  <a:gd name="connsiteY2" fmla="*/ 335518 h 335518"/>
                  <a:gd name="connsiteX3" fmla="*/ 514283 w 514283"/>
                  <a:gd name="connsiteY3" fmla="*/ 326298 h 335518"/>
                  <a:gd name="connsiteX4" fmla="*/ 201978 w 514283"/>
                  <a:gd name="connsiteY4" fmla="*/ 227190 h 335518"/>
                  <a:gd name="connsiteX5" fmla="*/ 182832 w 514283"/>
                  <a:gd name="connsiteY5" fmla="*/ 223161 h 335518"/>
                  <a:gd name="connsiteX6" fmla="*/ 180927 w 514283"/>
                  <a:gd name="connsiteY6" fmla="*/ 222809 h 335518"/>
                  <a:gd name="connsiteX7" fmla="*/ 180927 w 514283"/>
                  <a:gd name="connsiteY7" fmla="*/ 158934 h 335518"/>
                  <a:gd name="connsiteX8" fmla="*/ 229686 w 514283"/>
                  <a:gd name="connsiteY8" fmla="*/ 141246 h 335518"/>
                  <a:gd name="connsiteX9" fmla="*/ 247279 w 514283"/>
                  <a:gd name="connsiteY9" fmla="*/ 82563 h 335518"/>
                  <a:gd name="connsiteX10" fmla="*/ 246488 w 514283"/>
                  <a:gd name="connsiteY10" fmla="*/ 75200 h 335518"/>
                  <a:gd name="connsiteX11" fmla="*/ 239163 w 514283"/>
                  <a:gd name="connsiteY11" fmla="*/ 74143 h 335518"/>
                  <a:gd name="connsiteX12" fmla="*/ 205197 w 514283"/>
                  <a:gd name="connsiteY12" fmla="*/ 76200 h 335518"/>
                  <a:gd name="connsiteX13" fmla="*/ 207778 w 514283"/>
                  <a:gd name="connsiteY13" fmla="*/ 62208 h 335518"/>
                  <a:gd name="connsiteX14" fmla="*/ 178251 w 514283"/>
                  <a:gd name="connsiteY14" fmla="*/ 5829 h 335518"/>
                  <a:gd name="connsiteX15" fmla="*/ 171841 w 514283"/>
                  <a:gd name="connsiteY15" fmla="*/ 0 h 335518"/>
                  <a:gd name="connsiteX16" fmla="*/ 165430 w 514283"/>
                  <a:gd name="connsiteY16" fmla="*/ 5829 h 335518"/>
                  <a:gd name="connsiteX17" fmla="*/ 135903 w 514283"/>
                  <a:gd name="connsiteY17" fmla="*/ 62894 h 335518"/>
                  <a:gd name="connsiteX18" fmla="*/ 138160 w 514283"/>
                  <a:gd name="connsiteY18" fmla="*/ 76086 h 335518"/>
                  <a:gd name="connsiteX19" fmla="*/ 103775 w 514283"/>
                  <a:gd name="connsiteY19" fmla="*/ 74028 h 335518"/>
                  <a:gd name="connsiteX20" fmla="*/ 96460 w 514283"/>
                  <a:gd name="connsiteY20" fmla="*/ 75095 h 335518"/>
                  <a:gd name="connsiteX21" fmla="*/ 95679 w 514283"/>
                  <a:gd name="connsiteY21" fmla="*/ 82439 h 335518"/>
                  <a:gd name="connsiteX22" fmla="*/ 113252 w 514283"/>
                  <a:gd name="connsiteY22" fmla="*/ 141122 h 335518"/>
                  <a:gd name="connsiteX23" fmla="*/ 161877 w 514283"/>
                  <a:gd name="connsiteY23" fmla="*/ 158744 h 335518"/>
                  <a:gd name="connsiteX24" fmla="*/ 161877 w 514283"/>
                  <a:gd name="connsiteY24" fmla="*/ 219256 h 335518"/>
                  <a:gd name="connsiteX25" fmla="*/ 19831 w 514283"/>
                  <a:gd name="connsiteY25" fmla="*/ 198939 h 335518"/>
                  <a:gd name="connsiteX26" fmla="*/ 0 w 514283"/>
                  <a:gd name="connsiteY26" fmla="*/ 197187 h 335518"/>
                  <a:gd name="connsiteX27" fmla="*/ 0 w 514283"/>
                  <a:gd name="connsiteY27" fmla="*/ 216313 h 335518"/>
                  <a:gd name="connsiteX28" fmla="*/ 18098 w 514283"/>
                  <a:gd name="connsiteY28" fmla="*/ 217903 h 335518"/>
                  <a:gd name="connsiteX29" fmla="*/ 179022 w 514283"/>
                  <a:gd name="connsiteY29" fmla="*/ 241821 h 335518"/>
                  <a:gd name="connsiteX30" fmla="*/ 228552 w 514283"/>
                  <a:gd name="connsiteY30" fmla="*/ 92516 h 335518"/>
                  <a:gd name="connsiteX31" fmla="*/ 216513 w 514283"/>
                  <a:gd name="connsiteY31" fmla="*/ 127521 h 335518"/>
                  <a:gd name="connsiteX32" fmla="*/ 184737 w 514283"/>
                  <a:gd name="connsiteY32" fmla="*/ 139560 h 335518"/>
                  <a:gd name="connsiteX33" fmla="*/ 185176 w 514283"/>
                  <a:gd name="connsiteY33" fmla="*/ 115110 h 335518"/>
                  <a:gd name="connsiteX34" fmla="*/ 193110 w 514283"/>
                  <a:gd name="connsiteY34" fmla="*/ 103261 h 335518"/>
                  <a:gd name="connsiteX35" fmla="*/ 227514 w 514283"/>
                  <a:gd name="connsiteY35" fmla="*/ 92545 h 335518"/>
                  <a:gd name="connsiteX36" fmla="*/ 171879 w 514283"/>
                  <a:gd name="connsiteY36" fmla="*/ 26651 h 335518"/>
                  <a:gd name="connsiteX37" fmla="*/ 188805 w 514283"/>
                  <a:gd name="connsiteY37" fmla="*/ 61455 h 335518"/>
                  <a:gd name="connsiteX38" fmla="*/ 174517 w 514283"/>
                  <a:gd name="connsiteY38" fmla="*/ 92316 h 335518"/>
                  <a:gd name="connsiteX39" fmla="*/ 168364 w 514283"/>
                  <a:gd name="connsiteY39" fmla="*/ 91497 h 335518"/>
                  <a:gd name="connsiteX40" fmla="*/ 154934 w 514283"/>
                  <a:gd name="connsiteY40" fmla="*/ 62170 h 335518"/>
                  <a:gd name="connsiteX41" fmla="*/ 171879 w 514283"/>
                  <a:gd name="connsiteY41" fmla="*/ 26651 h 335518"/>
                  <a:gd name="connsiteX42" fmla="*/ 158963 w 514283"/>
                  <a:gd name="connsiteY42" fmla="*/ 139417 h 335518"/>
                  <a:gd name="connsiteX43" fmla="*/ 126502 w 514283"/>
                  <a:gd name="connsiteY43" fmla="*/ 127387 h 335518"/>
                  <a:gd name="connsiteX44" fmla="*/ 114471 w 514283"/>
                  <a:gd name="connsiteY44" fmla="*/ 92392 h 335518"/>
                  <a:gd name="connsiteX45" fmla="*/ 149781 w 514283"/>
                  <a:gd name="connsiteY45" fmla="*/ 102870 h 335518"/>
                  <a:gd name="connsiteX46" fmla="*/ 158125 w 514283"/>
                  <a:gd name="connsiteY46" fmla="*/ 115557 h 335518"/>
                  <a:gd name="connsiteX47" fmla="*/ 158963 w 514283"/>
                  <a:gd name="connsiteY47" fmla="*/ 139417 h 33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14283" h="335518">
                    <a:moveTo>
                      <a:pt x="179022" y="241821"/>
                    </a:moveTo>
                    <a:lnTo>
                      <a:pt x="198072" y="245793"/>
                    </a:lnTo>
                    <a:cubicBezTo>
                      <a:pt x="297033" y="266788"/>
                      <a:pt x="393858" y="296822"/>
                      <a:pt x="487328" y="335518"/>
                    </a:cubicBezTo>
                    <a:cubicBezTo>
                      <a:pt x="496288" y="332375"/>
                      <a:pt x="505273" y="329301"/>
                      <a:pt x="514283" y="326298"/>
                    </a:cubicBezTo>
                    <a:cubicBezTo>
                      <a:pt x="413676" y="283118"/>
                      <a:pt x="309073" y="249924"/>
                      <a:pt x="201978" y="227190"/>
                    </a:cubicBezTo>
                    <a:lnTo>
                      <a:pt x="182832" y="223161"/>
                    </a:lnTo>
                    <a:lnTo>
                      <a:pt x="180927" y="222809"/>
                    </a:lnTo>
                    <a:lnTo>
                      <a:pt x="180927" y="158934"/>
                    </a:lnTo>
                    <a:cubicBezTo>
                      <a:pt x="198719" y="158759"/>
                      <a:pt x="215919" y="152519"/>
                      <a:pt x="229686" y="141246"/>
                    </a:cubicBezTo>
                    <a:cubicBezTo>
                      <a:pt x="251060" y="120710"/>
                      <a:pt x="247440" y="84096"/>
                      <a:pt x="247279" y="82563"/>
                    </a:cubicBezTo>
                    <a:lnTo>
                      <a:pt x="246488" y="75200"/>
                    </a:lnTo>
                    <a:lnTo>
                      <a:pt x="239163" y="74143"/>
                    </a:lnTo>
                    <a:cubicBezTo>
                      <a:pt x="227808" y="72816"/>
                      <a:pt x="216309" y="73512"/>
                      <a:pt x="205197" y="76200"/>
                    </a:cubicBezTo>
                    <a:cubicBezTo>
                      <a:pt x="206539" y="71638"/>
                      <a:pt x="207404" y="66948"/>
                      <a:pt x="207778" y="62208"/>
                    </a:cubicBezTo>
                    <a:cubicBezTo>
                      <a:pt x="207778" y="33033"/>
                      <a:pt x="179441" y="6963"/>
                      <a:pt x="178251" y="5829"/>
                    </a:cubicBezTo>
                    <a:lnTo>
                      <a:pt x="171841" y="0"/>
                    </a:lnTo>
                    <a:lnTo>
                      <a:pt x="165430" y="5829"/>
                    </a:lnTo>
                    <a:cubicBezTo>
                      <a:pt x="164221" y="6925"/>
                      <a:pt x="135903" y="33033"/>
                      <a:pt x="135903" y="62894"/>
                    </a:cubicBezTo>
                    <a:cubicBezTo>
                      <a:pt x="136238" y="67352"/>
                      <a:pt x="136993" y="71769"/>
                      <a:pt x="138160" y="76086"/>
                    </a:cubicBezTo>
                    <a:cubicBezTo>
                      <a:pt x="126915" y="73343"/>
                      <a:pt x="115268" y="72646"/>
                      <a:pt x="103775" y="74028"/>
                    </a:cubicBezTo>
                    <a:lnTo>
                      <a:pt x="96460" y="75095"/>
                    </a:lnTo>
                    <a:lnTo>
                      <a:pt x="95679" y="82439"/>
                    </a:lnTo>
                    <a:cubicBezTo>
                      <a:pt x="95517" y="83991"/>
                      <a:pt x="91869" y="120586"/>
                      <a:pt x="113252" y="141122"/>
                    </a:cubicBezTo>
                    <a:cubicBezTo>
                      <a:pt x="126983" y="152360"/>
                      <a:pt x="144136" y="158576"/>
                      <a:pt x="161877" y="158744"/>
                    </a:cubicBezTo>
                    <a:lnTo>
                      <a:pt x="161877" y="219256"/>
                    </a:lnTo>
                    <a:cubicBezTo>
                      <a:pt x="115052" y="210531"/>
                      <a:pt x="67427" y="203625"/>
                      <a:pt x="19831" y="198939"/>
                    </a:cubicBezTo>
                    <a:lnTo>
                      <a:pt x="0" y="197187"/>
                    </a:lnTo>
                    <a:lnTo>
                      <a:pt x="0" y="216313"/>
                    </a:lnTo>
                    <a:lnTo>
                      <a:pt x="18098" y="217903"/>
                    </a:lnTo>
                    <a:cubicBezTo>
                      <a:pt x="72076" y="223228"/>
                      <a:pt x="126244" y="231277"/>
                      <a:pt x="179022" y="241821"/>
                    </a:cubicBezTo>
                    <a:close/>
                    <a:moveTo>
                      <a:pt x="228552" y="92516"/>
                    </a:moveTo>
                    <a:cubicBezTo>
                      <a:pt x="228998" y="105270"/>
                      <a:pt x="224709" y="117739"/>
                      <a:pt x="216513" y="127521"/>
                    </a:cubicBezTo>
                    <a:cubicBezTo>
                      <a:pt x="207425" y="134730"/>
                      <a:pt x="196321" y="138937"/>
                      <a:pt x="184737" y="139560"/>
                    </a:cubicBezTo>
                    <a:cubicBezTo>
                      <a:pt x="183726" y="131431"/>
                      <a:pt x="183873" y="123198"/>
                      <a:pt x="185176" y="115110"/>
                    </a:cubicBezTo>
                    <a:cubicBezTo>
                      <a:pt x="186910" y="110620"/>
                      <a:pt x="189620" y="106573"/>
                      <a:pt x="193110" y="103261"/>
                    </a:cubicBezTo>
                    <a:cubicBezTo>
                      <a:pt x="202892" y="95621"/>
                      <a:pt x="215124" y="91811"/>
                      <a:pt x="227514" y="92545"/>
                    </a:cubicBezTo>
                    <a:close/>
                    <a:moveTo>
                      <a:pt x="171879" y="26651"/>
                    </a:moveTo>
                    <a:cubicBezTo>
                      <a:pt x="181101" y="36142"/>
                      <a:pt x="187034" y="48341"/>
                      <a:pt x="188805" y="61455"/>
                    </a:cubicBezTo>
                    <a:cubicBezTo>
                      <a:pt x="187727" y="73078"/>
                      <a:pt x="182682" y="83975"/>
                      <a:pt x="174517" y="92316"/>
                    </a:cubicBezTo>
                    <a:cubicBezTo>
                      <a:pt x="172431" y="92685"/>
                      <a:pt x="170281" y="92398"/>
                      <a:pt x="168364" y="91497"/>
                    </a:cubicBezTo>
                    <a:cubicBezTo>
                      <a:pt x="160353" y="83762"/>
                      <a:pt x="155557" y="73288"/>
                      <a:pt x="154934" y="62170"/>
                    </a:cubicBezTo>
                    <a:cubicBezTo>
                      <a:pt x="156588" y="48808"/>
                      <a:pt x="162535" y="36345"/>
                      <a:pt x="171879" y="26651"/>
                    </a:cubicBezTo>
                    <a:close/>
                    <a:moveTo>
                      <a:pt x="158963" y="139417"/>
                    </a:moveTo>
                    <a:cubicBezTo>
                      <a:pt x="147151" y="138900"/>
                      <a:pt x="135798" y="134693"/>
                      <a:pt x="126502" y="127387"/>
                    </a:cubicBezTo>
                    <a:cubicBezTo>
                      <a:pt x="118320" y="117600"/>
                      <a:pt x="114037" y="105141"/>
                      <a:pt x="114471" y="92392"/>
                    </a:cubicBezTo>
                    <a:cubicBezTo>
                      <a:pt x="127124" y="91468"/>
                      <a:pt x="139679" y="95194"/>
                      <a:pt x="149781" y="102870"/>
                    </a:cubicBezTo>
                    <a:cubicBezTo>
                      <a:pt x="153325" y="106545"/>
                      <a:pt x="156155" y="110847"/>
                      <a:pt x="158125" y="115557"/>
                    </a:cubicBezTo>
                    <a:cubicBezTo>
                      <a:pt x="160228" y="123341"/>
                      <a:pt x="160514" y="131505"/>
                      <a:pt x="158963" y="139417"/>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04" name="Freeform: Shape 103">
                <a:extLst>
                  <a:ext uri="{FF2B5EF4-FFF2-40B4-BE49-F238E27FC236}">
                    <a16:creationId xmlns:a16="http://schemas.microsoft.com/office/drawing/2014/main" id="{49E4C812-AD08-90A4-E02E-0CB9C4464FBC}"/>
                  </a:ext>
                </a:extLst>
              </p:cNvPr>
              <p:cNvSpPr/>
              <p:nvPr/>
            </p:nvSpPr>
            <p:spPr>
              <a:xfrm>
                <a:off x="6941536" y="2434865"/>
                <a:ext cx="258375" cy="59293"/>
              </a:xfrm>
              <a:custGeom>
                <a:avLst/>
                <a:gdLst>
                  <a:gd name="connsiteX0" fmla="*/ 221371 w 258375"/>
                  <a:gd name="connsiteY0" fmla="*/ 56074 h 59293"/>
                  <a:gd name="connsiteX1" fmla="*/ 232801 w 258375"/>
                  <a:gd name="connsiteY1" fmla="*/ 58826 h 59293"/>
                  <a:gd name="connsiteX2" fmla="*/ 234410 w 258375"/>
                  <a:gd name="connsiteY2" fmla="*/ 59293 h 59293"/>
                  <a:gd name="connsiteX3" fmla="*/ 258375 w 258375"/>
                  <a:gd name="connsiteY3" fmla="*/ 46406 h 59293"/>
                  <a:gd name="connsiteX4" fmla="*/ 237687 w 258375"/>
                  <a:gd name="connsiteY4" fmla="*/ 40424 h 59293"/>
                  <a:gd name="connsiteX5" fmla="*/ 225828 w 258375"/>
                  <a:gd name="connsiteY5" fmla="*/ 37567 h 59293"/>
                  <a:gd name="connsiteX6" fmla="*/ 19907 w 258375"/>
                  <a:gd name="connsiteY6" fmla="*/ 1810 h 59293"/>
                  <a:gd name="connsiteX7" fmla="*/ 0 w 258375"/>
                  <a:gd name="connsiteY7" fmla="*/ 0 h 59293"/>
                  <a:gd name="connsiteX8" fmla="*/ 0 w 258375"/>
                  <a:gd name="connsiteY8" fmla="*/ 19126 h 59293"/>
                  <a:gd name="connsiteX9" fmla="*/ 18002 w 258375"/>
                  <a:gd name="connsiteY9" fmla="*/ 20755 h 59293"/>
                  <a:gd name="connsiteX10" fmla="*/ 221371 w 258375"/>
                  <a:gd name="connsiteY10" fmla="*/ 56074 h 5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375" h="59293">
                    <a:moveTo>
                      <a:pt x="221371" y="56074"/>
                    </a:moveTo>
                    <a:lnTo>
                      <a:pt x="232801" y="58826"/>
                    </a:lnTo>
                    <a:lnTo>
                      <a:pt x="234410" y="59293"/>
                    </a:lnTo>
                    <a:cubicBezTo>
                      <a:pt x="242366" y="54931"/>
                      <a:pt x="250355" y="50635"/>
                      <a:pt x="258375" y="46406"/>
                    </a:cubicBezTo>
                    <a:lnTo>
                      <a:pt x="237687" y="40424"/>
                    </a:lnTo>
                    <a:lnTo>
                      <a:pt x="225828" y="37567"/>
                    </a:lnTo>
                    <a:cubicBezTo>
                      <a:pt x="157993" y="21400"/>
                      <a:pt x="89221" y="9458"/>
                      <a:pt x="19907" y="1810"/>
                    </a:cubicBezTo>
                    <a:lnTo>
                      <a:pt x="0" y="0"/>
                    </a:lnTo>
                    <a:lnTo>
                      <a:pt x="0" y="19126"/>
                    </a:lnTo>
                    <a:lnTo>
                      <a:pt x="18002" y="20755"/>
                    </a:lnTo>
                    <a:cubicBezTo>
                      <a:pt x="86456" y="28323"/>
                      <a:pt x="154375" y="40118"/>
                      <a:pt x="221371" y="56074"/>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05" name="Freeform: Shape 104">
                <a:extLst>
                  <a:ext uri="{FF2B5EF4-FFF2-40B4-BE49-F238E27FC236}">
                    <a16:creationId xmlns:a16="http://schemas.microsoft.com/office/drawing/2014/main" id="{D103B8E6-D0D4-8D57-3651-654F188ED021}"/>
                  </a:ext>
                </a:extLst>
              </p:cNvPr>
              <p:cNvSpPr/>
              <p:nvPr/>
            </p:nvSpPr>
            <p:spPr>
              <a:xfrm>
                <a:off x="6941536" y="2528067"/>
                <a:ext cx="147732" cy="33375"/>
              </a:xfrm>
              <a:custGeom>
                <a:avLst/>
                <a:gdLst>
                  <a:gd name="connsiteX0" fmla="*/ 98317 w 147732"/>
                  <a:gd name="connsiteY0" fmla="*/ 30432 h 33375"/>
                  <a:gd name="connsiteX1" fmla="*/ 122130 w 147732"/>
                  <a:gd name="connsiteY1" fmla="*/ 33376 h 33375"/>
                  <a:gd name="connsiteX2" fmla="*/ 147733 w 147732"/>
                  <a:gd name="connsiteY2" fmla="*/ 16993 h 33375"/>
                  <a:gd name="connsiteX3" fmla="*/ 101060 w 147732"/>
                  <a:gd name="connsiteY3" fmla="*/ 11573 h 33375"/>
                  <a:gd name="connsiteX4" fmla="*/ 89011 w 147732"/>
                  <a:gd name="connsiteY4" fmla="*/ 9877 h 33375"/>
                  <a:gd name="connsiteX5" fmla="*/ 19955 w 147732"/>
                  <a:gd name="connsiteY5" fmla="*/ 1800 h 33375"/>
                  <a:gd name="connsiteX6" fmla="*/ 0 w 147732"/>
                  <a:gd name="connsiteY6" fmla="*/ 0 h 33375"/>
                  <a:gd name="connsiteX7" fmla="*/ 0 w 147732"/>
                  <a:gd name="connsiteY7" fmla="*/ 19126 h 33375"/>
                  <a:gd name="connsiteX8" fmla="*/ 18174 w 147732"/>
                  <a:gd name="connsiteY8" fmla="*/ 20764 h 33375"/>
                  <a:gd name="connsiteX9" fmla="*/ 86354 w 147732"/>
                  <a:gd name="connsiteY9" fmla="*/ 28737 h 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732" h="33375">
                    <a:moveTo>
                      <a:pt x="98317" y="30432"/>
                    </a:moveTo>
                    <a:cubicBezTo>
                      <a:pt x="104356" y="31299"/>
                      <a:pt x="113338" y="32337"/>
                      <a:pt x="122130" y="33376"/>
                    </a:cubicBezTo>
                    <a:cubicBezTo>
                      <a:pt x="130613" y="27832"/>
                      <a:pt x="139148" y="22371"/>
                      <a:pt x="147733" y="16993"/>
                    </a:cubicBezTo>
                    <a:cubicBezTo>
                      <a:pt x="138027" y="15973"/>
                      <a:pt x="113052" y="13306"/>
                      <a:pt x="101060" y="11573"/>
                    </a:cubicBezTo>
                    <a:lnTo>
                      <a:pt x="89011" y="9877"/>
                    </a:lnTo>
                    <a:cubicBezTo>
                      <a:pt x="68342" y="6963"/>
                      <a:pt x="46415" y="4401"/>
                      <a:pt x="19955" y="1800"/>
                    </a:cubicBezTo>
                    <a:lnTo>
                      <a:pt x="0" y="0"/>
                    </a:lnTo>
                    <a:lnTo>
                      <a:pt x="0" y="19126"/>
                    </a:lnTo>
                    <a:lnTo>
                      <a:pt x="18174" y="20764"/>
                    </a:lnTo>
                    <a:cubicBezTo>
                      <a:pt x="44282" y="23336"/>
                      <a:pt x="65951" y="25870"/>
                      <a:pt x="86354" y="28737"/>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06" name="Freeform: Shape 105">
                <a:extLst>
                  <a:ext uri="{FF2B5EF4-FFF2-40B4-BE49-F238E27FC236}">
                    <a16:creationId xmlns:a16="http://schemas.microsoft.com/office/drawing/2014/main" id="{5F43AE2F-893A-23B3-A071-C27605D2F18F}"/>
                  </a:ext>
                </a:extLst>
              </p:cNvPr>
              <p:cNvSpPr/>
              <p:nvPr/>
            </p:nvSpPr>
            <p:spPr>
              <a:xfrm>
                <a:off x="7338185" y="1857231"/>
                <a:ext cx="19050" cy="47625"/>
              </a:xfrm>
              <a:custGeom>
                <a:avLst/>
                <a:gdLst>
                  <a:gd name="connsiteX0" fmla="*/ 0 w 19050"/>
                  <a:gd name="connsiteY0" fmla="*/ 0 h 47625"/>
                  <a:gd name="connsiteX1" fmla="*/ 19050 w 19050"/>
                  <a:gd name="connsiteY1" fmla="*/ 0 h 47625"/>
                  <a:gd name="connsiteX2" fmla="*/ 19050 w 19050"/>
                  <a:gd name="connsiteY2" fmla="*/ 47625 h 47625"/>
                  <a:gd name="connsiteX3" fmla="*/ 0 w 19050"/>
                  <a:gd name="connsiteY3" fmla="*/ 47625 h 47625"/>
                </a:gdLst>
                <a:ahLst/>
                <a:cxnLst>
                  <a:cxn ang="0">
                    <a:pos x="connsiteX0" y="connsiteY0"/>
                  </a:cxn>
                  <a:cxn ang="0">
                    <a:pos x="connsiteX1" y="connsiteY1"/>
                  </a:cxn>
                  <a:cxn ang="0">
                    <a:pos x="connsiteX2" y="connsiteY2"/>
                  </a:cxn>
                  <a:cxn ang="0">
                    <a:pos x="connsiteX3" y="connsiteY3"/>
                  </a:cxn>
                </a:cxnLst>
                <a:rect l="l" t="t" r="r" b="b"/>
                <a:pathLst>
                  <a:path w="19050" h="47625">
                    <a:moveTo>
                      <a:pt x="0" y="0"/>
                    </a:moveTo>
                    <a:lnTo>
                      <a:pt x="19050" y="0"/>
                    </a:lnTo>
                    <a:lnTo>
                      <a:pt x="19050" y="47625"/>
                    </a:lnTo>
                    <a:lnTo>
                      <a:pt x="0" y="47625"/>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07" name="Freeform: Shape 106">
                <a:extLst>
                  <a:ext uri="{FF2B5EF4-FFF2-40B4-BE49-F238E27FC236}">
                    <a16:creationId xmlns:a16="http://schemas.microsoft.com/office/drawing/2014/main" id="{128CC74E-2924-3462-FD4E-F6B0E25E3539}"/>
                  </a:ext>
                </a:extLst>
              </p:cNvPr>
              <p:cNvSpPr/>
              <p:nvPr/>
            </p:nvSpPr>
            <p:spPr>
              <a:xfrm>
                <a:off x="7338185" y="2058628"/>
                <a:ext cx="19050" cy="47625"/>
              </a:xfrm>
              <a:custGeom>
                <a:avLst/>
                <a:gdLst>
                  <a:gd name="connsiteX0" fmla="*/ 0 w 19050"/>
                  <a:gd name="connsiteY0" fmla="*/ 0 h 47625"/>
                  <a:gd name="connsiteX1" fmla="*/ 19050 w 19050"/>
                  <a:gd name="connsiteY1" fmla="*/ 0 h 47625"/>
                  <a:gd name="connsiteX2" fmla="*/ 19050 w 19050"/>
                  <a:gd name="connsiteY2" fmla="*/ 47625 h 47625"/>
                  <a:gd name="connsiteX3" fmla="*/ 0 w 19050"/>
                  <a:gd name="connsiteY3" fmla="*/ 47625 h 47625"/>
                </a:gdLst>
                <a:ahLst/>
                <a:cxnLst>
                  <a:cxn ang="0">
                    <a:pos x="connsiteX0" y="connsiteY0"/>
                  </a:cxn>
                  <a:cxn ang="0">
                    <a:pos x="connsiteX1" y="connsiteY1"/>
                  </a:cxn>
                  <a:cxn ang="0">
                    <a:pos x="connsiteX2" y="connsiteY2"/>
                  </a:cxn>
                  <a:cxn ang="0">
                    <a:pos x="connsiteX3" y="connsiteY3"/>
                  </a:cxn>
                </a:cxnLst>
                <a:rect l="l" t="t" r="r" b="b"/>
                <a:pathLst>
                  <a:path w="19050" h="47625">
                    <a:moveTo>
                      <a:pt x="0" y="0"/>
                    </a:moveTo>
                    <a:lnTo>
                      <a:pt x="19050" y="0"/>
                    </a:lnTo>
                    <a:lnTo>
                      <a:pt x="19050" y="47625"/>
                    </a:lnTo>
                    <a:lnTo>
                      <a:pt x="0" y="47625"/>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08" name="Freeform: Shape 107">
                <a:extLst>
                  <a:ext uri="{FF2B5EF4-FFF2-40B4-BE49-F238E27FC236}">
                    <a16:creationId xmlns:a16="http://schemas.microsoft.com/office/drawing/2014/main" id="{91BF9BF3-517C-9841-B255-5DBE2A209771}"/>
                  </a:ext>
                </a:extLst>
              </p:cNvPr>
              <p:cNvSpPr/>
              <p:nvPr/>
            </p:nvSpPr>
            <p:spPr>
              <a:xfrm>
                <a:off x="7424596" y="1972217"/>
                <a:ext cx="47625" cy="19050"/>
              </a:xfrm>
              <a:custGeom>
                <a:avLst/>
                <a:gdLst>
                  <a:gd name="connsiteX0" fmla="*/ 0 w 47625"/>
                  <a:gd name="connsiteY0" fmla="*/ 0 h 19050"/>
                  <a:gd name="connsiteX1" fmla="*/ 47625 w 47625"/>
                  <a:gd name="connsiteY1" fmla="*/ 0 h 19050"/>
                  <a:gd name="connsiteX2" fmla="*/ 47625 w 47625"/>
                  <a:gd name="connsiteY2" fmla="*/ 19050 h 19050"/>
                  <a:gd name="connsiteX3" fmla="*/ 0 w 476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47625" h="19050">
                    <a:moveTo>
                      <a:pt x="0" y="0"/>
                    </a:moveTo>
                    <a:lnTo>
                      <a:pt x="47625" y="0"/>
                    </a:lnTo>
                    <a:lnTo>
                      <a:pt x="47625" y="19050"/>
                    </a:lnTo>
                    <a:lnTo>
                      <a:pt x="0" y="19050"/>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09" name="Freeform: Shape 108">
                <a:extLst>
                  <a:ext uri="{FF2B5EF4-FFF2-40B4-BE49-F238E27FC236}">
                    <a16:creationId xmlns:a16="http://schemas.microsoft.com/office/drawing/2014/main" id="{97098165-1DD4-879E-E558-4F61B951919C}"/>
                  </a:ext>
                </a:extLst>
              </p:cNvPr>
              <p:cNvSpPr/>
              <p:nvPr/>
            </p:nvSpPr>
            <p:spPr>
              <a:xfrm>
                <a:off x="7223200" y="1972217"/>
                <a:ext cx="47625" cy="19050"/>
              </a:xfrm>
              <a:custGeom>
                <a:avLst/>
                <a:gdLst>
                  <a:gd name="connsiteX0" fmla="*/ 0 w 47625"/>
                  <a:gd name="connsiteY0" fmla="*/ 0 h 19050"/>
                  <a:gd name="connsiteX1" fmla="*/ 47625 w 47625"/>
                  <a:gd name="connsiteY1" fmla="*/ 0 h 19050"/>
                  <a:gd name="connsiteX2" fmla="*/ 47625 w 47625"/>
                  <a:gd name="connsiteY2" fmla="*/ 19050 h 19050"/>
                  <a:gd name="connsiteX3" fmla="*/ 0 w 476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47625" h="19050">
                    <a:moveTo>
                      <a:pt x="0" y="0"/>
                    </a:moveTo>
                    <a:lnTo>
                      <a:pt x="47625" y="0"/>
                    </a:lnTo>
                    <a:lnTo>
                      <a:pt x="47625" y="19050"/>
                    </a:lnTo>
                    <a:lnTo>
                      <a:pt x="0" y="19050"/>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0" name="Freeform: Shape 109">
                <a:extLst>
                  <a:ext uri="{FF2B5EF4-FFF2-40B4-BE49-F238E27FC236}">
                    <a16:creationId xmlns:a16="http://schemas.microsoft.com/office/drawing/2014/main" id="{DA3C2291-FD0F-8F9F-CA5D-183917DCC977}"/>
                  </a:ext>
                </a:extLst>
              </p:cNvPr>
              <p:cNvSpPr/>
              <p:nvPr/>
            </p:nvSpPr>
            <p:spPr>
              <a:xfrm rot="-2700000">
                <a:off x="7395107" y="1901006"/>
                <a:ext cx="47625" cy="19050"/>
              </a:xfrm>
              <a:custGeom>
                <a:avLst/>
                <a:gdLst>
                  <a:gd name="connsiteX0" fmla="*/ 0 w 47625"/>
                  <a:gd name="connsiteY0" fmla="*/ 0 h 19050"/>
                  <a:gd name="connsiteX1" fmla="*/ 47625 w 47625"/>
                  <a:gd name="connsiteY1" fmla="*/ 0 h 19050"/>
                  <a:gd name="connsiteX2" fmla="*/ 47625 w 47625"/>
                  <a:gd name="connsiteY2" fmla="*/ 19050 h 19050"/>
                  <a:gd name="connsiteX3" fmla="*/ 0 w 476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47625" h="19050">
                    <a:moveTo>
                      <a:pt x="0" y="0"/>
                    </a:moveTo>
                    <a:lnTo>
                      <a:pt x="47625" y="0"/>
                    </a:lnTo>
                    <a:lnTo>
                      <a:pt x="47625" y="19050"/>
                    </a:lnTo>
                    <a:lnTo>
                      <a:pt x="0" y="19050"/>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1" name="Freeform: Shape 110">
                <a:extLst>
                  <a:ext uri="{FF2B5EF4-FFF2-40B4-BE49-F238E27FC236}">
                    <a16:creationId xmlns:a16="http://schemas.microsoft.com/office/drawing/2014/main" id="{51ABF19C-C3BB-C7A6-BCC8-B7E0F7812D11}"/>
                  </a:ext>
                </a:extLst>
              </p:cNvPr>
              <p:cNvSpPr/>
              <p:nvPr/>
            </p:nvSpPr>
            <p:spPr>
              <a:xfrm rot="-2700000">
                <a:off x="7252689" y="2043427"/>
                <a:ext cx="47625" cy="19050"/>
              </a:xfrm>
              <a:custGeom>
                <a:avLst/>
                <a:gdLst>
                  <a:gd name="connsiteX0" fmla="*/ 0 w 47625"/>
                  <a:gd name="connsiteY0" fmla="*/ 0 h 19050"/>
                  <a:gd name="connsiteX1" fmla="*/ 47625 w 47625"/>
                  <a:gd name="connsiteY1" fmla="*/ 0 h 19050"/>
                  <a:gd name="connsiteX2" fmla="*/ 47625 w 47625"/>
                  <a:gd name="connsiteY2" fmla="*/ 19050 h 19050"/>
                  <a:gd name="connsiteX3" fmla="*/ 0 w 47625"/>
                  <a:gd name="connsiteY3" fmla="*/ 19050 h 19050"/>
                </a:gdLst>
                <a:ahLst/>
                <a:cxnLst>
                  <a:cxn ang="0">
                    <a:pos x="connsiteX0" y="connsiteY0"/>
                  </a:cxn>
                  <a:cxn ang="0">
                    <a:pos x="connsiteX1" y="connsiteY1"/>
                  </a:cxn>
                  <a:cxn ang="0">
                    <a:pos x="connsiteX2" y="connsiteY2"/>
                  </a:cxn>
                  <a:cxn ang="0">
                    <a:pos x="connsiteX3" y="connsiteY3"/>
                  </a:cxn>
                </a:cxnLst>
                <a:rect l="l" t="t" r="r" b="b"/>
                <a:pathLst>
                  <a:path w="47625" h="19050">
                    <a:moveTo>
                      <a:pt x="0" y="0"/>
                    </a:moveTo>
                    <a:lnTo>
                      <a:pt x="47625" y="0"/>
                    </a:lnTo>
                    <a:lnTo>
                      <a:pt x="47625" y="19050"/>
                    </a:lnTo>
                    <a:lnTo>
                      <a:pt x="0" y="19050"/>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2" name="Freeform: Shape 111">
                <a:extLst>
                  <a:ext uri="{FF2B5EF4-FFF2-40B4-BE49-F238E27FC236}">
                    <a16:creationId xmlns:a16="http://schemas.microsoft.com/office/drawing/2014/main" id="{2B6DC37A-C6F8-EB58-1BAD-809CA5666E83}"/>
                  </a:ext>
                </a:extLst>
              </p:cNvPr>
              <p:cNvSpPr/>
              <p:nvPr/>
            </p:nvSpPr>
            <p:spPr>
              <a:xfrm rot="-2700000">
                <a:off x="7409394" y="2029126"/>
                <a:ext cx="19050" cy="47625"/>
              </a:xfrm>
              <a:custGeom>
                <a:avLst/>
                <a:gdLst>
                  <a:gd name="connsiteX0" fmla="*/ 0 w 19050"/>
                  <a:gd name="connsiteY0" fmla="*/ 0 h 47625"/>
                  <a:gd name="connsiteX1" fmla="*/ 19050 w 19050"/>
                  <a:gd name="connsiteY1" fmla="*/ 0 h 47625"/>
                  <a:gd name="connsiteX2" fmla="*/ 19050 w 19050"/>
                  <a:gd name="connsiteY2" fmla="*/ 47625 h 47625"/>
                  <a:gd name="connsiteX3" fmla="*/ 0 w 19050"/>
                  <a:gd name="connsiteY3" fmla="*/ 47625 h 47625"/>
                </a:gdLst>
                <a:ahLst/>
                <a:cxnLst>
                  <a:cxn ang="0">
                    <a:pos x="connsiteX0" y="connsiteY0"/>
                  </a:cxn>
                  <a:cxn ang="0">
                    <a:pos x="connsiteX1" y="connsiteY1"/>
                  </a:cxn>
                  <a:cxn ang="0">
                    <a:pos x="connsiteX2" y="connsiteY2"/>
                  </a:cxn>
                  <a:cxn ang="0">
                    <a:pos x="connsiteX3" y="connsiteY3"/>
                  </a:cxn>
                </a:cxnLst>
                <a:rect l="l" t="t" r="r" b="b"/>
                <a:pathLst>
                  <a:path w="19050" h="47625">
                    <a:moveTo>
                      <a:pt x="0" y="0"/>
                    </a:moveTo>
                    <a:lnTo>
                      <a:pt x="19050" y="0"/>
                    </a:lnTo>
                    <a:lnTo>
                      <a:pt x="19050" y="47625"/>
                    </a:lnTo>
                    <a:lnTo>
                      <a:pt x="0" y="47625"/>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3" name="Freeform: Shape 112">
                <a:extLst>
                  <a:ext uri="{FF2B5EF4-FFF2-40B4-BE49-F238E27FC236}">
                    <a16:creationId xmlns:a16="http://schemas.microsoft.com/office/drawing/2014/main" id="{06E1F5AB-9C5B-0C5B-69BE-2CE4BD9DD981}"/>
                  </a:ext>
                </a:extLst>
              </p:cNvPr>
              <p:cNvSpPr/>
              <p:nvPr/>
            </p:nvSpPr>
            <p:spPr>
              <a:xfrm rot="-2700119">
                <a:off x="7266980" y="1886715"/>
                <a:ext cx="19049" cy="47624"/>
              </a:xfrm>
              <a:custGeom>
                <a:avLst/>
                <a:gdLst>
                  <a:gd name="connsiteX0" fmla="*/ 0 w 19049"/>
                  <a:gd name="connsiteY0" fmla="*/ 0 h 47624"/>
                  <a:gd name="connsiteX1" fmla="*/ 19050 w 19049"/>
                  <a:gd name="connsiteY1" fmla="*/ 0 h 47624"/>
                  <a:gd name="connsiteX2" fmla="*/ 19050 w 19049"/>
                  <a:gd name="connsiteY2" fmla="*/ 47625 h 47624"/>
                  <a:gd name="connsiteX3" fmla="*/ 0 w 19049"/>
                  <a:gd name="connsiteY3" fmla="*/ 47625 h 47624"/>
                </a:gdLst>
                <a:ahLst/>
                <a:cxnLst>
                  <a:cxn ang="0">
                    <a:pos x="connsiteX0" y="connsiteY0"/>
                  </a:cxn>
                  <a:cxn ang="0">
                    <a:pos x="connsiteX1" y="connsiteY1"/>
                  </a:cxn>
                  <a:cxn ang="0">
                    <a:pos x="connsiteX2" y="connsiteY2"/>
                  </a:cxn>
                  <a:cxn ang="0">
                    <a:pos x="connsiteX3" y="connsiteY3"/>
                  </a:cxn>
                </a:cxnLst>
                <a:rect l="l" t="t" r="r" b="b"/>
                <a:pathLst>
                  <a:path w="19049" h="47624">
                    <a:moveTo>
                      <a:pt x="0" y="0"/>
                    </a:moveTo>
                    <a:lnTo>
                      <a:pt x="19050" y="0"/>
                    </a:lnTo>
                    <a:lnTo>
                      <a:pt x="19050" y="47625"/>
                    </a:lnTo>
                    <a:lnTo>
                      <a:pt x="0" y="47625"/>
                    </a:ln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4" name="Freeform: Shape 113">
                <a:extLst>
                  <a:ext uri="{FF2B5EF4-FFF2-40B4-BE49-F238E27FC236}">
                    <a16:creationId xmlns:a16="http://schemas.microsoft.com/office/drawing/2014/main" id="{C976E014-C4C5-1BDA-22FA-45223692AFA8}"/>
                  </a:ext>
                </a:extLst>
              </p:cNvPr>
              <p:cNvSpPr/>
              <p:nvPr/>
            </p:nvSpPr>
            <p:spPr>
              <a:xfrm>
                <a:off x="7290560" y="1925125"/>
                <a:ext cx="114300" cy="114299"/>
              </a:xfrm>
              <a:custGeom>
                <a:avLst/>
                <a:gdLst>
                  <a:gd name="connsiteX0" fmla="*/ 57150 w 114300"/>
                  <a:gd name="connsiteY0" fmla="*/ 114300 h 114299"/>
                  <a:gd name="connsiteX1" fmla="*/ 114300 w 114300"/>
                  <a:gd name="connsiteY1" fmla="*/ 57150 h 114299"/>
                  <a:gd name="connsiteX2" fmla="*/ 57150 w 114300"/>
                  <a:gd name="connsiteY2" fmla="*/ 0 h 114299"/>
                  <a:gd name="connsiteX3" fmla="*/ 0 w 114300"/>
                  <a:gd name="connsiteY3" fmla="*/ 57150 h 114299"/>
                  <a:gd name="connsiteX4" fmla="*/ 57150 w 114300"/>
                  <a:gd name="connsiteY4" fmla="*/ 114300 h 114299"/>
                  <a:gd name="connsiteX5" fmla="*/ 57150 w 114300"/>
                  <a:gd name="connsiteY5" fmla="*/ 19050 h 114299"/>
                  <a:gd name="connsiteX6" fmla="*/ 95250 w 114300"/>
                  <a:gd name="connsiteY6" fmla="*/ 57150 h 114299"/>
                  <a:gd name="connsiteX7" fmla="*/ 57150 w 114300"/>
                  <a:gd name="connsiteY7" fmla="*/ 95250 h 114299"/>
                  <a:gd name="connsiteX8" fmla="*/ 19050 w 114300"/>
                  <a:gd name="connsiteY8" fmla="*/ 57150 h 114299"/>
                  <a:gd name="connsiteX9" fmla="*/ 57150 w 114300"/>
                  <a:gd name="connsiteY9" fmla="*/ 19012 h 11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299">
                    <a:moveTo>
                      <a:pt x="57150" y="114300"/>
                    </a:moveTo>
                    <a:cubicBezTo>
                      <a:pt x="88713" y="114300"/>
                      <a:pt x="114300" y="88713"/>
                      <a:pt x="114300" y="57150"/>
                    </a:cubicBezTo>
                    <a:cubicBezTo>
                      <a:pt x="114300" y="25587"/>
                      <a:pt x="88713" y="0"/>
                      <a:pt x="57150" y="0"/>
                    </a:cubicBezTo>
                    <a:cubicBezTo>
                      <a:pt x="25587" y="0"/>
                      <a:pt x="0" y="25587"/>
                      <a:pt x="0" y="57150"/>
                    </a:cubicBezTo>
                    <a:cubicBezTo>
                      <a:pt x="0" y="88713"/>
                      <a:pt x="25587" y="114300"/>
                      <a:pt x="57150" y="114300"/>
                    </a:cubicBezTo>
                    <a:close/>
                    <a:moveTo>
                      <a:pt x="57150" y="19050"/>
                    </a:moveTo>
                    <a:cubicBezTo>
                      <a:pt x="78192" y="19050"/>
                      <a:pt x="95250" y="36108"/>
                      <a:pt x="95250" y="57150"/>
                    </a:cubicBezTo>
                    <a:cubicBezTo>
                      <a:pt x="95250" y="78192"/>
                      <a:pt x="78192" y="95250"/>
                      <a:pt x="57150" y="95250"/>
                    </a:cubicBezTo>
                    <a:cubicBezTo>
                      <a:pt x="36108" y="95250"/>
                      <a:pt x="19050" y="78192"/>
                      <a:pt x="19050" y="57150"/>
                    </a:cubicBezTo>
                    <a:cubicBezTo>
                      <a:pt x="19055" y="36104"/>
                      <a:pt x="36104" y="19039"/>
                      <a:pt x="57150" y="19012"/>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5" name="Freeform: Shape 114">
                <a:extLst>
                  <a:ext uri="{FF2B5EF4-FFF2-40B4-BE49-F238E27FC236}">
                    <a16:creationId xmlns:a16="http://schemas.microsoft.com/office/drawing/2014/main" id="{C5815C70-E944-E21A-6504-19462A2FDFAA}"/>
                  </a:ext>
                </a:extLst>
              </p:cNvPr>
              <p:cNvSpPr/>
              <p:nvPr/>
            </p:nvSpPr>
            <p:spPr>
              <a:xfrm>
                <a:off x="7200835" y="2430636"/>
                <a:ext cx="559803" cy="199491"/>
              </a:xfrm>
              <a:custGeom>
                <a:avLst/>
                <a:gdLst>
                  <a:gd name="connsiteX0" fmla="*/ 0 w 559803"/>
                  <a:gd name="connsiteY0" fmla="*/ 199492 h 199491"/>
                  <a:gd name="connsiteX1" fmla="*/ 40310 w 559803"/>
                  <a:gd name="connsiteY1" fmla="*/ 199492 h 199491"/>
                  <a:gd name="connsiteX2" fmla="*/ 56636 w 559803"/>
                  <a:gd name="connsiteY2" fmla="*/ 190738 h 199491"/>
                  <a:gd name="connsiteX3" fmla="*/ 559803 w 559803"/>
                  <a:gd name="connsiteY3" fmla="*/ 19288 h 199491"/>
                  <a:gd name="connsiteX4" fmla="*/ 559803 w 559803"/>
                  <a:gd name="connsiteY4" fmla="*/ 0 h 199491"/>
                  <a:gd name="connsiteX5" fmla="*/ 47635 w 559803"/>
                  <a:gd name="connsiteY5" fmla="*/ 173946 h 19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9803" h="199491">
                    <a:moveTo>
                      <a:pt x="0" y="199492"/>
                    </a:moveTo>
                    <a:lnTo>
                      <a:pt x="40310" y="199492"/>
                    </a:lnTo>
                    <a:lnTo>
                      <a:pt x="56636" y="190738"/>
                    </a:lnTo>
                    <a:cubicBezTo>
                      <a:pt x="213804" y="106342"/>
                      <a:pt x="383803" y="48417"/>
                      <a:pt x="559803" y="19288"/>
                    </a:cubicBezTo>
                    <a:lnTo>
                      <a:pt x="559803" y="0"/>
                    </a:lnTo>
                    <a:cubicBezTo>
                      <a:pt x="380645" y="29295"/>
                      <a:pt x="207578" y="88073"/>
                      <a:pt x="47635" y="173946"/>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6" name="Freeform: Shape 115">
                <a:extLst>
                  <a:ext uri="{FF2B5EF4-FFF2-40B4-BE49-F238E27FC236}">
                    <a16:creationId xmlns:a16="http://schemas.microsoft.com/office/drawing/2014/main" id="{0632E034-B62B-F3DA-1DE4-7BBDF1718A5C}"/>
                  </a:ext>
                </a:extLst>
              </p:cNvPr>
              <p:cNvSpPr/>
              <p:nvPr/>
            </p:nvSpPr>
            <p:spPr>
              <a:xfrm>
                <a:off x="7422615" y="2529515"/>
                <a:ext cx="337994" cy="100612"/>
              </a:xfrm>
              <a:custGeom>
                <a:avLst/>
                <a:gdLst>
                  <a:gd name="connsiteX0" fmla="*/ 0 w 337994"/>
                  <a:gd name="connsiteY0" fmla="*/ 100613 h 100612"/>
                  <a:gd name="connsiteX1" fmla="*/ 55083 w 337994"/>
                  <a:gd name="connsiteY1" fmla="*/ 100613 h 100612"/>
                  <a:gd name="connsiteX2" fmla="*/ 129711 w 337994"/>
                  <a:gd name="connsiteY2" fmla="*/ 73123 h 100612"/>
                  <a:gd name="connsiteX3" fmla="*/ 337995 w 337994"/>
                  <a:gd name="connsiteY3" fmla="*/ 19412 h 100612"/>
                  <a:gd name="connsiteX4" fmla="*/ 337995 w 337994"/>
                  <a:gd name="connsiteY4" fmla="*/ 0 h 100612"/>
                  <a:gd name="connsiteX5" fmla="*/ 123425 w 337994"/>
                  <a:gd name="connsiteY5" fmla="*/ 55140 h 10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94" h="100612">
                    <a:moveTo>
                      <a:pt x="0" y="100613"/>
                    </a:moveTo>
                    <a:lnTo>
                      <a:pt x="55083" y="100613"/>
                    </a:lnTo>
                    <a:lnTo>
                      <a:pt x="129711" y="73123"/>
                    </a:lnTo>
                    <a:cubicBezTo>
                      <a:pt x="197894" y="50699"/>
                      <a:pt x="267471" y="32757"/>
                      <a:pt x="337995" y="19412"/>
                    </a:cubicBezTo>
                    <a:lnTo>
                      <a:pt x="337995" y="0"/>
                    </a:lnTo>
                    <a:cubicBezTo>
                      <a:pt x="265327" y="13599"/>
                      <a:pt x="193645" y="32020"/>
                      <a:pt x="123425" y="55140"/>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sp>
            <p:nvSpPr>
              <p:cNvPr id="117" name="Freeform: Shape 116">
                <a:extLst>
                  <a:ext uri="{FF2B5EF4-FFF2-40B4-BE49-F238E27FC236}">
                    <a16:creationId xmlns:a16="http://schemas.microsoft.com/office/drawing/2014/main" id="{363996EB-35DC-A634-ADC6-509865EADCB3}"/>
                  </a:ext>
                </a:extLst>
              </p:cNvPr>
              <p:cNvSpPr/>
              <p:nvPr/>
            </p:nvSpPr>
            <p:spPr>
              <a:xfrm>
                <a:off x="7013773" y="2147096"/>
                <a:ext cx="746874" cy="483031"/>
              </a:xfrm>
              <a:custGeom>
                <a:avLst/>
                <a:gdLst>
                  <a:gd name="connsiteX0" fmla="*/ 640137 w 746874"/>
                  <a:gd name="connsiteY0" fmla="*/ 201092 h 483031"/>
                  <a:gd name="connsiteX1" fmla="*/ 622992 w 746874"/>
                  <a:gd name="connsiteY1" fmla="*/ 204692 h 483031"/>
                  <a:gd name="connsiteX2" fmla="*/ 622992 w 746874"/>
                  <a:gd name="connsiteY2" fmla="*/ 158934 h 483031"/>
                  <a:gd name="connsiteX3" fmla="*/ 671751 w 746874"/>
                  <a:gd name="connsiteY3" fmla="*/ 141246 h 483031"/>
                  <a:gd name="connsiteX4" fmla="*/ 689343 w 746874"/>
                  <a:gd name="connsiteY4" fmla="*/ 82563 h 483031"/>
                  <a:gd name="connsiteX5" fmla="*/ 688553 w 746874"/>
                  <a:gd name="connsiteY5" fmla="*/ 75200 h 483031"/>
                  <a:gd name="connsiteX6" fmla="*/ 681228 w 746874"/>
                  <a:gd name="connsiteY6" fmla="*/ 74143 h 483031"/>
                  <a:gd name="connsiteX7" fmla="*/ 647262 w 746874"/>
                  <a:gd name="connsiteY7" fmla="*/ 76200 h 483031"/>
                  <a:gd name="connsiteX8" fmla="*/ 649843 w 746874"/>
                  <a:gd name="connsiteY8" fmla="*/ 62208 h 483031"/>
                  <a:gd name="connsiteX9" fmla="*/ 620316 w 746874"/>
                  <a:gd name="connsiteY9" fmla="*/ 5829 h 483031"/>
                  <a:gd name="connsiteX10" fmla="*/ 613905 w 746874"/>
                  <a:gd name="connsiteY10" fmla="*/ 0 h 483031"/>
                  <a:gd name="connsiteX11" fmla="*/ 607495 w 746874"/>
                  <a:gd name="connsiteY11" fmla="*/ 5829 h 483031"/>
                  <a:gd name="connsiteX12" fmla="*/ 577968 w 746874"/>
                  <a:gd name="connsiteY12" fmla="*/ 62894 h 483031"/>
                  <a:gd name="connsiteX13" fmla="*/ 580225 w 746874"/>
                  <a:gd name="connsiteY13" fmla="*/ 76086 h 483031"/>
                  <a:gd name="connsiteX14" fmla="*/ 545840 w 746874"/>
                  <a:gd name="connsiteY14" fmla="*/ 74028 h 483031"/>
                  <a:gd name="connsiteX15" fmla="*/ 538525 w 746874"/>
                  <a:gd name="connsiteY15" fmla="*/ 75095 h 483031"/>
                  <a:gd name="connsiteX16" fmla="*/ 537743 w 746874"/>
                  <a:gd name="connsiteY16" fmla="*/ 82439 h 483031"/>
                  <a:gd name="connsiteX17" fmla="*/ 555317 w 746874"/>
                  <a:gd name="connsiteY17" fmla="*/ 141122 h 483031"/>
                  <a:gd name="connsiteX18" fmla="*/ 603895 w 746874"/>
                  <a:gd name="connsiteY18" fmla="*/ 158744 h 483031"/>
                  <a:gd name="connsiteX19" fmla="*/ 603895 w 746874"/>
                  <a:gd name="connsiteY19" fmla="*/ 209112 h 483031"/>
                  <a:gd name="connsiteX20" fmla="*/ 7725 w 746874"/>
                  <a:gd name="connsiteY20" fmla="*/ 477450 h 483031"/>
                  <a:gd name="connsiteX21" fmla="*/ 0 w 746874"/>
                  <a:gd name="connsiteY21" fmla="*/ 483032 h 483031"/>
                  <a:gd name="connsiteX22" fmla="*/ 33204 w 746874"/>
                  <a:gd name="connsiteY22" fmla="*/ 483032 h 483031"/>
                  <a:gd name="connsiteX23" fmla="*/ 625031 w 746874"/>
                  <a:gd name="connsiteY23" fmla="*/ 223752 h 483031"/>
                  <a:gd name="connsiteX24" fmla="*/ 644081 w 746874"/>
                  <a:gd name="connsiteY24" fmla="*/ 219751 h 483031"/>
                  <a:gd name="connsiteX25" fmla="*/ 746874 w 746874"/>
                  <a:gd name="connsiteY25" fmla="*/ 201654 h 483031"/>
                  <a:gd name="connsiteX26" fmla="*/ 746874 w 746874"/>
                  <a:gd name="connsiteY26" fmla="*/ 182413 h 483031"/>
                  <a:gd name="connsiteX27" fmla="*/ 640137 w 746874"/>
                  <a:gd name="connsiteY27" fmla="*/ 201092 h 483031"/>
                  <a:gd name="connsiteX28" fmla="*/ 670617 w 746874"/>
                  <a:gd name="connsiteY28" fmla="*/ 92507 h 483031"/>
                  <a:gd name="connsiteX29" fmla="*/ 658578 w 746874"/>
                  <a:gd name="connsiteY29" fmla="*/ 127511 h 483031"/>
                  <a:gd name="connsiteX30" fmla="*/ 626812 w 746874"/>
                  <a:gd name="connsiteY30" fmla="*/ 139513 h 483031"/>
                  <a:gd name="connsiteX31" fmla="*/ 627250 w 746874"/>
                  <a:gd name="connsiteY31" fmla="*/ 115062 h 483031"/>
                  <a:gd name="connsiteX32" fmla="*/ 635184 w 746874"/>
                  <a:gd name="connsiteY32" fmla="*/ 103213 h 483031"/>
                  <a:gd name="connsiteX33" fmla="*/ 669598 w 746874"/>
                  <a:gd name="connsiteY33" fmla="*/ 92507 h 483031"/>
                  <a:gd name="connsiteX34" fmla="*/ 613943 w 746874"/>
                  <a:gd name="connsiteY34" fmla="*/ 26651 h 483031"/>
                  <a:gd name="connsiteX35" fmla="*/ 630869 w 746874"/>
                  <a:gd name="connsiteY35" fmla="*/ 61484 h 483031"/>
                  <a:gd name="connsiteX36" fmla="*/ 616582 w 746874"/>
                  <a:gd name="connsiteY36" fmla="*/ 92345 h 483031"/>
                  <a:gd name="connsiteX37" fmla="*/ 610429 w 746874"/>
                  <a:gd name="connsiteY37" fmla="*/ 91526 h 483031"/>
                  <a:gd name="connsiteX38" fmla="*/ 596998 w 746874"/>
                  <a:gd name="connsiteY38" fmla="*/ 62198 h 483031"/>
                  <a:gd name="connsiteX39" fmla="*/ 613943 w 746874"/>
                  <a:gd name="connsiteY39" fmla="*/ 26651 h 483031"/>
                  <a:gd name="connsiteX40" fmla="*/ 601028 w 746874"/>
                  <a:gd name="connsiteY40" fmla="*/ 139417 h 483031"/>
                  <a:gd name="connsiteX41" fmla="*/ 568566 w 746874"/>
                  <a:gd name="connsiteY41" fmla="*/ 127387 h 483031"/>
                  <a:gd name="connsiteX42" fmla="*/ 556536 w 746874"/>
                  <a:gd name="connsiteY42" fmla="*/ 92393 h 483031"/>
                  <a:gd name="connsiteX43" fmla="*/ 591845 w 746874"/>
                  <a:gd name="connsiteY43" fmla="*/ 102870 h 483031"/>
                  <a:gd name="connsiteX44" fmla="*/ 600189 w 746874"/>
                  <a:gd name="connsiteY44" fmla="*/ 115557 h 483031"/>
                  <a:gd name="connsiteX45" fmla="*/ 601028 w 746874"/>
                  <a:gd name="connsiteY45" fmla="*/ 139417 h 48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46874" h="483031">
                    <a:moveTo>
                      <a:pt x="640137" y="201092"/>
                    </a:moveTo>
                    <a:lnTo>
                      <a:pt x="622992" y="204692"/>
                    </a:lnTo>
                    <a:lnTo>
                      <a:pt x="622992" y="158934"/>
                    </a:lnTo>
                    <a:cubicBezTo>
                      <a:pt x="640783" y="158753"/>
                      <a:pt x="657981" y="152514"/>
                      <a:pt x="671751" y="141246"/>
                    </a:cubicBezTo>
                    <a:cubicBezTo>
                      <a:pt x="693125" y="120710"/>
                      <a:pt x="689505" y="84096"/>
                      <a:pt x="689343" y="82563"/>
                    </a:cubicBezTo>
                    <a:lnTo>
                      <a:pt x="688553" y="75200"/>
                    </a:lnTo>
                    <a:lnTo>
                      <a:pt x="681228" y="74143"/>
                    </a:lnTo>
                    <a:cubicBezTo>
                      <a:pt x="669873" y="72816"/>
                      <a:pt x="658374" y="73512"/>
                      <a:pt x="647262" y="76200"/>
                    </a:cubicBezTo>
                    <a:cubicBezTo>
                      <a:pt x="648604" y="71638"/>
                      <a:pt x="649469" y="66948"/>
                      <a:pt x="649843" y="62208"/>
                    </a:cubicBezTo>
                    <a:cubicBezTo>
                      <a:pt x="649843" y="33033"/>
                      <a:pt x="621506" y="6963"/>
                      <a:pt x="620316" y="5829"/>
                    </a:cubicBezTo>
                    <a:lnTo>
                      <a:pt x="613905" y="0"/>
                    </a:lnTo>
                    <a:lnTo>
                      <a:pt x="607495" y="5829"/>
                    </a:lnTo>
                    <a:cubicBezTo>
                      <a:pt x="606285" y="6925"/>
                      <a:pt x="577968" y="33033"/>
                      <a:pt x="577968" y="62894"/>
                    </a:cubicBezTo>
                    <a:cubicBezTo>
                      <a:pt x="578303" y="67352"/>
                      <a:pt x="579058" y="71769"/>
                      <a:pt x="580225" y="76086"/>
                    </a:cubicBezTo>
                    <a:cubicBezTo>
                      <a:pt x="568980" y="73343"/>
                      <a:pt x="557333" y="72646"/>
                      <a:pt x="545840" y="74028"/>
                    </a:cubicBezTo>
                    <a:lnTo>
                      <a:pt x="538525" y="75095"/>
                    </a:lnTo>
                    <a:lnTo>
                      <a:pt x="537743" y="82439"/>
                    </a:lnTo>
                    <a:cubicBezTo>
                      <a:pt x="537581" y="83991"/>
                      <a:pt x="533933" y="120587"/>
                      <a:pt x="555317" y="141122"/>
                    </a:cubicBezTo>
                    <a:cubicBezTo>
                      <a:pt x="569029" y="152358"/>
                      <a:pt x="586168" y="158574"/>
                      <a:pt x="603895" y="158744"/>
                    </a:cubicBezTo>
                    <a:lnTo>
                      <a:pt x="603895" y="209112"/>
                    </a:lnTo>
                    <a:cubicBezTo>
                      <a:pt x="389453" y="258468"/>
                      <a:pt x="186860" y="349655"/>
                      <a:pt x="7725" y="477450"/>
                    </a:cubicBezTo>
                    <a:lnTo>
                      <a:pt x="0" y="483032"/>
                    </a:lnTo>
                    <a:lnTo>
                      <a:pt x="33204" y="483032"/>
                    </a:lnTo>
                    <a:cubicBezTo>
                      <a:pt x="211507" y="358523"/>
                      <a:pt x="412623" y="270415"/>
                      <a:pt x="625031" y="223752"/>
                    </a:cubicBezTo>
                    <a:lnTo>
                      <a:pt x="644081" y="219751"/>
                    </a:lnTo>
                    <a:cubicBezTo>
                      <a:pt x="679323" y="212417"/>
                      <a:pt x="713765" y="206416"/>
                      <a:pt x="746874" y="201654"/>
                    </a:cubicBezTo>
                    <a:lnTo>
                      <a:pt x="746874" y="182413"/>
                    </a:lnTo>
                    <a:cubicBezTo>
                      <a:pt x="712527" y="187262"/>
                      <a:pt x="676770" y="193472"/>
                      <a:pt x="640137" y="201092"/>
                    </a:cubicBezTo>
                    <a:close/>
                    <a:moveTo>
                      <a:pt x="670617" y="92507"/>
                    </a:moveTo>
                    <a:cubicBezTo>
                      <a:pt x="671063" y="105261"/>
                      <a:pt x="666774" y="117729"/>
                      <a:pt x="658578" y="127511"/>
                    </a:cubicBezTo>
                    <a:cubicBezTo>
                      <a:pt x="649488" y="134705"/>
                      <a:pt x="638387" y="138899"/>
                      <a:pt x="626812" y="139513"/>
                    </a:cubicBezTo>
                    <a:cubicBezTo>
                      <a:pt x="625800" y="131383"/>
                      <a:pt x="625948" y="123151"/>
                      <a:pt x="627250" y="115062"/>
                    </a:cubicBezTo>
                    <a:cubicBezTo>
                      <a:pt x="628981" y="110572"/>
                      <a:pt x="631692" y="106524"/>
                      <a:pt x="635184" y="103213"/>
                    </a:cubicBezTo>
                    <a:cubicBezTo>
                      <a:pt x="644970" y="95575"/>
                      <a:pt x="657206" y="91768"/>
                      <a:pt x="669598" y="92507"/>
                    </a:cubicBezTo>
                    <a:close/>
                    <a:moveTo>
                      <a:pt x="613943" y="26651"/>
                    </a:moveTo>
                    <a:cubicBezTo>
                      <a:pt x="623171" y="36149"/>
                      <a:pt x="629104" y="48359"/>
                      <a:pt x="630869" y="61484"/>
                    </a:cubicBezTo>
                    <a:cubicBezTo>
                      <a:pt x="629789" y="73105"/>
                      <a:pt x="624745" y="84002"/>
                      <a:pt x="616582" y="92345"/>
                    </a:cubicBezTo>
                    <a:cubicBezTo>
                      <a:pt x="614496" y="92714"/>
                      <a:pt x="612346" y="92429"/>
                      <a:pt x="610429" y="91526"/>
                    </a:cubicBezTo>
                    <a:cubicBezTo>
                      <a:pt x="602418" y="83790"/>
                      <a:pt x="597621" y="73317"/>
                      <a:pt x="596998" y="62198"/>
                    </a:cubicBezTo>
                    <a:cubicBezTo>
                      <a:pt x="598647" y="48826"/>
                      <a:pt x="604594" y="36352"/>
                      <a:pt x="613943" y="26651"/>
                    </a:cubicBezTo>
                    <a:close/>
                    <a:moveTo>
                      <a:pt x="601028" y="139417"/>
                    </a:moveTo>
                    <a:cubicBezTo>
                      <a:pt x="589216" y="138900"/>
                      <a:pt x="577863" y="134693"/>
                      <a:pt x="568566" y="127387"/>
                    </a:cubicBezTo>
                    <a:cubicBezTo>
                      <a:pt x="560385" y="117600"/>
                      <a:pt x="556102" y="105141"/>
                      <a:pt x="556536" y="92393"/>
                    </a:cubicBezTo>
                    <a:cubicBezTo>
                      <a:pt x="569193" y="91429"/>
                      <a:pt x="581762" y="95159"/>
                      <a:pt x="591845" y="102870"/>
                    </a:cubicBezTo>
                    <a:cubicBezTo>
                      <a:pt x="595390" y="106545"/>
                      <a:pt x="598220" y="110847"/>
                      <a:pt x="600189" y="115557"/>
                    </a:cubicBezTo>
                    <a:cubicBezTo>
                      <a:pt x="602292" y="123341"/>
                      <a:pt x="602579" y="131505"/>
                      <a:pt x="601028" y="139417"/>
                    </a:cubicBezTo>
                    <a:close/>
                  </a:path>
                </a:pathLst>
              </a:custGeom>
              <a:grpFill/>
              <a:ln w="9525" cap="flat">
                <a:noFill/>
                <a:prstDash val="solid"/>
                <a:miter/>
              </a:ln>
            </p:spPr>
            <p:txBody>
              <a:bodyPr rtlCol="0" anchor="ctr"/>
              <a:lstStyle/>
              <a:p>
                <a:endParaRPr lang="en-US">
                  <a:latin typeface="Avenir Next LT Pro" panose="020B0504020202020204" pitchFamily="34" charset="0"/>
                </a:endParaRPr>
              </a:p>
            </p:txBody>
          </p:sp>
        </p:grpSp>
      </p:grpSp>
      <p:cxnSp>
        <p:nvCxnSpPr>
          <p:cNvPr id="152" name="Straight Connector 151">
            <a:extLst>
              <a:ext uri="{FF2B5EF4-FFF2-40B4-BE49-F238E27FC236}">
                <a16:creationId xmlns:a16="http://schemas.microsoft.com/office/drawing/2014/main" id="{CB9E5DBE-CA1E-7A33-5FD4-2EB9FB193ED7}"/>
              </a:ext>
            </a:extLst>
          </p:cNvPr>
          <p:cNvCxnSpPr>
            <a:cxnSpLocks/>
          </p:cNvCxnSpPr>
          <p:nvPr/>
        </p:nvCxnSpPr>
        <p:spPr>
          <a:xfrm>
            <a:off x="179387" y="1116047"/>
            <a:ext cx="804672" cy="0"/>
          </a:xfrm>
          <a:prstGeom prst="line">
            <a:avLst/>
          </a:prstGeom>
          <a:ln w="38100" cap="rnd">
            <a:solidFill>
              <a:srgbClr val="FBAD17"/>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68F8184A-5774-CD57-C189-0E55C3DA3147}"/>
              </a:ext>
            </a:extLst>
          </p:cNvPr>
          <p:cNvCxnSpPr>
            <a:cxnSpLocks/>
          </p:cNvCxnSpPr>
          <p:nvPr/>
        </p:nvCxnSpPr>
        <p:spPr>
          <a:xfrm>
            <a:off x="6190228" y="1116047"/>
            <a:ext cx="804672" cy="0"/>
          </a:xfrm>
          <a:prstGeom prst="line">
            <a:avLst/>
          </a:prstGeom>
          <a:ln w="38100" cap="rnd">
            <a:solidFill>
              <a:srgbClr val="FBAD17"/>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39D13E2-1859-0E6A-902A-F1B4AC384A95}"/>
              </a:ext>
            </a:extLst>
          </p:cNvPr>
          <p:cNvCxnSpPr>
            <a:cxnSpLocks/>
          </p:cNvCxnSpPr>
          <p:nvPr/>
        </p:nvCxnSpPr>
        <p:spPr>
          <a:xfrm>
            <a:off x="9195648" y="1116047"/>
            <a:ext cx="801792" cy="0"/>
          </a:xfrm>
          <a:prstGeom prst="line">
            <a:avLst/>
          </a:prstGeom>
          <a:ln w="38100" cap="rnd">
            <a:solidFill>
              <a:srgbClr val="FBAD1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883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75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75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749"/>
                                          </p:stCondLst>
                                        </p:cTn>
                                        <p:tgtEl>
                                          <p:spTgt spid="34">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749"/>
                                          </p:stCondLst>
                                        </p:cTn>
                                        <p:tgtEl>
                                          <p:spTgt spid="34">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749"/>
                                          </p:stCondLst>
                                        </p:cTn>
                                        <p:tgtEl>
                                          <p:spTgt spid="34">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5" grpId="0"/>
      <p:bldP spid="3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E6A3815-161C-DD46-3A86-7C570C6E46FB}"/>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FE6A3815-161C-DD46-3A86-7C570C6E46FB}"/>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sp>
        <p:nvSpPr>
          <p:cNvPr id="5" name="Slide Number Placeholder 4">
            <a:extLst>
              <a:ext uri="{FF2B5EF4-FFF2-40B4-BE49-F238E27FC236}">
                <a16:creationId xmlns:a16="http://schemas.microsoft.com/office/drawing/2014/main" id="{F2DFC02E-E77E-01A8-370F-21504A979B7A}"/>
              </a:ext>
            </a:extLst>
          </p:cNvPr>
          <p:cNvSpPr txBox="1">
            <a:spLocks noGrp="1"/>
          </p:cNvSpPr>
          <p:nvPr>
            <p:ph type="sldNum" sz="quarter" idx="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EB7C27E-91AA-4A5D-A5AA-6CF1C3996010}" type="slidenum">
              <a:rPr kumimoji="0" lang="en-GB" sz="1200" b="0" i="0" u="none" strike="noStrike" kern="1200" cap="none" spc="0" normalizeH="0" baseline="0" noProof="0" smtClean="0">
                <a:ln>
                  <a:noFill/>
                </a:ln>
                <a:solidFill>
                  <a:srgbClr val="898989"/>
                </a:solidFill>
                <a:effectLst/>
                <a:uLnTx/>
                <a:uFillTx/>
                <a:latin typeface="Avenir Next LT Pro" pitchFamily="3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srgbClr val="898989"/>
              </a:solidFill>
              <a:effectLst/>
              <a:uLnTx/>
              <a:uFillTx/>
              <a:latin typeface="Avenir Next LT Pro" pitchFamily="34"/>
              <a:ea typeface="+mn-ea"/>
              <a:cs typeface="+mn-cs"/>
            </a:endParaRPr>
          </a:p>
        </p:txBody>
      </p:sp>
      <p:sp>
        <p:nvSpPr>
          <p:cNvPr id="6" name="Footer Placeholder 3">
            <a:extLst>
              <a:ext uri="{FF2B5EF4-FFF2-40B4-BE49-F238E27FC236}">
                <a16:creationId xmlns:a16="http://schemas.microsoft.com/office/drawing/2014/main" id="{F6FB4829-CC45-5D89-276C-ED6E975171FA}"/>
              </a:ext>
            </a:extLst>
          </p:cNvPr>
          <p:cNvSpPr txBox="1"/>
          <p:nvPr/>
        </p:nvSpPr>
        <p:spPr>
          <a:xfrm>
            <a:off x="650997" y="6365796"/>
            <a:ext cx="9463189" cy="374693"/>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898989"/>
              </a:solidFill>
              <a:effectLst/>
              <a:uLnTx/>
              <a:uFillTx/>
              <a:latin typeface="Avenir Next LT Pro" pitchFamily="34"/>
              <a:ea typeface="+mn-ea"/>
              <a:cs typeface="+mn-cs"/>
            </a:endParaRPr>
          </a:p>
        </p:txBody>
      </p:sp>
      <p:sp>
        <p:nvSpPr>
          <p:cNvPr id="7" name="TextBox 17">
            <a:extLst>
              <a:ext uri="{FF2B5EF4-FFF2-40B4-BE49-F238E27FC236}">
                <a16:creationId xmlns:a16="http://schemas.microsoft.com/office/drawing/2014/main" id="{5A9DEEAC-673E-B531-ABCA-008C42A4E09B}"/>
              </a:ext>
            </a:extLst>
          </p:cNvPr>
          <p:cNvSpPr txBox="1"/>
          <p:nvPr/>
        </p:nvSpPr>
        <p:spPr>
          <a:xfrm>
            <a:off x="179386" y="1190621"/>
            <a:ext cx="11831641" cy="430883"/>
          </a:xfrm>
          <a:prstGeom prst="rect">
            <a:avLst/>
          </a:prstGeom>
          <a:noFill/>
          <a:ln>
            <a:noFill/>
          </a:ln>
        </p:spPr>
        <p:txBody>
          <a:bodyPr vert="horz" wrap="square" lIns="0" tIns="0" rIns="0" bIns="0"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400" b="0" i="1" u="none" strike="noStrike" kern="1200" cap="none" spc="0" normalizeH="0" baseline="0" noProof="0">
                <a:ln>
                  <a:noFill/>
                </a:ln>
                <a:solidFill>
                  <a:srgbClr val="102436"/>
                </a:solidFill>
                <a:effectLst/>
                <a:uLnTx/>
                <a:uFillTx/>
                <a:latin typeface="Avenir Next LT Pro" pitchFamily="34"/>
                <a:ea typeface="+mn-ea"/>
                <a:cs typeface="+mn-cs"/>
              </a:rPr>
              <a:t>These principles are meant </a:t>
            </a:r>
            <a:r>
              <a:rPr kumimoji="0" lang="en-US" sz="1400" b="0" i="1" u="none" strike="noStrike" kern="1200" cap="none" spc="0" normalizeH="0" baseline="0" noProof="0">
                <a:ln>
                  <a:noFill/>
                </a:ln>
                <a:solidFill>
                  <a:srgbClr val="102436"/>
                </a:solidFill>
                <a:effectLst/>
                <a:uLnTx/>
                <a:uFillTx/>
                <a:latin typeface="Avenir Next LT Pro" pitchFamily="34"/>
                <a:ea typeface="+mn-ea"/>
                <a:cs typeface="+mn-cs"/>
              </a:rPr>
              <a:t>to guide all development phases of a regenerative project, from design and planning to implementation and evaluation</a:t>
            </a:r>
            <a:endParaRPr kumimoji="0" lang="en-GB" sz="1400" b="0" i="1" u="none" strike="noStrike" kern="1200" cap="none" spc="0" normalizeH="0" baseline="0" noProof="0">
              <a:ln>
                <a:noFill/>
              </a:ln>
              <a:solidFill>
                <a:srgbClr val="102436"/>
              </a:solidFill>
              <a:effectLst/>
              <a:uLnTx/>
              <a:uFillTx/>
              <a:latin typeface="Avenir Next LT Pro" pitchFamily="34"/>
              <a:ea typeface="+mn-ea"/>
              <a:cs typeface="+mn-cs"/>
            </a:endParaRPr>
          </a:p>
        </p:txBody>
      </p:sp>
      <p:grpSp>
        <p:nvGrpSpPr>
          <p:cNvPr id="8" name="Group 25">
            <a:extLst>
              <a:ext uri="{FF2B5EF4-FFF2-40B4-BE49-F238E27FC236}">
                <a16:creationId xmlns:a16="http://schemas.microsoft.com/office/drawing/2014/main" id="{922D35D0-2231-EF0A-61D0-F8F0AACC46AE}"/>
              </a:ext>
            </a:extLst>
          </p:cNvPr>
          <p:cNvGrpSpPr/>
          <p:nvPr/>
        </p:nvGrpSpPr>
        <p:grpSpPr>
          <a:xfrm>
            <a:off x="414131" y="1956084"/>
            <a:ext cx="5351662" cy="705185"/>
            <a:chOff x="414131" y="1956084"/>
            <a:chExt cx="5351662" cy="705185"/>
          </a:xfrm>
        </p:grpSpPr>
        <p:sp>
          <p:nvSpPr>
            <p:cNvPr id="9" name="TextBox 8">
              <a:extLst>
                <a:ext uri="{FF2B5EF4-FFF2-40B4-BE49-F238E27FC236}">
                  <a16:creationId xmlns:a16="http://schemas.microsoft.com/office/drawing/2014/main" id="{45EC44AC-44BB-7F3F-2104-6A7FBF85632C}"/>
                </a:ext>
              </a:extLst>
            </p:cNvPr>
            <p:cNvSpPr txBox="1"/>
            <p:nvPr/>
          </p:nvSpPr>
          <p:spPr>
            <a:xfrm>
              <a:off x="1300157" y="1956084"/>
              <a:ext cx="4465636" cy="705185"/>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00000"/>
                  </a:solidFill>
                  <a:effectLst/>
                  <a:uLnTx/>
                  <a:uFillTx/>
                  <a:latin typeface="Avenir Next LT Pro" pitchFamily="34"/>
                  <a:ea typeface="+mn-ea"/>
                  <a:cs typeface="+mn-cs"/>
                </a:rPr>
                <a:t>Principle 1. Natural environment </a:t>
              </a:r>
              <a:r>
                <a:rPr kumimoji="0" lang="en-US" sz="1400" b="0" i="0" u="none" strike="noStrike" kern="1200" cap="none" spc="0" normalizeH="0" baseline="0" noProof="0">
                  <a:ln>
                    <a:noFill/>
                  </a:ln>
                  <a:solidFill>
                    <a:srgbClr val="000000"/>
                  </a:solidFill>
                  <a:effectLst/>
                  <a:uLnTx/>
                  <a:uFillTx/>
                  <a:latin typeface="Avenir Next LT Pro" pitchFamily="34"/>
                  <a:ea typeface="+mn-ea"/>
                  <a:cs typeface="+mn-cs"/>
                </a:rPr>
                <a:t>– Design for environmental sustainability, reverse Nature´s degradation and support ecosystem health.</a:t>
              </a:r>
              <a:endParaRPr kumimoji="0" lang="en-GB" sz="1400" b="0" i="0" u="none" strike="noStrike" kern="1200" cap="none" spc="0" normalizeH="0" baseline="0" noProof="0">
                <a:ln>
                  <a:noFill/>
                </a:ln>
                <a:solidFill>
                  <a:srgbClr val="102436"/>
                </a:solidFill>
                <a:effectLst/>
                <a:uLnTx/>
                <a:uFillTx/>
                <a:latin typeface="Avenir Next LT Pro" pitchFamily="34"/>
                <a:ea typeface="+mn-ea"/>
                <a:cs typeface="+mn-cs"/>
              </a:endParaRPr>
            </a:p>
          </p:txBody>
        </p:sp>
        <p:pic>
          <p:nvPicPr>
            <p:cNvPr id="10" name="Picture 15">
              <a:extLst>
                <a:ext uri="{FF2B5EF4-FFF2-40B4-BE49-F238E27FC236}">
                  <a16:creationId xmlns:a16="http://schemas.microsoft.com/office/drawing/2014/main" id="{7D7D1EC1-9F92-1C50-8236-DE951B83E048}"/>
                </a:ext>
              </a:extLst>
            </p:cNvPr>
            <p:cNvPicPr>
              <a:picLocks noChangeAspect="1"/>
            </p:cNvPicPr>
            <p:nvPr/>
          </p:nvPicPr>
          <p:blipFill>
            <a:blip r:embed="rId5"/>
            <a:srcRect l="24675" t="1277" r="5844" b="77433"/>
            <a:stretch>
              <a:fillRect/>
            </a:stretch>
          </p:blipFill>
          <p:spPr>
            <a:xfrm>
              <a:off x="414131" y="2007921"/>
              <a:ext cx="625897" cy="601528"/>
            </a:xfrm>
            <a:prstGeom prst="rect">
              <a:avLst/>
            </a:prstGeom>
            <a:noFill/>
            <a:ln>
              <a:noFill/>
            </a:ln>
          </p:spPr>
        </p:pic>
      </p:grpSp>
      <p:grpSp>
        <p:nvGrpSpPr>
          <p:cNvPr id="11" name="Group 34">
            <a:extLst>
              <a:ext uri="{FF2B5EF4-FFF2-40B4-BE49-F238E27FC236}">
                <a16:creationId xmlns:a16="http://schemas.microsoft.com/office/drawing/2014/main" id="{BFB455E5-AABE-EE1C-6F14-0AD956EC11DD}"/>
              </a:ext>
            </a:extLst>
          </p:cNvPr>
          <p:cNvGrpSpPr/>
          <p:nvPr/>
        </p:nvGrpSpPr>
        <p:grpSpPr>
          <a:xfrm>
            <a:off x="332329" y="5124699"/>
            <a:ext cx="5433464" cy="536204"/>
            <a:chOff x="332329" y="5124699"/>
            <a:chExt cx="5433464" cy="536204"/>
          </a:xfrm>
        </p:grpSpPr>
        <p:sp>
          <p:nvSpPr>
            <p:cNvPr id="12" name="TextBox 11">
              <a:extLst>
                <a:ext uri="{FF2B5EF4-FFF2-40B4-BE49-F238E27FC236}">
                  <a16:creationId xmlns:a16="http://schemas.microsoft.com/office/drawing/2014/main" id="{A3BDF294-33E4-484B-08FB-AD44E44BB00F}"/>
                </a:ext>
              </a:extLst>
            </p:cNvPr>
            <p:cNvSpPr txBox="1"/>
            <p:nvPr/>
          </p:nvSpPr>
          <p:spPr>
            <a:xfrm>
              <a:off x="1300157" y="5177360"/>
              <a:ext cx="4465636" cy="430883"/>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00000"/>
                  </a:solidFill>
                  <a:effectLst/>
                  <a:uLnTx/>
                  <a:uFillTx/>
                  <a:latin typeface="Avenir Next LT Pro" pitchFamily="34"/>
                  <a:ea typeface="+mn-ea"/>
                  <a:cs typeface="+mn-cs"/>
                </a:rPr>
                <a:t>Principle 4. Diversity </a:t>
              </a:r>
              <a:r>
                <a:rPr kumimoji="0" lang="en-US" sz="1400" b="0" i="0" u="none" strike="noStrike" kern="1200" cap="none" spc="0" normalizeH="0" baseline="0" noProof="0">
                  <a:ln>
                    <a:noFill/>
                  </a:ln>
                  <a:solidFill>
                    <a:srgbClr val="000000"/>
                  </a:solidFill>
                  <a:effectLst/>
                  <a:uLnTx/>
                  <a:uFillTx/>
                  <a:latin typeface="Avenir Next LT Pro" pitchFamily="34"/>
                  <a:ea typeface="+mn-ea"/>
                  <a:cs typeface="+mn-cs"/>
                </a:rPr>
                <a:t>– Manage risks by diversifying species, products and markets.</a:t>
              </a:r>
              <a:endParaRPr kumimoji="0" lang="en-GB" sz="1400" b="0" i="0" u="none" strike="noStrike" kern="1200" cap="none" spc="0" normalizeH="0" baseline="0" noProof="0">
                <a:ln>
                  <a:noFill/>
                </a:ln>
                <a:solidFill>
                  <a:srgbClr val="102436"/>
                </a:solidFill>
                <a:effectLst/>
                <a:uLnTx/>
                <a:uFillTx/>
                <a:latin typeface="Avenir Next LT Pro" pitchFamily="34"/>
                <a:ea typeface="+mn-ea"/>
                <a:cs typeface="+mn-cs"/>
              </a:endParaRPr>
            </a:p>
          </p:txBody>
        </p:sp>
        <p:pic>
          <p:nvPicPr>
            <p:cNvPr id="13" name="Picture 16">
              <a:extLst>
                <a:ext uri="{FF2B5EF4-FFF2-40B4-BE49-F238E27FC236}">
                  <a16:creationId xmlns:a16="http://schemas.microsoft.com/office/drawing/2014/main" id="{D9697AD5-C87E-5B64-009F-A6006F74E9D8}"/>
                </a:ext>
              </a:extLst>
            </p:cNvPr>
            <p:cNvPicPr>
              <a:picLocks noChangeAspect="1"/>
            </p:cNvPicPr>
            <p:nvPr/>
          </p:nvPicPr>
          <p:blipFill>
            <a:blip r:embed="rId6"/>
            <a:srcRect l="10813" t="75379" r="12501" b="8679"/>
            <a:stretch>
              <a:fillRect/>
            </a:stretch>
          </p:blipFill>
          <p:spPr>
            <a:xfrm>
              <a:off x="332329" y="5124699"/>
              <a:ext cx="789492" cy="536204"/>
            </a:xfrm>
            <a:prstGeom prst="rect">
              <a:avLst/>
            </a:prstGeom>
            <a:noFill/>
            <a:ln>
              <a:noFill/>
            </a:ln>
          </p:spPr>
        </p:pic>
      </p:grpSp>
      <p:grpSp>
        <p:nvGrpSpPr>
          <p:cNvPr id="14" name="Group 28">
            <a:extLst>
              <a:ext uri="{FF2B5EF4-FFF2-40B4-BE49-F238E27FC236}">
                <a16:creationId xmlns:a16="http://schemas.microsoft.com/office/drawing/2014/main" id="{96E01B67-1628-AD38-5BAA-0283C0776314}"/>
              </a:ext>
            </a:extLst>
          </p:cNvPr>
          <p:cNvGrpSpPr/>
          <p:nvPr/>
        </p:nvGrpSpPr>
        <p:grpSpPr>
          <a:xfrm>
            <a:off x="6439963" y="3321640"/>
            <a:ext cx="5329763" cy="896550"/>
            <a:chOff x="6439963" y="3321640"/>
            <a:chExt cx="5329763" cy="896550"/>
          </a:xfrm>
        </p:grpSpPr>
        <p:sp>
          <p:nvSpPr>
            <p:cNvPr id="15" name="TextBox 13">
              <a:extLst>
                <a:ext uri="{FF2B5EF4-FFF2-40B4-BE49-F238E27FC236}">
                  <a16:creationId xmlns:a16="http://schemas.microsoft.com/office/drawing/2014/main" id="{8EE7F773-0C2E-F530-D3A0-911D7ACD636D}"/>
                </a:ext>
              </a:extLst>
            </p:cNvPr>
            <p:cNvSpPr txBox="1"/>
            <p:nvPr/>
          </p:nvSpPr>
          <p:spPr>
            <a:xfrm>
              <a:off x="7304090" y="3321640"/>
              <a:ext cx="4465636" cy="896550"/>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00000"/>
                  </a:solidFill>
                  <a:effectLst/>
                  <a:uLnTx/>
                  <a:uFillTx/>
                  <a:latin typeface="Avenir Next LT Pro" pitchFamily="34"/>
                  <a:ea typeface="+mn-ea"/>
                  <a:cs typeface="+mn-cs"/>
                </a:rPr>
                <a:t>Principle 6. Adaptive capacity </a:t>
              </a:r>
              <a:r>
                <a:rPr kumimoji="0" lang="en-US" sz="1400" b="0" i="0" u="none" strike="noStrike" kern="1200" cap="none" spc="0" normalizeH="0" baseline="0" noProof="0">
                  <a:ln>
                    <a:noFill/>
                  </a:ln>
                  <a:solidFill>
                    <a:srgbClr val="000000"/>
                  </a:solidFill>
                  <a:effectLst/>
                  <a:uLnTx/>
                  <a:uFillTx/>
                  <a:latin typeface="Avenir Next LT Pro" pitchFamily="34"/>
                  <a:ea typeface="+mn-ea"/>
                  <a:cs typeface="+mn-cs"/>
                </a:rPr>
                <a:t>– Act for the long term based on monitoring and learning, keeping the social-ecological system flexible and adapted to upcoming challenges. </a:t>
              </a:r>
              <a:endParaRPr kumimoji="0" lang="en-GB" sz="1400" b="0" i="0" u="none" strike="noStrike" kern="1200" cap="none" spc="0" normalizeH="0" baseline="0" noProof="0">
                <a:ln>
                  <a:noFill/>
                </a:ln>
                <a:solidFill>
                  <a:srgbClr val="102436"/>
                </a:solidFill>
                <a:effectLst/>
                <a:uLnTx/>
                <a:uFillTx/>
                <a:latin typeface="Avenir Next LT Pro" pitchFamily="34"/>
                <a:ea typeface="+mn-ea"/>
                <a:cs typeface="+mn-cs"/>
              </a:endParaRPr>
            </a:p>
          </p:txBody>
        </p:sp>
        <p:pic>
          <p:nvPicPr>
            <p:cNvPr id="16" name="Picture 19">
              <a:extLst>
                <a:ext uri="{FF2B5EF4-FFF2-40B4-BE49-F238E27FC236}">
                  <a16:creationId xmlns:a16="http://schemas.microsoft.com/office/drawing/2014/main" id="{0D31E3DF-BD17-F9A2-33D9-90BFDE8818CF}"/>
                </a:ext>
              </a:extLst>
            </p:cNvPr>
            <p:cNvPicPr>
              <a:picLocks noChangeAspect="1"/>
            </p:cNvPicPr>
            <p:nvPr/>
          </p:nvPicPr>
          <p:blipFill>
            <a:blip r:embed="rId7"/>
            <a:srcRect l="33891" t="4676" r="22073" b="80186"/>
            <a:stretch>
              <a:fillRect/>
            </a:stretch>
          </p:blipFill>
          <p:spPr>
            <a:xfrm>
              <a:off x="6439963" y="3451119"/>
              <a:ext cx="625897" cy="637592"/>
            </a:xfrm>
            <a:prstGeom prst="rect">
              <a:avLst/>
            </a:prstGeom>
            <a:noFill/>
            <a:ln>
              <a:noFill/>
            </a:ln>
          </p:spPr>
        </p:pic>
      </p:grpSp>
      <p:grpSp>
        <p:nvGrpSpPr>
          <p:cNvPr id="17" name="Group 29">
            <a:extLst>
              <a:ext uri="{FF2B5EF4-FFF2-40B4-BE49-F238E27FC236}">
                <a16:creationId xmlns:a16="http://schemas.microsoft.com/office/drawing/2014/main" id="{96DF503A-7437-92DC-D49F-78D863FEC2BD}"/>
              </a:ext>
            </a:extLst>
          </p:cNvPr>
          <p:cNvGrpSpPr/>
          <p:nvPr/>
        </p:nvGrpSpPr>
        <p:grpSpPr>
          <a:xfrm>
            <a:off x="6462768" y="4944526"/>
            <a:ext cx="5306958" cy="896550"/>
            <a:chOff x="6462768" y="4944526"/>
            <a:chExt cx="5306958" cy="896550"/>
          </a:xfrm>
        </p:grpSpPr>
        <p:sp>
          <p:nvSpPr>
            <p:cNvPr id="18" name="TextBox 14">
              <a:extLst>
                <a:ext uri="{FF2B5EF4-FFF2-40B4-BE49-F238E27FC236}">
                  <a16:creationId xmlns:a16="http://schemas.microsoft.com/office/drawing/2014/main" id="{64195223-402C-6949-3599-7BDB2A996AA4}"/>
                </a:ext>
              </a:extLst>
            </p:cNvPr>
            <p:cNvSpPr txBox="1"/>
            <p:nvPr/>
          </p:nvSpPr>
          <p:spPr>
            <a:xfrm>
              <a:off x="7304090" y="4944526"/>
              <a:ext cx="4465636" cy="896550"/>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00000"/>
                  </a:solidFill>
                  <a:effectLst/>
                  <a:uLnTx/>
                  <a:uFillTx/>
                  <a:latin typeface="Avenir Next LT Pro" pitchFamily="34"/>
                  <a:ea typeface="+mn-ea"/>
                  <a:cs typeface="+mn-cs"/>
                </a:rPr>
                <a:t>Principle 7. Harmony </a:t>
              </a:r>
              <a:r>
                <a:rPr kumimoji="0" lang="en-US" sz="1400" b="0" i="0" u="none" strike="noStrike" kern="1200" cap="none" spc="0" normalizeH="0" baseline="0" noProof="0">
                  <a:ln>
                    <a:noFill/>
                  </a:ln>
                  <a:solidFill>
                    <a:srgbClr val="000000"/>
                  </a:solidFill>
                  <a:effectLst/>
                  <a:uLnTx/>
                  <a:uFillTx/>
                  <a:latin typeface="Avenir Next LT Pro" pitchFamily="34"/>
                  <a:ea typeface="+mn-ea"/>
                  <a:cs typeface="+mn-cs"/>
                </a:rPr>
                <a:t>– Understand and embrace the local context, respecting laws and customary rights, including traditional knowledge, and finding balance between interests.</a:t>
              </a:r>
              <a:endParaRPr kumimoji="0" lang="en-GB" sz="1400" b="0" i="0" u="none" strike="noStrike" kern="1200" cap="none" spc="0" normalizeH="0" baseline="0" noProof="0">
                <a:ln>
                  <a:noFill/>
                </a:ln>
                <a:solidFill>
                  <a:srgbClr val="102436"/>
                </a:solidFill>
                <a:effectLst/>
                <a:uLnTx/>
                <a:uFillTx/>
                <a:latin typeface="Avenir Next LT Pro" pitchFamily="34"/>
                <a:ea typeface="+mn-ea"/>
                <a:cs typeface="+mn-cs"/>
              </a:endParaRPr>
            </a:p>
          </p:txBody>
        </p:sp>
        <p:pic>
          <p:nvPicPr>
            <p:cNvPr id="19" name="Picture 21">
              <a:extLst>
                <a:ext uri="{FF2B5EF4-FFF2-40B4-BE49-F238E27FC236}">
                  <a16:creationId xmlns:a16="http://schemas.microsoft.com/office/drawing/2014/main" id="{5CAAE599-8F7B-A73C-9296-DEC303DB1430}"/>
                </a:ext>
              </a:extLst>
            </p:cNvPr>
            <p:cNvPicPr>
              <a:picLocks noChangeAspect="1"/>
            </p:cNvPicPr>
            <p:nvPr/>
          </p:nvPicPr>
          <p:blipFill>
            <a:blip r:embed="rId7"/>
            <a:srcRect l="38521" t="78559" r="20654" b="7830"/>
            <a:stretch>
              <a:fillRect/>
            </a:stretch>
          </p:blipFill>
          <p:spPr>
            <a:xfrm>
              <a:off x="6462768" y="5106183"/>
              <a:ext cx="580269" cy="573246"/>
            </a:xfrm>
            <a:prstGeom prst="rect">
              <a:avLst/>
            </a:prstGeom>
            <a:noFill/>
            <a:ln>
              <a:noFill/>
            </a:ln>
          </p:spPr>
        </p:pic>
      </p:grpSp>
      <p:grpSp>
        <p:nvGrpSpPr>
          <p:cNvPr id="20" name="Group 35">
            <a:extLst>
              <a:ext uri="{FF2B5EF4-FFF2-40B4-BE49-F238E27FC236}">
                <a16:creationId xmlns:a16="http://schemas.microsoft.com/office/drawing/2014/main" id="{4B198A95-9C79-07A9-EFC9-62C6A0C28013}"/>
              </a:ext>
            </a:extLst>
          </p:cNvPr>
          <p:cNvGrpSpPr/>
          <p:nvPr/>
        </p:nvGrpSpPr>
        <p:grpSpPr>
          <a:xfrm>
            <a:off x="366884" y="4028178"/>
            <a:ext cx="5398909" cy="705185"/>
            <a:chOff x="366884" y="4028178"/>
            <a:chExt cx="5398909" cy="705185"/>
          </a:xfrm>
        </p:grpSpPr>
        <p:sp>
          <p:nvSpPr>
            <p:cNvPr id="21" name="TextBox 10">
              <a:extLst>
                <a:ext uri="{FF2B5EF4-FFF2-40B4-BE49-F238E27FC236}">
                  <a16:creationId xmlns:a16="http://schemas.microsoft.com/office/drawing/2014/main" id="{25544686-141A-2A41-E98C-DBFCF66254E2}"/>
                </a:ext>
              </a:extLst>
            </p:cNvPr>
            <p:cNvSpPr txBox="1"/>
            <p:nvPr/>
          </p:nvSpPr>
          <p:spPr>
            <a:xfrm>
              <a:off x="1300157" y="4028178"/>
              <a:ext cx="4465636" cy="705185"/>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00000"/>
                  </a:solidFill>
                  <a:effectLst/>
                  <a:uLnTx/>
                  <a:uFillTx/>
                  <a:latin typeface="Avenir Next LT Pro" pitchFamily="34"/>
                  <a:ea typeface="+mn-ea"/>
                  <a:cs typeface="+mn-cs"/>
                </a:rPr>
                <a:t>Principle 3. Economic prosperity </a:t>
              </a:r>
              <a:r>
                <a:rPr kumimoji="0" lang="en-US" sz="1400" b="0" i="0" u="none" strike="noStrike" kern="1200" cap="none" spc="0" normalizeH="0" baseline="0" noProof="0">
                  <a:ln>
                    <a:noFill/>
                  </a:ln>
                  <a:solidFill>
                    <a:srgbClr val="000000"/>
                  </a:solidFill>
                  <a:effectLst/>
                  <a:uLnTx/>
                  <a:uFillTx/>
                  <a:latin typeface="Avenir Next LT Pro" pitchFamily="34"/>
                  <a:ea typeface="+mn-ea"/>
                  <a:cs typeface="+mn-cs"/>
                </a:rPr>
                <a:t>– Design in support of the circular bioeconomy and target sustainable creation of wealth.</a:t>
              </a:r>
              <a:endParaRPr kumimoji="0" lang="en-GB" sz="1400" b="0" i="0" u="none" strike="noStrike" kern="1200" cap="none" spc="0" normalizeH="0" baseline="0" noProof="0">
                <a:ln>
                  <a:noFill/>
                </a:ln>
                <a:solidFill>
                  <a:srgbClr val="102436"/>
                </a:solidFill>
                <a:effectLst/>
                <a:uLnTx/>
                <a:uFillTx/>
                <a:latin typeface="Avenir Next LT Pro" pitchFamily="34"/>
                <a:ea typeface="+mn-ea"/>
                <a:cs typeface="+mn-cs"/>
              </a:endParaRPr>
            </a:p>
          </p:txBody>
        </p:sp>
        <p:pic>
          <p:nvPicPr>
            <p:cNvPr id="22" name="Picture 22">
              <a:extLst>
                <a:ext uri="{FF2B5EF4-FFF2-40B4-BE49-F238E27FC236}">
                  <a16:creationId xmlns:a16="http://schemas.microsoft.com/office/drawing/2014/main" id="{F67B03BE-7006-0E88-F82C-F74EDEA9F6CA}"/>
                </a:ext>
              </a:extLst>
            </p:cNvPr>
            <p:cNvPicPr>
              <a:picLocks noChangeAspect="1"/>
            </p:cNvPicPr>
            <p:nvPr/>
          </p:nvPicPr>
          <p:blipFill>
            <a:blip r:embed="rId6"/>
            <a:srcRect l="16599" t="2661" r="13429" b="78382"/>
            <a:stretch>
              <a:fillRect/>
            </a:stretch>
          </p:blipFill>
          <p:spPr>
            <a:xfrm>
              <a:off x="366884" y="4061984"/>
              <a:ext cx="720373" cy="637592"/>
            </a:xfrm>
            <a:prstGeom prst="rect">
              <a:avLst/>
            </a:prstGeom>
            <a:noFill/>
            <a:ln>
              <a:noFill/>
            </a:ln>
          </p:spPr>
        </p:pic>
      </p:grpSp>
      <p:grpSp>
        <p:nvGrpSpPr>
          <p:cNvPr id="23" name="Group 36">
            <a:extLst>
              <a:ext uri="{FF2B5EF4-FFF2-40B4-BE49-F238E27FC236}">
                <a16:creationId xmlns:a16="http://schemas.microsoft.com/office/drawing/2014/main" id="{495B6E76-B1D7-A0F5-D66D-516264458E8F}"/>
              </a:ext>
            </a:extLst>
          </p:cNvPr>
          <p:cNvGrpSpPr/>
          <p:nvPr/>
        </p:nvGrpSpPr>
        <p:grpSpPr>
          <a:xfrm>
            <a:off x="379128" y="3052605"/>
            <a:ext cx="5386665" cy="584237"/>
            <a:chOff x="379128" y="3052605"/>
            <a:chExt cx="5386665" cy="584237"/>
          </a:xfrm>
        </p:grpSpPr>
        <p:sp>
          <p:nvSpPr>
            <p:cNvPr id="24" name="TextBox 9">
              <a:extLst>
                <a:ext uri="{FF2B5EF4-FFF2-40B4-BE49-F238E27FC236}">
                  <a16:creationId xmlns:a16="http://schemas.microsoft.com/office/drawing/2014/main" id="{F5B22684-3403-A0BB-4C62-4E3258578130}"/>
                </a:ext>
              </a:extLst>
            </p:cNvPr>
            <p:cNvSpPr txBox="1"/>
            <p:nvPr/>
          </p:nvSpPr>
          <p:spPr>
            <a:xfrm>
              <a:off x="1300157" y="3129287"/>
              <a:ext cx="4465636" cy="430883"/>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00000"/>
                  </a:solidFill>
                  <a:effectLst/>
                  <a:uLnTx/>
                  <a:uFillTx/>
                  <a:latin typeface="Avenir Next LT Pro" pitchFamily="34"/>
                  <a:ea typeface="+mn-ea"/>
                  <a:cs typeface="+mn-cs"/>
                </a:rPr>
                <a:t>Principle 2. Social well-being </a:t>
              </a:r>
              <a:r>
                <a:rPr kumimoji="0" lang="en-US" sz="1400" b="0" i="0" u="none" strike="noStrike" kern="1200" cap="none" spc="0" normalizeH="0" baseline="0" noProof="0">
                  <a:ln>
                    <a:noFill/>
                  </a:ln>
                  <a:solidFill>
                    <a:srgbClr val="000000"/>
                  </a:solidFill>
                  <a:effectLst/>
                  <a:uLnTx/>
                  <a:uFillTx/>
                  <a:latin typeface="Avenir Next LT Pro" pitchFamily="34"/>
                  <a:ea typeface="+mn-ea"/>
                  <a:cs typeface="+mn-cs"/>
                </a:rPr>
                <a:t>– Inclusive design aiming for equity, human health and happiness.</a:t>
              </a:r>
              <a:endParaRPr kumimoji="0" lang="en-GB" sz="1400" b="0" i="0" u="none" strike="noStrike" kern="1200" cap="none" spc="0" normalizeH="0" baseline="0" noProof="0">
                <a:ln>
                  <a:noFill/>
                </a:ln>
                <a:solidFill>
                  <a:srgbClr val="102436"/>
                </a:solidFill>
                <a:effectLst/>
                <a:uLnTx/>
                <a:uFillTx/>
                <a:latin typeface="Avenir Next LT Pro" pitchFamily="34"/>
                <a:ea typeface="+mn-ea"/>
                <a:cs typeface="+mn-cs"/>
              </a:endParaRPr>
            </a:p>
          </p:txBody>
        </p:sp>
        <p:pic>
          <p:nvPicPr>
            <p:cNvPr id="25" name="Picture 23">
              <a:extLst>
                <a:ext uri="{FF2B5EF4-FFF2-40B4-BE49-F238E27FC236}">
                  <a16:creationId xmlns:a16="http://schemas.microsoft.com/office/drawing/2014/main" id="{C7F781B2-EBCC-FD3A-ED9A-AA04E40106AB}"/>
                </a:ext>
              </a:extLst>
            </p:cNvPr>
            <p:cNvPicPr>
              <a:picLocks noChangeAspect="1"/>
            </p:cNvPicPr>
            <p:nvPr/>
          </p:nvPicPr>
          <p:blipFill>
            <a:blip r:embed="rId5"/>
            <a:srcRect l="12359" t="72737" r="10389" b="6584"/>
            <a:stretch>
              <a:fillRect/>
            </a:stretch>
          </p:blipFill>
          <p:spPr>
            <a:xfrm>
              <a:off x="379128" y="3052605"/>
              <a:ext cx="695894" cy="584237"/>
            </a:xfrm>
            <a:prstGeom prst="rect">
              <a:avLst/>
            </a:prstGeom>
            <a:noFill/>
            <a:ln>
              <a:noFill/>
            </a:ln>
          </p:spPr>
        </p:pic>
      </p:grpSp>
      <p:grpSp>
        <p:nvGrpSpPr>
          <p:cNvPr id="26" name="Group 47">
            <a:extLst>
              <a:ext uri="{FF2B5EF4-FFF2-40B4-BE49-F238E27FC236}">
                <a16:creationId xmlns:a16="http://schemas.microsoft.com/office/drawing/2014/main" id="{B663AF6C-2235-E4C6-D8DF-1052916EF384}"/>
              </a:ext>
            </a:extLst>
          </p:cNvPr>
          <p:cNvGrpSpPr/>
          <p:nvPr/>
        </p:nvGrpSpPr>
        <p:grpSpPr>
          <a:xfrm>
            <a:off x="6336426" y="2022058"/>
            <a:ext cx="5433300" cy="611806"/>
            <a:chOff x="6336426" y="2022058"/>
            <a:chExt cx="5433300" cy="611806"/>
          </a:xfrm>
        </p:grpSpPr>
        <p:grpSp>
          <p:nvGrpSpPr>
            <p:cNvPr id="27" name="Group 26">
              <a:extLst>
                <a:ext uri="{FF2B5EF4-FFF2-40B4-BE49-F238E27FC236}">
                  <a16:creationId xmlns:a16="http://schemas.microsoft.com/office/drawing/2014/main" id="{D99356EC-ACDB-DA71-4F82-F562C87C9A82}"/>
                </a:ext>
              </a:extLst>
            </p:cNvPr>
            <p:cNvGrpSpPr/>
            <p:nvPr/>
          </p:nvGrpSpPr>
          <p:grpSpPr>
            <a:xfrm>
              <a:off x="6336426" y="2022058"/>
              <a:ext cx="5433300" cy="573246"/>
              <a:chOff x="6336426" y="2022058"/>
              <a:chExt cx="5433300" cy="573246"/>
            </a:xfrm>
          </p:grpSpPr>
          <p:sp>
            <p:nvSpPr>
              <p:cNvPr id="28" name="TextBox 12">
                <a:extLst>
                  <a:ext uri="{FF2B5EF4-FFF2-40B4-BE49-F238E27FC236}">
                    <a16:creationId xmlns:a16="http://schemas.microsoft.com/office/drawing/2014/main" id="{D4500807-AAFD-FAE1-619C-AC75075B3F39}"/>
                  </a:ext>
                </a:extLst>
              </p:cNvPr>
              <p:cNvSpPr txBox="1"/>
              <p:nvPr/>
            </p:nvSpPr>
            <p:spPr>
              <a:xfrm>
                <a:off x="7304090" y="2093235"/>
                <a:ext cx="4465636" cy="430883"/>
              </a:xfrm>
              <a:prstGeom prst="rect">
                <a:avLst/>
              </a:prstGeom>
              <a:noFill/>
              <a:ln>
                <a:noFill/>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400" b="1" i="0" u="none" strike="noStrike" kern="1200" cap="none" spc="0" normalizeH="0" baseline="0" noProof="0">
                    <a:ln>
                      <a:noFill/>
                    </a:ln>
                    <a:solidFill>
                      <a:srgbClr val="000000"/>
                    </a:solidFill>
                    <a:effectLst/>
                    <a:uLnTx/>
                    <a:uFillTx/>
                    <a:latin typeface="Avenir Next LT Pro" pitchFamily="34"/>
                    <a:ea typeface="+mn-ea"/>
                    <a:cs typeface="+mn-cs"/>
                  </a:rPr>
                  <a:t>Principle 5. Connectivity </a:t>
                </a:r>
                <a:r>
                  <a:rPr kumimoji="0" lang="en-US" sz="1400" b="0" i="0" u="none" strike="noStrike" kern="1200" cap="none" spc="0" normalizeH="0" baseline="0" noProof="0">
                    <a:ln>
                      <a:noFill/>
                    </a:ln>
                    <a:solidFill>
                      <a:srgbClr val="000000"/>
                    </a:solidFill>
                    <a:effectLst/>
                    <a:uLnTx/>
                    <a:uFillTx/>
                    <a:latin typeface="Avenir Next LT Pro" pitchFamily="34"/>
                    <a:ea typeface="+mn-ea"/>
                    <a:cs typeface="+mn-cs"/>
                  </a:rPr>
                  <a:t>– Promote connectivity and collective impacts among nature and people.</a:t>
                </a:r>
                <a:endParaRPr kumimoji="0" lang="en-GB" sz="1400" b="0" i="0" u="none" strike="noStrike" kern="1200" cap="none" spc="0" normalizeH="0" baseline="0" noProof="0">
                  <a:ln>
                    <a:noFill/>
                  </a:ln>
                  <a:solidFill>
                    <a:srgbClr val="102436"/>
                  </a:solidFill>
                  <a:effectLst/>
                  <a:uLnTx/>
                  <a:uFillTx/>
                  <a:latin typeface="Avenir Next LT Pro" pitchFamily="34"/>
                  <a:ea typeface="+mn-ea"/>
                  <a:cs typeface="+mn-cs"/>
                </a:endParaRPr>
              </a:p>
            </p:txBody>
          </p:sp>
          <p:pic>
            <p:nvPicPr>
              <p:cNvPr id="29" name="Picture 18">
                <a:extLst>
                  <a:ext uri="{FF2B5EF4-FFF2-40B4-BE49-F238E27FC236}">
                    <a16:creationId xmlns:a16="http://schemas.microsoft.com/office/drawing/2014/main" id="{879DB6AA-FFDF-FA3D-9410-2889C76DD426}"/>
                  </a:ext>
                </a:extLst>
              </p:cNvPr>
              <p:cNvPicPr>
                <a:picLocks noChangeAspect="1"/>
              </p:cNvPicPr>
              <p:nvPr/>
            </p:nvPicPr>
            <p:blipFill>
              <a:blip r:embed="rId8"/>
              <a:srcRect l="22773" t="17755" r="10057" b="32245"/>
              <a:stretch>
                <a:fillRect/>
              </a:stretch>
            </p:blipFill>
            <p:spPr>
              <a:xfrm>
                <a:off x="6336426" y="2022058"/>
                <a:ext cx="832963" cy="573246"/>
              </a:xfrm>
              <a:prstGeom prst="rect">
                <a:avLst/>
              </a:prstGeom>
              <a:noFill/>
              <a:ln>
                <a:noFill/>
              </a:ln>
            </p:spPr>
          </p:pic>
        </p:grpSp>
        <p:sp>
          <p:nvSpPr>
            <p:cNvPr id="30" name="Rectangle 46">
              <a:extLst>
                <a:ext uri="{FF2B5EF4-FFF2-40B4-BE49-F238E27FC236}">
                  <a16:creationId xmlns:a16="http://schemas.microsoft.com/office/drawing/2014/main" id="{A6073C17-47C3-023C-0B62-8AAA35C9F1FC}"/>
                </a:ext>
              </a:extLst>
            </p:cNvPr>
            <p:cNvSpPr/>
            <p:nvPr/>
          </p:nvSpPr>
          <p:spPr>
            <a:xfrm>
              <a:off x="7065852" y="2514956"/>
              <a:ext cx="240423" cy="118908"/>
            </a:xfrm>
            <a:prstGeom prst="rect">
              <a:avLst/>
            </a:prstGeom>
            <a:solidFill>
              <a:srgbClr val="FFFFFF"/>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600" b="0" i="0" u="none" strike="noStrike" kern="1200" cap="none" spc="0" normalizeH="0" baseline="0" noProof="0">
                <a:ln>
                  <a:noFill/>
                </a:ln>
                <a:solidFill>
                  <a:srgbClr val="FFFFFF"/>
                </a:solidFill>
                <a:effectLst/>
                <a:uLnTx/>
                <a:uFillTx/>
                <a:latin typeface="Avenir Next LT Pro" pitchFamily="34"/>
                <a:ea typeface="+mn-ea"/>
                <a:cs typeface="+mn-cs"/>
              </a:endParaRPr>
            </a:p>
          </p:txBody>
        </p:sp>
      </p:grpSp>
      <p:sp>
        <p:nvSpPr>
          <p:cNvPr id="4" name="Title 1">
            <a:extLst>
              <a:ext uri="{FF2B5EF4-FFF2-40B4-BE49-F238E27FC236}">
                <a16:creationId xmlns:a16="http://schemas.microsoft.com/office/drawing/2014/main" id="{BB7A0825-79EF-585F-17A1-39F7928D9FF0}"/>
              </a:ext>
            </a:extLst>
          </p:cNvPr>
          <p:cNvSpPr txBox="1">
            <a:spLocks/>
          </p:cNvSpPr>
          <p:nvPr/>
        </p:nvSpPr>
        <p:spPr>
          <a:xfrm>
            <a:off x="179384" y="180970"/>
            <a:ext cx="11831641" cy="708714"/>
          </a:xfrm>
          <a:prstGeom prst="rect">
            <a:avLst/>
          </a:prstGeom>
          <a:noFill/>
          <a:ln>
            <a:noFill/>
          </a:ln>
        </p:spPr>
        <p:txBody>
          <a:bodyPr vert="horz" wrap="square" lIns="0" tIns="0" rIns="0" bIns="0" anchor="ctr" anchorCtr="0" compatLnSpc="1">
            <a:noAutofit/>
          </a:bodyPr>
          <a:lstStyle>
            <a:lvl1pPr marL="0" marR="0" lvl="0" indent="0" algn="l" defTabSz="914400" rtl="0" fontAlgn="auto" hangingPunct="1">
              <a:lnSpc>
                <a:spcPct val="90000"/>
              </a:lnSpc>
              <a:spcBef>
                <a:spcPts val="0"/>
              </a:spcBef>
              <a:spcAft>
                <a:spcPts val="0"/>
              </a:spcAft>
              <a:buNone/>
              <a:tabLst/>
              <a:defRPr lang="en-GB" sz="3200" b="0" i="0" u="none" strike="noStrike" kern="1200" cap="all" spc="0" baseline="0">
                <a:solidFill>
                  <a:srgbClr val="000000"/>
                </a:solidFill>
                <a:uFillTx/>
                <a:latin typeface="Houschka pro"/>
              </a:defRPr>
            </a:lvl1pPr>
          </a:lstStyle>
          <a:p>
            <a:pPr>
              <a:tabLst>
                <a:tab pos="10028233" algn="l"/>
              </a:tabLst>
            </a:pPr>
            <a:r>
              <a:rPr lang="en-GB" sz="3200" b="1" cap="none" dirty="0">
                <a:latin typeface="Avenir Next LT Pro"/>
              </a:rPr>
              <a:t>The CBA Principles for Regenerative Landscapes</a:t>
            </a:r>
            <a:endParaRPr lang="en-GB" b="1" cap="none" dirty="0">
              <a:latin typeface="Avenir Next LT Pro"/>
            </a:endParaRPr>
          </a:p>
        </p:txBody>
      </p:sp>
    </p:spTree>
    <p:extLst>
      <p:ext uri="{BB962C8B-B14F-4D97-AF65-F5344CB8AC3E}">
        <p14:creationId xmlns:p14="http://schemas.microsoft.com/office/powerpoint/2010/main" val="41418027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 name="Group 100">
            <a:extLst>
              <a:ext uri="{FF2B5EF4-FFF2-40B4-BE49-F238E27FC236}">
                <a16:creationId xmlns:a16="http://schemas.microsoft.com/office/drawing/2014/main" id="{2B700F5C-A42D-771F-CF4B-ED689E8713F8}"/>
              </a:ext>
            </a:extLst>
          </p:cNvPr>
          <p:cNvGrpSpPr/>
          <p:nvPr/>
        </p:nvGrpSpPr>
        <p:grpSpPr>
          <a:xfrm>
            <a:off x="9555061" y="2042719"/>
            <a:ext cx="2290194" cy="1224794"/>
            <a:chOff x="12304713" y="2914650"/>
            <a:chExt cx="3576637" cy="2136775"/>
          </a:xfrm>
        </p:grpSpPr>
        <p:sp>
          <p:nvSpPr>
            <p:cNvPr id="98" name="Freeform 51">
              <a:extLst>
                <a:ext uri="{FF2B5EF4-FFF2-40B4-BE49-F238E27FC236}">
                  <a16:creationId xmlns:a16="http://schemas.microsoft.com/office/drawing/2014/main" id="{3B97E594-44A3-FEE8-A027-6EC647694534}"/>
                </a:ext>
              </a:extLst>
            </p:cNvPr>
            <p:cNvSpPr>
              <a:spLocks noEditPoints="1"/>
            </p:cNvSpPr>
            <p:nvPr/>
          </p:nvSpPr>
          <p:spPr bwMode="auto">
            <a:xfrm>
              <a:off x="12304713" y="2914650"/>
              <a:ext cx="3576637" cy="2136775"/>
            </a:xfrm>
            <a:custGeom>
              <a:avLst/>
              <a:gdLst>
                <a:gd name="T0" fmla="*/ 2027 w 2253"/>
                <a:gd name="T1" fmla="*/ 1177 h 1346"/>
                <a:gd name="T2" fmla="*/ 2253 w 2253"/>
                <a:gd name="T3" fmla="*/ 1346 h 1346"/>
                <a:gd name="T4" fmla="*/ 0 w 2253"/>
                <a:gd name="T5" fmla="*/ 114 h 1346"/>
                <a:gd name="T6" fmla="*/ 0 w 2253"/>
                <a:gd name="T7" fmla="*/ 174 h 1346"/>
                <a:gd name="T8" fmla="*/ 449 w 2253"/>
                <a:gd name="T9" fmla="*/ 255 h 1346"/>
                <a:gd name="T10" fmla="*/ 901 w 2253"/>
                <a:gd name="T11" fmla="*/ 472 h 1346"/>
                <a:gd name="T12" fmla="*/ 1351 w 2253"/>
                <a:gd name="T13" fmla="*/ 815 h 1346"/>
                <a:gd name="T14" fmla="*/ 1351 w 2253"/>
                <a:gd name="T15" fmla="*/ 815 h 1346"/>
                <a:gd name="T16" fmla="*/ 901 w 2253"/>
                <a:gd name="T17" fmla="*/ 472 h 1346"/>
                <a:gd name="T18" fmla="*/ 449 w 2253"/>
                <a:gd name="T19" fmla="*/ 255 h 1346"/>
                <a:gd name="T20" fmla="*/ 0 w 2253"/>
                <a:gd name="T21" fmla="*/ 174 h 1346"/>
                <a:gd name="T22" fmla="*/ 1125 w 2253"/>
                <a:gd name="T23" fmla="*/ 0 h 1346"/>
                <a:gd name="T24" fmla="*/ 675 w 2253"/>
                <a:gd name="T25" fmla="*/ 21 h 1346"/>
                <a:gd name="T26" fmla="*/ 1125 w 2253"/>
                <a:gd name="T27" fmla="*/ 0 h 1346"/>
                <a:gd name="T28" fmla="*/ 1125 w 2253"/>
                <a:gd name="T29" fmla="*/ 0 h 1346"/>
                <a:gd name="T30" fmla="*/ 675 w 2253"/>
                <a:gd name="T31" fmla="*/ 21 h 1346"/>
                <a:gd name="T32" fmla="*/ 226 w 2253"/>
                <a:gd name="T33" fmla="*/ 66 h 1346"/>
                <a:gd name="T34" fmla="*/ 0 w 2253"/>
                <a:gd name="T35" fmla="*/ 174 h 1346"/>
                <a:gd name="T36" fmla="*/ 449 w 2253"/>
                <a:gd name="T37" fmla="*/ 255 h 1346"/>
                <a:gd name="T38" fmla="*/ 901 w 2253"/>
                <a:gd name="T39" fmla="*/ 472 h 1346"/>
                <a:gd name="T40" fmla="*/ 1351 w 2253"/>
                <a:gd name="T41" fmla="*/ 815 h 1346"/>
                <a:gd name="T42" fmla="*/ 1801 w 2253"/>
                <a:gd name="T43" fmla="*/ 1144 h 1346"/>
                <a:gd name="T44" fmla="*/ 2253 w 2253"/>
                <a:gd name="T45" fmla="*/ 1346 h 1346"/>
                <a:gd name="T46" fmla="*/ 2027 w 2253"/>
                <a:gd name="T47" fmla="*/ 960 h 1346"/>
                <a:gd name="T48" fmla="*/ 1577 w 2253"/>
                <a:gd name="T49" fmla="*/ 831 h 1346"/>
                <a:gd name="T50" fmla="*/ 1125 w 2253"/>
                <a:gd name="T51" fmla="*/ 510 h 1346"/>
                <a:gd name="T52" fmla="*/ 675 w 2253"/>
                <a:gd name="T53" fmla="*/ 274 h 1346"/>
                <a:gd name="T54" fmla="*/ 226 w 2253"/>
                <a:gd name="T55" fmla="*/ 178 h 1346"/>
                <a:gd name="T56" fmla="*/ 0 w 2253"/>
                <a:gd name="T57" fmla="*/ 126 h 1346"/>
                <a:gd name="T58" fmla="*/ 449 w 2253"/>
                <a:gd name="T59" fmla="*/ 74 h 1346"/>
                <a:gd name="T60" fmla="*/ 901 w 2253"/>
                <a:gd name="T61" fmla="*/ 100 h 1346"/>
                <a:gd name="T62" fmla="*/ 1351 w 2253"/>
                <a:gd name="T63" fmla="*/ 195 h 1346"/>
                <a:gd name="T64" fmla="*/ 1801 w 2253"/>
                <a:gd name="T65" fmla="*/ 319 h 1346"/>
                <a:gd name="T66" fmla="*/ 2253 w 2253"/>
                <a:gd name="T67" fmla="*/ 488 h 1346"/>
                <a:gd name="T68" fmla="*/ 2027 w 2253"/>
                <a:gd name="T69" fmla="*/ 74 h 1346"/>
                <a:gd name="T70" fmla="*/ 1577 w 2253"/>
                <a:gd name="T71" fmla="*/ 107 h 1346"/>
                <a:gd name="T72" fmla="*/ 1125 w 2253"/>
                <a:gd name="T73" fmla="*/ 0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53" h="1346">
                  <a:moveTo>
                    <a:pt x="2027" y="1177"/>
                  </a:moveTo>
                  <a:lnTo>
                    <a:pt x="2027" y="1177"/>
                  </a:lnTo>
                  <a:lnTo>
                    <a:pt x="2253" y="1346"/>
                  </a:lnTo>
                  <a:lnTo>
                    <a:pt x="2253" y="1346"/>
                  </a:lnTo>
                  <a:lnTo>
                    <a:pt x="2027" y="1177"/>
                  </a:lnTo>
                  <a:close/>
                  <a:moveTo>
                    <a:pt x="0" y="114"/>
                  </a:moveTo>
                  <a:lnTo>
                    <a:pt x="0" y="114"/>
                  </a:lnTo>
                  <a:lnTo>
                    <a:pt x="0" y="174"/>
                  </a:lnTo>
                  <a:lnTo>
                    <a:pt x="226" y="205"/>
                  </a:lnTo>
                  <a:lnTo>
                    <a:pt x="449" y="255"/>
                  </a:lnTo>
                  <a:lnTo>
                    <a:pt x="675" y="336"/>
                  </a:lnTo>
                  <a:lnTo>
                    <a:pt x="901" y="472"/>
                  </a:lnTo>
                  <a:lnTo>
                    <a:pt x="1125" y="634"/>
                  </a:lnTo>
                  <a:lnTo>
                    <a:pt x="1351" y="815"/>
                  </a:lnTo>
                  <a:lnTo>
                    <a:pt x="1577" y="1010"/>
                  </a:lnTo>
                  <a:lnTo>
                    <a:pt x="1351" y="815"/>
                  </a:lnTo>
                  <a:lnTo>
                    <a:pt x="1125" y="634"/>
                  </a:lnTo>
                  <a:lnTo>
                    <a:pt x="901" y="472"/>
                  </a:lnTo>
                  <a:lnTo>
                    <a:pt x="675" y="336"/>
                  </a:lnTo>
                  <a:lnTo>
                    <a:pt x="449" y="255"/>
                  </a:lnTo>
                  <a:lnTo>
                    <a:pt x="226" y="205"/>
                  </a:lnTo>
                  <a:lnTo>
                    <a:pt x="0" y="174"/>
                  </a:lnTo>
                  <a:lnTo>
                    <a:pt x="0" y="114"/>
                  </a:lnTo>
                  <a:close/>
                  <a:moveTo>
                    <a:pt x="1125" y="0"/>
                  </a:moveTo>
                  <a:lnTo>
                    <a:pt x="901" y="9"/>
                  </a:lnTo>
                  <a:lnTo>
                    <a:pt x="675" y="21"/>
                  </a:lnTo>
                  <a:lnTo>
                    <a:pt x="901" y="9"/>
                  </a:lnTo>
                  <a:lnTo>
                    <a:pt x="1125" y="0"/>
                  </a:lnTo>
                  <a:close/>
                  <a:moveTo>
                    <a:pt x="1125" y="0"/>
                  </a:moveTo>
                  <a:lnTo>
                    <a:pt x="1125" y="0"/>
                  </a:lnTo>
                  <a:lnTo>
                    <a:pt x="901" y="9"/>
                  </a:lnTo>
                  <a:lnTo>
                    <a:pt x="675" y="21"/>
                  </a:lnTo>
                  <a:lnTo>
                    <a:pt x="449" y="28"/>
                  </a:lnTo>
                  <a:lnTo>
                    <a:pt x="226" y="66"/>
                  </a:lnTo>
                  <a:lnTo>
                    <a:pt x="0" y="114"/>
                  </a:lnTo>
                  <a:lnTo>
                    <a:pt x="0" y="174"/>
                  </a:lnTo>
                  <a:lnTo>
                    <a:pt x="226" y="205"/>
                  </a:lnTo>
                  <a:lnTo>
                    <a:pt x="449" y="255"/>
                  </a:lnTo>
                  <a:lnTo>
                    <a:pt x="675" y="336"/>
                  </a:lnTo>
                  <a:lnTo>
                    <a:pt x="901" y="472"/>
                  </a:lnTo>
                  <a:lnTo>
                    <a:pt x="1125" y="634"/>
                  </a:lnTo>
                  <a:lnTo>
                    <a:pt x="1351" y="815"/>
                  </a:lnTo>
                  <a:lnTo>
                    <a:pt x="1577" y="1010"/>
                  </a:lnTo>
                  <a:lnTo>
                    <a:pt x="1801" y="1144"/>
                  </a:lnTo>
                  <a:lnTo>
                    <a:pt x="2027" y="1177"/>
                  </a:lnTo>
                  <a:lnTo>
                    <a:pt x="2253" y="1346"/>
                  </a:lnTo>
                  <a:lnTo>
                    <a:pt x="2253" y="1136"/>
                  </a:lnTo>
                  <a:lnTo>
                    <a:pt x="2027" y="960"/>
                  </a:lnTo>
                  <a:lnTo>
                    <a:pt x="1801" y="941"/>
                  </a:lnTo>
                  <a:lnTo>
                    <a:pt x="1577" y="831"/>
                  </a:lnTo>
                  <a:lnTo>
                    <a:pt x="1351" y="662"/>
                  </a:lnTo>
                  <a:lnTo>
                    <a:pt x="1125" y="510"/>
                  </a:lnTo>
                  <a:lnTo>
                    <a:pt x="901" y="381"/>
                  </a:lnTo>
                  <a:lnTo>
                    <a:pt x="675" y="274"/>
                  </a:lnTo>
                  <a:lnTo>
                    <a:pt x="449" y="209"/>
                  </a:lnTo>
                  <a:lnTo>
                    <a:pt x="226" y="178"/>
                  </a:lnTo>
                  <a:lnTo>
                    <a:pt x="0" y="162"/>
                  </a:lnTo>
                  <a:lnTo>
                    <a:pt x="0" y="126"/>
                  </a:lnTo>
                  <a:lnTo>
                    <a:pt x="226" y="95"/>
                  </a:lnTo>
                  <a:lnTo>
                    <a:pt x="449" y="74"/>
                  </a:lnTo>
                  <a:lnTo>
                    <a:pt x="675" y="83"/>
                  </a:lnTo>
                  <a:lnTo>
                    <a:pt x="901" y="100"/>
                  </a:lnTo>
                  <a:lnTo>
                    <a:pt x="1125" y="126"/>
                  </a:lnTo>
                  <a:lnTo>
                    <a:pt x="1351" y="195"/>
                  </a:lnTo>
                  <a:lnTo>
                    <a:pt x="1577" y="286"/>
                  </a:lnTo>
                  <a:lnTo>
                    <a:pt x="1801" y="319"/>
                  </a:lnTo>
                  <a:lnTo>
                    <a:pt x="2027" y="293"/>
                  </a:lnTo>
                  <a:lnTo>
                    <a:pt x="2253" y="488"/>
                  </a:lnTo>
                  <a:lnTo>
                    <a:pt x="2253" y="276"/>
                  </a:lnTo>
                  <a:lnTo>
                    <a:pt x="2027" y="74"/>
                  </a:lnTo>
                  <a:lnTo>
                    <a:pt x="1801" y="117"/>
                  </a:lnTo>
                  <a:lnTo>
                    <a:pt x="1577" y="107"/>
                  </a:lnTo>
                  <a:lnTo>
                    <a:pt x="1351" y="43"/>
                  </a:lnTo>
                  <a:lnTo>
                    <a:pt x="1125" y="0"/>
                  </a:lnTo>
                  <a:close/>
                </a:path>
              </a:pathLst>
            </a:custGeom>
            <a:solidFill>
              <a:srgbClr val="D6CEC9"/>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59">
              <a:extLst>
                <a:ext uri="{FF2B5EF4-FFF2-40B4-BE49-F238E27FC236}">
                  <a16:creationId xmlns:a16="http://schemas.microsoft.com/office/drawing/2014/main" id="{DC8F8B7E-FFF2-C432-876C-A807429B2BFE}"/>
                </a:ext>
              </a:extLst>
            </p:cNvPr>
            <p:cNvSpPr>
              <a:spLocks/>
            </p:cNvSpPr>
            <p:nvPr/>
          </p:nvSpPr>
          <p:spPr bwMode="auto">
            <a:xfrm>
              <a:off x="12304713" y="3032125"/>
              <a:ext cx="3576637" cy="1685925"/>
            </a:xfrm>
            <a:custGeom>
              <a:avLst/>
              <a:gdLst>
                <a:gd name="T0" fmla="*/ 449 w 2253"/>
                <a:gd name="T1" fmla="*/ 0 h 1062"/>
                <a:gd name="T2" fmla="*/ 226 w 2253"/>
                <a:gd name="T3" fmla="*/ 21 h 1062"/>
                <a:gd name="T4" fmla="*/ 0 w 2253"/>
                <a:gd name="T5" fmla="*/ 52 h 1062"/>
                <a:gd name="T6" fmla="*/ 0 w 2253"/>
                <a:gd name="T7" fmla="*/ 88 h 1062"/>
                <a:gd name="T8" fmla="*/ 226 w 2253"/>
                <a:gd name="T9" fmla="*/ 104 h 1062"/>
                <a:gd name="T10" fmla="*/ 449 w 2253"/>
                <a:gd name="T11" fmla="*/ 135 h 1062"/>
                <a:gd name="T12" fmla="*/ 675 w 2253"/>
                <a:gd name="T13" fmla="*/ 200 h 1062"/>
                <a:gd name="T14" fmla="*/ 901 w 2253"/>
                <a:gd name="T15" fmla="*/ 307 h 1062"/>
                <a:gd name="T16" fmla="*/ 1125 w 2253"/>
                <a:gd name="T17" fmla="*/ 436 h 1062"/>
                <a:gd name="T18" fmla="*/ 1351 w 2253"/>
                <a:gd name="T19" fmla="*/ 588 h 1062"/>
                <a:gd name="T20" fmla="*/ 1577 w 2253"/>
                <a:gd name="T21" fmla="*/ 757 h 1062"/>
                <a:gd name="T22" fmla="*/ 1801 w 2253"/>
                <a:gd name="T23" fmla="*/ 867 h 1062"/>
                <a:gd name="T24" fmla="*/ 2027 w 2253"/>
                <a:gd name="T25" fmla="*/ 886 h 1062"/>
                <a:gd name="T26" fmla="*/ 2253 w 2253"/>
                <a:gd name="T27" fmla="*/ 1062 h 1062"/>
                <a:gd name="T28" fmla="*/ 2253 w 2253"/>
                <a:gd name="T29" fmla="*/ 414 h 1062"/>
                <a:gd name="T30" fmla="*/ 2027 w 2253"/>
                <a:gd name="T31" fmla="*/ 219 h 1062"/>
                <a:gd name="T32" fmla="*/ 1801 w 2253"/>
                <a:gd name="T33" fmla="*/ 245 h 1062"/>
                <a:gd name="T34" fmla="*/ 1577 w 2253"/>
                <a:gd name="T35" fmla="*/ 212 h 1062"/>
                <a:gd name="T36" fmla="*/ 1351 w 2253"/>
                <a:gd name="T37" fmla="*/ 121 h 1062"/>
                <a:gd name="T38" fmla="*/ 1125 w 2253"/>
                <a:gd name="T39" fmla="*/ 52 h 1062"/>
                <a:gd name="T40" fmla="*/ 901 w 2253"/>
                <a:gd name="T41" fmla="*/ 26 h 1062"/>
                <a:gd name="T42" fmla="*/ 675 w 2253"/>
                <a:gd name="T43" fmla="*/ 9 h 1062"/>
                <a:gd name="T44" fmla="*/ 449 w 2253"/>
                <a:gd name="T45" fmla="*/ 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3" h="1062">
                  <a:moveTo>
                    <a:pt x="449" y="0"/>
                  </a:moveTo>
                  <a:lnTo>
                    <a:pt x="226" y="21"/>
                  </a:lnTo>
                  <a:lnTo>
                    <a:pt x="0" y="52"/>
                  </a:lnTo>
                  <a:lnTo>
                    <a:pt x="0" y="88"/>
                  </a:lnTo>
                  <a:lnTo>
                    <a:pt x="226" y="104"/>
                  </a:lnTo>
                  <a:lnTo>
                    <a:pt x="449" y="135"/>
                  </a:lnTo>
                  <a:lnTo>
                    <a:pt x="675" y="200"/>
                  </a:lnTo>
                  <a:lnTo>
                    <a:pt x="901" y="307"/>
                  </a:lnTo>
                  <a:lnTo>
                    <a:pt x="1125" y="436"/>
                  </a:lnTo>
                  <a:lnTo>
                    <a:pt x="1351" y="588"/>
                  </a:lnTo>
                  <a:lnTo>
                    <a:pt x="1577" y="757"/>
                  </a:lnTo>
                  <a:lnTo>
                    <a:pt x="1801" y="867"/>
                  </a:lnTo>
                  <a:lnTo>
                    <a:pt x="2027" y="886"/>
                  </a:lnTo>
                  <a:lnTo>
                    <a:pt x="2253" y="1062"/>
                  </a:lnTo>
                  <a:lnTo>
                    <a:pt x="2253" y="414"/>
                  </a:lnTo>
                  <a:lnTo>
                    <a:pt x="2027" y="219"/>
                  </a:lnTo>
                  <a:lnTo>
                    <a:pt x="1801" y="245"/>
                  </a:lnTo>
                  <a:lnTo>
                    <a:pt x="1577" y="212"/>
                  </a:lnTo>
                  <a:lnTo>
                    <a:pt x="1351" y="121"/>
                  </a:lnTo>
                  <a:lnTo>
                    <a:pt x="1125" y="52"/>
                  </a:lnTo>
                  <a:lnTo>
                    <a:pt x="901" y="26"/>
                  </a:lnTo>
                  <a:lnTo>
                    <a:pt x="675" y="9"/>
                  </a:lnTo>
                  <a:lnTo>
                    <a:pt x="449" y="0"/>
                  </a:lnTo>
                  <a:close/>
                </a:path>
              </a:pathLst>
            </a:custGeom>
            <a:solidFill>
              <a:srgbClr val="A89D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7">
              <a:extLst>
                <a:ext uri="{FF2B5EF4-FFF2-40B4-BE49-F238E27FC236}">
                  <a16:creationId xmlns:a16="http://schemas.microsoft.com/office/drawing/2014/main" id="{43EF558D-771E-943F-412C-6CF624AD2E79}"/>
                </a:ext>
              </a:extLst>
            </p:cNvPr>
            <p:cNvSpPr>
              <a:spLocks/>
            </p:cNvSpPr>
            <p:nvPr/>
          </p:nvSpPr>
          <p:spPr bwMode="auto">
            <a:xfrm>
              <a:off x="12304713" y="3130550"/>
              <a:ext cx="3576637" cy="1073150"/>
            </a:xfrm>
            <a:custGeom>
              <a:avLst/>
              <a:gdLst>
                <a:gd name="T0" fmla="*/ 0 w 2253"/>
                <a:gd name="T1" fmla="*/ 7 h 676"/>
                <a:gd name="T2" fmla="*/ 226 w 2253"/>
                <a:gd name="T3" fmla="*/ 0 h 676"/>
                <a:gd name="T4" fmla="*/ 449 w 2253"/>
                <a:gd name="T5" fmla="*/ 7 h 676"/>
                <a:gd name="T6" fmla="*/ 675 w 2253"/>
                <a:gd name="T7" fmla="*/ 42 h 676"/>
                <a:gd name="T8" fmla="*/ 901 w 2253"/>
                <a:gd name="T9" fmla="*/ 104 h 676"/>
                <a:gd name="T10" fmla="*/ 1125 w 2253"/>
                <a:gd name="T11" fmla="*/ 181 h 676"/>
                <a:gd name="T12" fmla="*/ 1351 w 2253"/>
                <a:gd name="T13" fmla="*/ 293 h 676"/>
                <a:gd name="T14" fmla="*/ 1577 w 2253"/>
                <a:gd name="T15" fmla="*/ 421 h 676"/>
                <a:gd name="T16" fmla="*/ 1801 w 2253"/>
                <a:gd name="T17" fmla="*/ 495 h 676"/>
                <a:gd name="T18" fmla="*/ 2027 w 2253"/>
                <a:gd name="T19" fmla="*/ 490 h 676"/>
                <a:gd name="T20" fmla="*/ 2253 w 2253"/>
                <a:gd name="T21"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3" h="676">
                  <a:moveTo>
                    <a:pt x="0" y="7"/>
                  </a:moveTo>
                  <a:lnTo>
                    <a:pt x="226" y="0"/>
                  </a:lnTo>
                  <a:lnTo>
                    <a:pt x="449" y="7"/>
                  </a:lnTo>
                  <a:lnTo>
                    <a:pt x="675" y="42"/>
                  </a:lnTo>
                  <a:lnTo>
                    <a:pt x="901" y="104"/>
                  </a:lnTo>
                  <a:lnTo>
                    <a:pt x="1125" y="181"/>
                  </a:lnTo>
                  <a:lnTo>
                    <a:pt x="1351" y="293"/>
                  </a:lnTo>
                  <a:lnTo>
                    <a:pt x="1577" y="421"/>
                  </a:lnTo>
                  <a:lnTo>
                    <a:pt x="1801" y="495"/>
                  </a:lnTo>
                  <a:lnTo>
                    <a:pt x="2027" y="490"/>
                  </a:lnTo>
                  <a:lnTo>
                    <a:pt x="2253" y="676"/>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6" name="Group 125">
            <a:extLst>
              <a:ext uri="{FF2B5EF4-FFF2-40B4-BE49-F238E27FC236}">
                <a16:creationId xmlns:a16="http://schemas.microsoft.com/office/drawing/2014/main" id="{841C4A51-A26C-0130-F0D2-A01B720D3F37}"/>
              </a:ext>
            </a:extLst>
          </p:cNvPr>
          <p:cNvGrpSpPr/>
          <p:nvPr/>
        </p:nvGrpSpPr>
        <p:grpSpPr>
          <a:xfrm>
            <a:off x="9562699" y="4417996"/>
            <a:ext cx="2266749" cy="996215"/>
            <a:chOff x="12295188" y="3382963"/>
            <a:chExt cx="3576637" cy="1955800"/>
          </a:xfrm>
        </p:grpSpPr>
        <p:sp>
          <p:nvSpPr>
            <p:cNvPr id="123" name="Freeform 71">
              <a:extLst>
                <a:ext uri="{FF2B5EF4-FFF2-40B4-BE49-F238E27FC236}">
                  <a16:creationId xmlns:a16="http://schemas.microsoft.com/office/drawing/2014/main" id="{9B0AD594-6104-C38C-001C-DAE81A9F9412}"/>
                </a:ext>
              </a:extLst>
            </p:cNvPr>
            <p:cNvSpPr>
              <a:spLocks noEditPoints="1"/>
            </p:cNvSpPr>
            <p:nvPr/>
          </p:nvSpPr>
          <p:spPr bwMode="auto">
            <a:xfrm>
              <a:off x="12295188" y="3382963"/>
              <a:ext cx="3576637" cy="1955800"/>
            </a:xfrm>
            <a:custGeom>
              <a:avLst/>
              <a:gdLst>
                <a:gd name="T0" fmla="*/ 901 w 2253"/>
                <a:gd name="T1" fmla="*/ 496 h 1232"/>
                <a:gd name="T2" fmla="*/ 1125 w 2253"/>
                <a:gd name="T3" fmla="*/ 381 h 1232"/>
                <a:gd name="T4" fmla="*/ 0 w 2253"/>
                <a:gd name="T5" fmla="*/ 233 h 1232"/>
                <a:gd name="T6" fmla="*/ 226 w 2253"/>
                <a:gd name="T7" fmla="*/ 426 h 1232"/>
                <a:gd name="T8" fmla="*/ 675 w 2253"/>
                <a:gd name="T9" fmla="*/ 746 h 1232"/>
                <a:gd name="T10" fmla="*/ 1125 w 2253"/>
                <a:gd name="T11" fmla="*/ 1065 h 1232"/>
                <a:gd name="T12" fmla="*/ 1577 w 2253"/>
                <a:gd name="T13" fmla="*/ 1232 h 1232"/>
                <a:gd name="T14" fmla="*/ 2027 w 2253"/>
                <a:gd name="T15" fmla="*/ 1087 h 1232"/>
                <a:gd name="T16" fmla="*/ 2253 w 2253"/>
                <a:gd name="T17" fmla="*/ 1223 h 1232"/>
                <a:gd name="T18" fmla="*/ 1801 w 2253"/>
                <a:gd name="T19" fmla="*/ 1215 h 1232"/>
                <a:gd name="T20" fmla="*/ 1351 w 2253"/>
                <a:gd name="T21" fmla="*/ 1180 h 1232"/>
                <a:gd name="T22" fmla="*/ 901 w 2253"/>
                <a:gd name="T23" fmla="*/ 994 h 1232"/>
                <a:gd name="T24" fmla="*/ 449 w 2253"/>
                <a:gd name="T25" fmla="*/ 589 h 1232"/>
                <a:gd name="T26" fmla="*/ 0 w 2253"/>
                <a:gd name="T27" fmla="*/ 369 h 1232"/>
                <a:gd name="T28" fmla="*/ 1577 w 2253"/>
                <a:gd name="T29" fmla="*/ 267 h 1232"/>
                <a:gd name="T30" fmla="*/ 1351 w 2253"/>
                <a:gd name="T31" fmla="*/ 350 h 1232"/>
                <a:gd name="T32" fmla="*/ 1351 w 2253"/>
                <a:gd name="T33" fmla="*/ 350 h 1232"/>
                <a:gd name="T34" fmla="*/ 2027 w 2253"/>
                <a:gd name="T35" fmla="*/ 0 h 1232"/>
                <a:gd name="T36" fmla="*/ 1577 w 2253"/>
                <a:gd name="T37" fmla="*/ 267 h 1232"/>
                <a:gd name="T38" fmla="*/ 1125 w 2253"/>
                <a:gd name="T39" fmla="*/ 381 h 1232"/>
                <a:gd name="T40" fmla="*/ 901 w 2253"/>
                <a:gd name="T41" fmla="*/ 496 h 1232"/>
                <a:gd name="T42" fmla="*/ 675 w 2253"/>
                <a:gd name="T43" fmla="*/ 388 h 1232"/>
                <a:gd name="T44" fmla="*/ 226 w 2253"/>
                <a:gd name="T45" fmla="*/ 155 h 1232"/>
                <a:gd name="T46" fmla="*/ 0 w 2253"/>
                <a:gd name="T47" fmla="*/ 369 h 1232"/>
                <a:gd name="T48" fmla="*/ 449 w 2253"/>
                <a:gd name="T49" fmla="*/ 589 h 1232"/>
                <a:gd name="T50" fmla="*/ 901 w 2253"/>
                <a:gd name="T51" fmla="*/ 994 h 1232"/>
                <a:gd name="T52" fmla="*/ 1351 w 2253"/>
                <a:gd name="T53" fmla="*/ 1180 h 1232"/>
                <a:gd name="T54" fmla="*/ 1801 w 2253"/>
                <a:gd name="T55" fmla="*/ 1215 h 1232"/>
                <a:gd name="T56" fmla="*/ 2253 w 2253"/>
                <a:gd name="T57" fmla="*/ 1223 h 1232"/>
                <a:gd name="T58" fmla="*/ 2027 w 2253"/>
                <a:gd name="T59" fmla="*/ 872 h 1232"/>
                <a:gd name="T60" fmla="*/ 1577 w 2253"/>
                <a:gd name="T61" fmla="*/ 1041 h 1232"/>
                <a:gd name="T62" fmla="*/ 1125 w 2253"/>
                <a:gd name="T63" fmla="*/ 929 h 1232"/>
                <a:gd name="T64" fmla="*/ 675 w 2253"/>
                <a:gd name="T65" fmla="*/ 677 h 1232"/>
                <a:gd name="T66" fmla="*/ 226 w 2253"/>
                <a:gd name="T67" fmla="*/ 374 h 1232"/>
                <a:gd name="T68" fmla="*/ 0 w 2253"/>
                <a:gd name="T69" fmla="*/ 260 h 1232"/>
                <a:gd name="T70" fmla="*/ 449 w 2253"/>
                <a:gd name="T71" fmla="*/ 314 h 1232"/>
                <a:gd name="T72" fmla="*/ 901 w 2253"/>
                <a:gd name="T73" fmla="*/ 593 h 1232"/>
                <a:gd name="T74" fmla="*/ 901 w 2253"/>
                <a:gd name="T75" fmla="*/ 593 h 1232"/>
                <a:gd name="T76" fmla="*/ 1125 w 2253"/>
                <a:gd name="T77" fmla="*/ 517 h 1232"/>
                <a:gd name="T78" fmla="*/ 1577 w 2253"/>
                <a:gd name="T79" fmla="*/ 457 h 1232"/>
                <a:gd name="T80" fmla="*/ 2027 w 2253"/>
                <a:gd name="T81" fmla="*/ 214 h 1232"/>
                <a:gd name="T82" fmla="*/ 2253 w 2253"/>
                <a:gd name="T83" fmla="*/ 24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53" h="1232">
                  <a:moveTo>
                    <a:pt x="1125" y="381"/>
                  </a:moveTo>
                  <a:lnTo>
                    <a:pt x="901" y="496"/>
                  </a:lnTo>
                  <a:lnTo>
                    <a:pt x="901" y="496"/>
                  </a:lnTo>
                  <a:lnTo>
                    <a:pt x="1125" y="381"/>
                  </a:lnTo>
                  <a:close/>
                  <a:moveTo>
                    <a:pt x="0" y="233"/>
                  </a:moveTo>
                  <a:lnTo>
                    <a:pt x="0" y="233"/>
                  </a:lnTo>
                  <a:lnTo>
                    <a:pt x="0" y="369"/>
                  </a:lnTo>
                  <a:lnTo>
                    <a:pt x="226" y="426"/>
                  </a:lnTo>
                  <a:lnTo>
                    <a:pt x="449" y="589"/>
                  </a:lnTo>
                  <a:lnTo>
                    <a:pt x="675" y="746"/>
                  </a:lnTo>
                  <a:lnTo>
                    <a:pt x="901" y="994"/>
                  </a:lnTo>
                  <a:lnTo>
                    <a:pt x="1125" y="1065"/>
                  </a:lnTo>
                  <a:lnTo>
                    <a:pt x="1351" y="1180"/>
                  </a:lnTo>
                  <a:lnTo>
                    <a:pt x="1577" y="1232"/>
                  </a:lnTo>
                  <a:lnTo>
                    <a:pt x="1801" y="1215"/>
                  </a:lnTo>
                  <a:lnTo>
                    <a:pt x="2027" y="1087"/>
                  </a:lnTo>
                  <a:lnTo>
                    <a:pt x="2253" y="1223"/>
                  </a:lnTo>
                  <a:lnTo>
                    <a:pt x="2253" y="1223"/>
                  </a:lnTo>
                  <a:lnTo>
                    <a:pt x="2027" y="1087"/>
                  </a:lnTo>
                  <a:lnTo>
                    <a:pt x="1801" y="1215"/>
                  </a:lnTo>
                  <a:lnTo>
                    <a:pt x="1577" y="1232"/>
                  </a:lnTo>
                  <a:lnTo>
                    <a:pt x="1351" y="1180"/>
                  </a:lnTo>
                  <a:lnTo>
                    <a:pt x="1125" y="1065"/>
                  </a:lnTo>
                  <a:lnTo>
                    <a:pt x="901" y="994"/>
                  </a:lnTo>
                  <a:lnTo>
                    <a:pt x="675" y="746"/>
                  </a:lnTo>
                  <a:lnTo>
                    <a:pt x="449" y="589"/>
                  </a:lnTo>
                  <a:lnTo>
                    <a:pt x="226" y="426"/>
                  </a:lnTo>
                  <a:lnTo>
                    <a:pt x="0" y="369"/>
                  </a:lnTo>
                  <a:lnTo>
                    <a:pt x="0" y="233"/>
                  </a:lnTo>
                  <a:close/>
                  <a:moveTo>
                    <a:pt x="1577" y="267"/>
                  </a:moveTo>
                  <a:lnTo>
                    <a:pt x="1577" y="267"/>
                  </a:lnTo>
                  <a:lnTo>
                    <a:pt x="1351" y="350"/>
                  </a:lnTo>
                  <a:lnTo>
                    <a:pt x="1125" y="381"/>
                  </a:lnTo>
                  <a:lnTo>
                    <a:pt x="1351" y="350"/>
                  </a:lnTo>
                  <a:lnTo>
                    <a:pt x="1577" y="267"/>
                  </a:lnTo>
                  <a:close/>
                  <a:moveTo>
                    <a:pt x="2027" y="0"/>
                  </a:moveTo>
                  <a:lnTo>
                    <a:pt x="1801" y="207"/>
                  </a:lnTo>
                  <a:lnTo>
                    <a:pt x="1577" y="267"/>
                  </a:lnTo>
                  <a:lnTo>
                    <a:pt x="1351" y="350"/>
                  </a:lnTo>
                  <a:lnTo>
                    <a:pt x="1125" y="381"/>
                  </a:lnTo>
                  <a:lnTo>
                    <a:pt x="901" y="496"/>
                  </a:lnTo>
                  <a:lnTo>
                    <a:pt x="901" y="496"/>
                  </a:lnTo>
                  <a:lnTo>
                    <a:pt x="901" y="496"/>
                  </a:lnTo>
                  <a:lnTo>
                    <a:pt x="675" y="388"/>
                  </a:lnTo>
                  <a:lnTo>
                    <a:pt x="449" y="248"/>
                  </a:lnTo>
                  <a:lnTo>
                    <a:pt x="226" y="155"/>
                  </a:lnTo>
                  <a:lnTo>
                    <a:pt x="0" y="233"/>
                  </a:lnTo>
                  <a:lnTo>
                    <a:pt x="0" y="369"/>
                  </a:lnTo>
                  <a:lnTo>
                    <a:pt x="226" y="426"/>
                  </a:lnTo>
                  <a:lnTo>
                    <a:pt x="449" y="589"/>
                  </a:lnTo>
                  <a:lnTo>
                    <a:pt x="675" y="746"/>
                  </a:lnTo>
                  <a:lnTo>
                    <a:pt x="901" y="994"/>
                  </a:lnTo>
                  <a:lnTo>
                    <a:pt x="1125" y="1065"/>
                  </a:lnTo>
                  <a:lnTo>
                    <a:pt x="1351" y="1180"/>
                  </a:lnTo>
                  <a:lnTo>
                    <a:pt x="1577" y="1232"/>
                  </a:lnTo>
                  <a:lnTo>
                    <a:pt x="1801" y="1215"/>
                  </a:lnTo>
                  <a:lnTo>
                    <a:pt x="2027" y="1087"/>
                  </a:lnTo>
                  <a:lnTo>
                    <a:pt x="2253" y="1223"/>
                  </a:lnTo>
                  <a:lnTo>
                    <a:pt x="2253" y="987"/>
                  </a:lnTo>
                  <a:lnTo>
                    <a:pt x="2027" y="872"/>
                  </a:lnTo>
                  <a:lnTo>
                    <a:pt x="1801" y="1018"/>
                  </a:lnTo>
                  <a:lnTo>
                    <a:pt x="1577" y="1041"/>
                  </a:lnTo>
                  <a:lnTo>
                    <a:pt x="1351" y="1015"/>
                  </a:lnTo>
                  <a:lnTo>
                    <a:pt x="1125" y="929"/>
                  </a:lnTo>
                  <a:lnTo>
                    <a:pt x="901" y="896"/>
                  </a:lnTo>
                  <a:lnTo>
                    <a:pt x="675" y="677"/>
                  </a:lnTo>
                  <a:lnTo>
                    <a:pt x="449" y="522"/>
                  </a:lnTo>
                  <a:lnTo>
                    <a:pt x="226" y="374"/>
                  </a:lnTo>
                  <a:lnTo>
                    <a:pt x="0" y="341"/>
                  </a:lnTo>
                  <a:lnTo>
                    <a:pt x="0" y="260"/>
                  </a:lnTo>
                  <a:lnTo>
                    <a:pt x="226" y="210"/>
                  </a:lnTo>
                  <a:lnTo>
                    <a:pt x="449" y="314"/>
                  </a:lnTo>
                  <a:lnTo>
                    <a:pt x="675" y="460"/>
                  </a:lnTo>
                  <a:lnTo>
                    <a:pt x="901" y="593"/>
                  </a:lnTo>
                  <a:lnTo>
                    <a:pt x="901" y="593"/>
                  </a:lnTo>
                  <a:lnTo>
                    <a:pt x="901" y="593"/>
                  </a:lnTo>
                  <a:lnTo>
                    <a:pt x="901" y="593"/>
                  </a:lnTo>
                  <a:lnTo>
                    <a:pt x="1125" y="517"/>
                  </a:lnTo>
                  <a:lnTo>
                    <a:pt x="1351" y="515"/>
                  </a:lnTo>
                  <a:lnTo>
                    <a:pt x="1577" y="457"/>
                  </a:lnTo>
                  <a:lnTo>
                    <a:pt x="1801" y="405"/>
                  </a:lnTo>
                  <a:lnTo>
                    <a:pt x="2027" y="214"/>
                  </a:lnTo>
                  <a:lnTo>
                    <a:pt x="2253" y="262"/>
                  </a:lnTo>
                  <a:lnTo>
                    <a:pt x="2253" y="24"/>
                  </a:lnTo>
                  <a:lnTo>
                    <a:pt x="2027" y="0"/>
                  </a:lnTo>
                  <a:close/>
                </a:path>
              </a:pathLst>
            </a:custGeom>
            <a:solidFill>
              <a:srgbClr val="D6CEC9"/>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Freeform 79">
              <a:extLst>
                <a:ext uri="{FF2B5EF4-FFF2-40B4-BE49-F238E27FC236}">
                  <a16:creationId xmlns:a16="http://schemas.microsoft.com/office/drawing/2014/main" id="{DEAE5DA0-E846-DA4B-2C7F-2835C5764546}"/>
                </a:ext>
              </a:extLst>
            </p:cNvPr>
            <p:cNvSpPr>
              <a:spLocks noEditPoints="1"/>
            </p:cNvSpPr>
            <p:nvPr/>
          </p:nvSpPr>
          <p:spPr bwMode="auto">
            <a:xfrm>
              <a:off x="12295188" y="3716338"/>
              <a:ext cx="3576637" cy="1319213"/>
            </a:xfrm>
            <a:custGeom>
              <a:avLst/>
              <a:gdLst>
                <a:gd name="T0" fmla="*/ 1125 w 2253"/>
                <a:gd name="T1" fmla="*/ 307 h 831"/>
                <a:gd name="T2" fmla="*/ 901 w 2253"/>
                <a:gd name="T3" fmla="*/ 383 h 831"/>
                <a:gd name="T4" fmla="*/ 901 w 2253"/>
                <a:gd name="T5" fmla="*/ 383 h 831"/>
                <a:gd name="T6" fmla="*/ 1125 w 2253"/>
                <a:gd name="T7" fmla="*/ 307 h 831"/>
                <a:gd name="T8" fmla="*/ 1577 w 2253"/>
                <a:gd name="T9" fmla="*/ 247 h 831"/>
                <a:gd name="T10" fmla="*/ 1351 w 2253"/>
                <a:gd name="T11" fmla="*/ 305 h 831"/>
                <a:gd name="T12" fmla="*/ 1125 w 2253"/>
                <a:gd name="T13" fmla="*/ 307 h 831"/>
                <a:gd name="T14" fmla="*/ 1351 w 2253"/>
                <a:gd name="T15" fmla="*/ 305 h 831"/>
                <a:gd name="T16" fmla="*/ 1577 w 2253"/>
                <a:gd name="T17" fmla="*/ 247 h 831"/>
                <a:gd name="T18" fmla="*/ 226 w 2253"/>
                <a:gd name="T19" fmla="*/ 0 h 831"/>
                <a:gd name="T20" fmla="*/ 0 w 2253"/>
                <a:gd name="T21" fmla="*/ 50 h 831"/>
                <a:gd name="T22" fmla="*/ 0 w 2253"/>
                <a:gd name="T23" fmla="*/ 131 h 831"/>
                <a:gd name="T24" fmla="*/ 226 w 2253"/>
                <a:gd name="T25" fmla="*/ 164 h 831"/>
                <a:gd name="T26" fmla="*/ 449 w 2253"/>
                <a:gd name="T27" fmla="*/ 312 h 831"/>
                <a:gd name="T28" fmla="*/ 675 w 2253"/>
                <a:gd name="T29" fmla="*/ 467 h 831"/>
                <a:gd name="T30" fmla="*/ 901 w 2253"/>
                <a:gd name="T31" fmla="*/ 686 h 831"/>
                <a:gd name="T32" fmla="*/ 1125 w 2253"/>
                <a:gd name="T33" fmla="*/ 719 h 831"/>
                <a:gd name="T34" fmla="*/ 1351 w 2253"/>
                <a:gd name="T35" fmla="*/ 805 h 831"/>
                <a:gd name="T36" fmla="*/ 1577 w 2253"/>
                <a:gd name="T37" fmla="*/ 831 h 831"/>
                <a:gd name="T38" fmla="*/ 1801 w 2253"/>
                <a:gd name="T39" fmla="*/ 808 h 831"/>
                <a:gd name="T40" fmla="*/ 2027 w 2253"/>
                <a:gd name="T41" fmla="*/ 662 h 831"/>
                <a:gd name="T42" fmla="*/ 2253 w 2253"/>
                <a:gd name="T43" fmla="*/ 777 h 831"/>
                <a:gd name="T44" fmla="*/ 2253 w 2253"/>
                <a:gd name="T45" fmla="*/ 777 h 831"/>
                <a:gd name="T46" fmla="*/ 2027 w 2253"/>
                <a:gd name="T47" fmla="*/ 662 h 831"/>
                <a:gd name="T48" fmla="*/ 1801 w 2253"/>
                <a:gd name="T49" fmla="*/ 808 h 831"/>
                <a:gd name="T50" fmla="*/ 1577 w 2253"/>
                <a:gd name="T51" fmla="*/ 831 h 831"/>
                <a:gd name="T52" fmla="*/ 1351 w 2253"/>
                <a:gd name="T53" fmla="*/ 805 h 831"/>
                <a:gd name="T54" fmla="*/ 1125 w 2253"/>
                <a:gd name="T55" fmla="*/ 719 h 831"/>
                <a:gd name="T56" fmla="*/ 901 w 2253"/>
                <a:gd name="T57" fmla="*/ 686 h 831"/>
                <a:gd name="T58" fmla="*/ 675 w 2253"/>
                <a:gd name="T59" fmla="*/ 467 h 831"/>
                <a:gd name="T60" fmla="*/ 449 w 2253"/>
                <a:gd name="T61" fmla="*/ 312 h 831"/>
                <a:gd name="T62" fmla="*/ 226 w 2253"/>
                <a:gd name="T63" fmla="*/ 164 h 831"/>
                <a:gd name="T64" fmla="*/ 0 w 2253"/>
                <a:gd name="T65" fmla="*/ 131 h 831"/>
                <a:gd name="T66" fmla="*/ 0 w 2253"/>
                <a:gd name="T67" fmla="*/ 50 h 831"/>
                <a:gd name="T68" fmla="*/ 0 w 2253"/>
                <a:gd name="T69" fmla="*/ 131 h 831"/>
                <a:gd name="T70" fmla="*/ 226 w 2253"/>
                <a:gd name="T71" fmla="*/ 164 h 831"/>
                <a:gd name="T72" fmla="*/ 449 w 2253"/>
                <a:gd name="T73" fmla="*/ 312 h 831"/>
                <a:gd name="T74" fmla="*/ 675 w 2253"/>
                <a:gd name="T75" fmla="*/ 467 h 831"/>
                <a:gd name="T76" fmla="*/ 901 w 2253"/>
                <a:gd name="T77" fmla="*/ 686 h 831"/>
                <a:gd name="T78" fmla="*/ 1125 w 2253"/>
                <a:gd name="T79" fmla="*/ 719 h 831"/>
                <a:gd name="T80" fmla="*/ 1351 w 2253"/>
                <a:gd name="T81" fmla="*/ 805 h 831"/>
                <a:gd name="T82" fmla="*/ 1577 w 2253"/>
                <a:gd name="T83" fmla="*/ 831 h 831"/>
                <a:gd name="T84" fmla="*/ 1801 w 2253"/>
                <a:gd name="T85" fmla="*/ 808 h 831"/>
                <a:gd name="T86" fmla="*/ 2027 w 2253"/>
                <a:gd name="T87" fmla="*/ 662 h 831"/>
                <a:gd name="T88" fmla="*/ 2253 w 2253"/>
                <a:gd name="T89" fmla="*/ 777 h 831"/>
                <a:gd name="T90" fmla="*/ 2253 w 2253"/>
                <a:gd name="T91" fmla="*/ 52 h 831"/>
                <a:gd name="T92" fmla="*/ 2027 w 2253"/>
                <a:gd name="T93" fmla="*/ 4 h 831"/>
                <a:gd name="T94" fmla="*/ 1801 w 2253"/>
                <a:gd name="T95" fmla="*/ 195 h 831"/>
                <a:gd name="T96" fmla="*/ 1577 w 2253"/>
                <a:gd name="T97" fmla="*/ 247 h 831"/>
                <a:gd name="T98" fmla="*/ 1351 w 2253"/>
                <a:gd name="T99" fmla="*/ 305 h 831"/>
                <a:gd name="T100" fmla="*/ 1125 w 2253"/>
                <a:gd name="T101" fmla="*/ 307 h 831"/>
                <a:gd name="T102" fmla="*/ 901 w 2253"/>
                <a:gd name="T103" fmla="*/ 383 h 831"/>
                <a:gd name="T104" fmla="*/ 901 w 2253"/>
                <a:gd name="T105" fmla="*/ 383 h 831"/>
                <a:gd name="T106" fmla="*/ 901 w 2253"/>
                <a:gd name="T107" fmla="*/ 383 h 831"/>
                <a:gd name="T108" fmla="*/ 675 w 2253"/>
                <a:gd name="T109" fmla="*/ 250 h 831"/>
                <a:gd name="T110" fmla="*/ 449 w 2253"/>
                <a:gd name="T111" fmla="*/ 104 h 831"/>
                <a:gd name="T112" fmla="*/ 226 w 2253"/>
                <a:gd name="T113" fmla="*/ 0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3" h="831">
                  <a:moveTo>
                    <a:pt x="1125" y="307"/>
                  </a:moveTo>
                  <a:lnTo>
                    <a:pt x="901" y="383"/>
                  </a:lnTo>
                  <a:lnTo>
                    <a:pt x="901" y="383"/>
                  </a:lnTo>
                  <a:lnTo>
                    <a:pt x="1125" y="307"/>
                  </a:lnTo>
                  <a:close/>
                  <a:moveTo>
                    <a:pt x="1577" y="247"/>
                  </a:moveTo>
                  <a:lnTo>
                    <a:pt x="1351" y="305"/>
                  </a:lnTo>
                  <a:lnTo>
                    <a:pt x="1125" y="307"/>
                  </a:lnTo>
                  <a:lnTo>
                    <a:pt x="1351" y="305"/>
                  </a:lnTo>
                  <a:lnTo>
                    <a:pt x="1577" y="247"/>
                  </a:lnTo>
                  <a:close/>
                  <a:moveTo>
                    <a:pt x="226" y="0"/>
                  </a:moveTo>
                  <a:lnTo>
                    <a:pt x="0" y="50"/>
                  </a:lnTo>
                  <a:lnTo>
                    <a:pt x="0" y="131"/>
                  </a:lnTo>
                  <a:lnTo>
                    <a:pt x="226" y="164"/>
                  </a:lnTo>
                  <a:lnTo>
                    <a:pt x="449" y="312"/>
                  </a:lnTo>
                  <a:lnTo>
                    <a:pt x="675" y="467"/>
                  </a:lnTo>
                  <a:lnTo>
                    <a:pt x="901" y="686"/>
                  </a:lnTo>
                  <a:lnTo>
                    <a:pt x="1125" y="719"/>
                  </a:lnTo>
                  <a:lnTo>
                    <a:pt x="1351" y="805"/>
                  </a:lnTo>
                  <a:lnTo>
                    <a:pt x="1577" y="831"/>
                  </a:lnTo>
                  <a:lnTo>
                    <a:pt x="1801" y="808"/>
                  </a:lnTo>
                  <a:lnTo>
                    <a:pt x="2027" y="662"/>
                  </a:lnTo>
                  <a:lnTo>
                    <a:pt x="2253" y="777"/>
                  </a:lnTo>
                  <a:lnTo>
                    <a:pt x="2253" y="777"/>
                  </a:lnTo>
                  <a:lnTo>
                    <a:pt x="2027" y="662"/>
                  </a:lnTo>
                  <a:lnTo>
                    <a:pt x="1801" y="808"/>
                  </a:lnTo>
                  <a:lnTo>
                    <a:pt x="1577" y="831"/>
                  </a:lnTo>
                  <a:lnTo>
                    <a:pt x="1351" y="805"/>
                  </a:lnTo>
                  <a:lnTo>
                    <a:pt x="1125" y="719"/>
                  </a:lnTo>
                  <a:lnTo>
                    <a:pt x="901" y="686"/>
                  </a:lnTo>
                  <a:lnTo>
                    <a:pt x="675" y="467"/>
                  </a:lnTo>
                  <a:lnTo>
                    <a:pt x="449" y="312"/>
                  </a:lnTo>
                  <a:lnTo>
                    <a:pt x="226" y="164"/>
                  </a:lnTo>
                  <a:lnTo>
                    <a:pt x="0" y="131"/>
                  </a:lnTo>
                  <a:lnTo>
                    <a:pt x="0" y="50"/>
                  </a:lnTo>
                  <a:lnTo>
                    <a:pt x="0" y="131"/>
                  </a:lnTo>
                  <a:lnTo>
                    <a:pt x="226" y="164"/>
                  </a:lnTo>
                  <a:lnTo>
                    <a:pt x="449" y="312"/>
                  </a:lnTo>
                  <a:lnTo>
                    <a:pt x="675" y="467"/>
                  </a:lnTo>
                  <a:lnTo>
                    <a:pt x="901" y="686"/>
                  </a:lnTo>
                  <a:lnTo>
                    <a:pt x="1125" y="719"/>
                  </a:lnTo>
                  <a:lnTo>
                    <a:pt x="1351" y="805"/>
                  </a:lnTo>
                  <a:lnTo>
                    <a:pt x="1577" y="831"/>
                  </a:lnTo>
                  <a:lnTo>
                    <a:pt x="1801" y="808"/>
                  </a:lnTo>
                  <a:lnTo>
                    <a:pt x="2027" y="662"/>
                  </a:lnTo>
                  <a:lnTo>
                    <a:pt x="2253" y="777"/>
                  </a:lnTo>
                  <a:lnTo>
                    <a:pt x="2253" y="52"/>
                  </a:lnTo>
                  <a:lnTo>
                    <a:pt x="2027" y="4"/>
                  </a:lnTo>
                  <a:lnTo>
                    <a:pt x="1801" y="195"/>
                  </a:lnTo>
                  <a:lnTo>
                    <a:pt x="1577" y="247"/>
                  </a:lnTo>
                  <a:lnTo>
                    <a:pt x="1351" y="305"/>
                  </a:lnTo>
                  <a:lnTo>
                    <a:pt x="1125" y="307"/>
                  </a:lnTo>
                  <a:lnTo>
                    <a:pt x="901" y="383"/>
                  </a:lnTo>
                  <a:lnTo>
                    <a:pt x="901" y="383"/>
                  </a:lnTo>
                  <a:lnTo>
                    <a:pt x="901" y="383"/>
                  </a:lnTo>
                  <a:lnTo>
                    <a:pt x="675" y="250"/>
                  </a:lnTo>
                  <a:lnTo>
                    <a:pt x="449" y="104"/>
                  </a:lnTo>
                  <a:lnTo>
                    <a:pt x="226" y="0"/>
                  </a:lnTo>
                  <a:close/>
                </a:path>
              </a:pathLst>
            </a:custGeom>
            <a:solidFill>
              <a:srgbClr val="A89D95"/>
            </a:solidFill>
            <a:ln>
              <a:noFill/>
            </a:ln>
          </p:spPr>
          <p:txBody>
            <a:bodyPr vert="horz" wrap="square" lIns="91440" tIns="45720" rIns="91440" bIns="45720" numCol="1" anchor="t" anchorCtr="0" compatLnSpc="1">
              <a:prstTxWarp prst="textNoShape">
                <a:avLst/>
              </a:prstTxWarp>
            </a:bodyPr>
            <a:lstStyle/>
            <a:p>
              <a:endParaRPr lang="en-US"/>
            </a:p>
          </p:txBody>
        </p:sp>
        <p:sp>
          <p:nvSpPr>
            <p:cNvPr id="125" name="Freeform 87">
              <a:extLst>
                <a:ext uri="{FF2B5EF4-FFF2-40B4-BE49-F238E27FC236}">
                  <a16:creationId xmlns:a16="http://schemas.microsoft.com/office/drawing/2014/main" id="{9D4614C8-835A-D1A8-9BB3-2B677AB16AFA}"/>
                </a:ext>
              </a:extLst>
            </p:cNvPr>
            <p:cNvSpPr>
              <a:spLocks/>
            </p:cNvSpPr>
            <p:nvPr/>
          </p:nvSpPr>
          <p:spPr bwMode="auto">
            <a:xfrm>
              <a:off x="12295188" y="3844926"/>
              <a:ext cx="3576637" cy="752475"/>
            </a:xfrm>
            <a:custGeom>
              <a:avLst/>
              <a:gdLst>
                <a:gd name="T0" fmla="*/ 0 w 2253"/>
                <a:gd name="T1" fmla="*/ 9 h 474"/>
                <a:gd name="T2" fmla="*/ 226 w 2253"/>
                <a:gd name="T3" fmla="*/ 0 h 474"/>
                <a:gd name="T4" fmla="*/ 449 w 2253"/>
                <a:gd name="T5" fmla="*/ 128 h 474"/>
                <a:gd name="T6" fmla="*/ 675 w 2253"/>
                <a:gd name="T7" fmla="*/ 276 h 474"/>
                <a:gd name="T8" fmla="*/ 901 w 2253"/>
                <a:gd name="T9" fmla="*/ 455 h 474"/>
                <a:gd name="T10" fmla="*/ 1125 w 2253"/>
                <a:gd name="T11" fmla="*/ 433 h 474"/>
                <a:gd name="T12" fmla="*/ 1351 w 2253"/>
                <a:gd name="T13" fmla="*/ 474 h 474"/>
                <a:gd name="T14" fmla="*/ 1577 w 2253"/>
                <a:gd name="T15" fmla="*/ 457 h 474"/>
                <a:gd name="T16" fmla="*/ 1801 w 2253"/>
                <a:gd name="T17" fmla="*/ 421 h 474"/>
                <a:gd name="T18" fmla="*/ 2027 w 2253"/>
                <a:gd name="T19" fmla="*/ 252 h 474"/>
                <a:gd name="T20" fmla="*/ 2253 w 2253"/>
                <a:gd name="T21" fmla="*/ 333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3" h="474">
                  <a:moveTo>
                    <a:pt x="0" y="9"/>
                  </a:moveTo>
                  <a:lnTo>
                    <a:pt x="226" y="0"/>
                  </a:lnTo>
                  <a:lnTo>
                    <a:pt x="449" y="128"/>
                  </a:lnTo>
                  <a:lnTo>
                    <a:pt x="675" y="276"/>
                  </a:lnTo>
                  <a:lnTo>
                    <a:pt x="901" y="455"/>
                  </a:lnTo>
                  <a:lnTo>
                    <a:pt x="1125" y="433"/>
                  </a:lnTo>
                  <a:lnTo>
                    <a:pt x="1351" y="474"/>
                  </a:lnTo>
                  <a:lnTo>
                    <a:pt x="1577" y="457"/>
                  </a:lnTo>
                  <a:lnTo>
                    <a:pt x="1801" y="421"/>
                  </a:lnTo>
                  <a:lnTo>
                    <a:pt x="2027" y="252"/>
                  </a:lnTo>
                  <a:lnTo>
                    <a:pt x="2253" y="333"/>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6" name="Group 75">
            <a:extLst>
              <a:ext uri="{FF2B5EF4-FFF2-40B4-BE49-F238E27FC236}">
                <a16:creationId xmlns:a16="http://schemas.microsoft.com/office/drawing/2014/main" id="{9C1E4927-98A7-09BD-FD6C-EB31591C98B7}"/>
              </a:ext>
            </a:extLst>
          </p:cNvPr>
          <p:cNvGrpSpPr/>
          <p:nvPr/>
        </p:nvGrpSpPr>
        <p:grpSpPr>
          <a:xfrm>
            <a:off x="6439676" y="2101851"/>
            <a:ext cx="2276691" cy="1174750"/>
            <a:chOff x="12415836" y="2794000"/>
            <a:chExt cx="3575053" cy="2125663"/>
          </a:xfrm>
        </p:grpSpPr>
        <p:sp>
          <p:nvSpPr>
            <p:cNvPr id="73" name="Freeform 25">
              <a:extLst>
                <a:ext uri="{FF2B5EF4-FFF2-40B4-BE49-F238E27FC236}">
                  <a16:creationId xmlns:a16="http://schemas.microsoft.com/office/drawing/2014/main" id="{AE9D3BA2-F6D1-0802-94EF-06536E4E01AB}"/>
                </a:ext>
              </a:extLst>
            </p:cNvPr>
            <p:cNvSpPr>
              <a:spLocks noEditPoints="1"/>
            </p:cNvSpPr>
            <p:nvPr/>
          </p:nvSpPr>
          <p:spPr bwMode="auto">
            <a:xfrm>
              <a:off x="12415839" y="2794000"/>
              <a:ext cx="3575050" cy="2125663"/>
            </a:xfrm>
            <a:custGeom>
              <a:avLst/>
              <a:gdLst>
                <a:gd name="T0" fmla="*/ 1350 w 2252"/>
                <a:gd name="T1" fmla="*/ 1025 h 1339"/>
                <a:gd name="T2" fmla="*/ 1350 w 2252"/>
                <a:gd name="T3" fmla="*/ 1025 h 1339"/>
                <a:gd name="T4" fmla="*/ 0 w 2252"/>
                <a:gd name="T5" fmla="*/ 360 h 1339"/>
                <a:gd name="T6" fmla="*/ 449 w 2252"/>
                <a:gd name="T7" fmla="*/ 498 h 1339"/>
                <a:gd name="T8" fmla="*/ 0 w 2252"/>
                <a:gd name="T9" fmla="*/ 360 h 1339"/>
                <a:gd name="T10" fmla="*/ 901 w 2252"/>
                <a:gd name="T11" fmla="*/ 307 h 1339"/>
                <a:gd name="T12" fmla="*/ 1125 w 2252"/>
                <a:gd name="T13" fmla="*/ 288 h 1339"/>
                <a:gd name="T14" fmla="*/ 2026 w 2252"/>
                <a:gd name="T15" fmla="*/ 81 h 1339"/>
                <a:gd name="T16" fmla="*/ 1576 w 2252"/>
                <a:gd name="T17" fmla="*/ 360 h 1339"/>
                <a:gd name="T18" fmla="*/ 1125 w 2252"/>
                <a:gd name="T19" fmla="*/ 288 h 1339"/>
                <a:gd name="T20" fmla="*/ 901 w 2252"/>
                <a:gd name="T21" fmla="*/ 307 h 1339"/>
                <a:gd name="T22" fmla="*/ 675 w 2252"/>
                <a:gd name="T23" fmla="*/ 240 h 1339"/>
                <a:gd name="T24" fmla="*/ 226 w 2252"/>
                <a:gd name="T25" fmla="*/ 107 h 1339"/>
                <a:gd name="T26" fmla="*/ 0 w 2252"/>
                <a:gd name="T27" fmla="*/ 412 h 1339"/>
                <a:gd name="T28" fmla="*/ 449 w 2252"/>
                <a:gd name="T29" fmla="*/ 586 h 1339"/>
                <a:gd name="T30" fmla="*/ 901 w 2252"/>
                <a:gd name="T31" fmla="*/ 905 h 1339"/>
                <a:gd name="T32" fmla="*/ 1350 w 2252"/>
                <a:gd name="T33" fmla="*/ 1201 h 1339"/>
                <a:gd name="T34" fmla="*/ 1800 w 2252"/>
                <a:gd name="T35" fmla="*/ 1234 h 1339"/>
                <a:gd name="T36" fmla="*/ 2252 w 2252"/>
                <a:gd name="T37" fmla="*/ 1210 h 1339"/>
                <a:gd name="T38" fmla="*/ 2026 w 2252"/>
                <a:gd name="T39" fmla="*/ 1110 h 1339"/>
                <a:gd name="T40" fmla="*/ 1576 w 2252"/>
                <a:gd name="T41" fmla="*/ 1339 h 1339"/>
                <a:gd name="T42" fmla="*/ 1125 w 2252"/>
                <a:gd name="T43" fmla="*/ 1087 h 1339"/>
                <a:gd name="T44" fmla="*/ 675 w 2252"/>
                <a:gd name="T45" fmla="*/ 708 h 1339"/>
                <a:gd name="T46" fmla="*/ 226 w 2252"/>
                <a:gd name="T47" fmla="*/ 467 h 1339"/>
                <a:gd name="T48" fmla="*/ 0 w 2252"/>
                <a:gd name="T49" fmla="*/ 145 h 1339"/>
                <a:gd name="T50" fmla="*/ 226 w 2252"/>
                <a:gd name="T51" fmla="*/ 467 h 1339"/>
                <a:gd name="T52" fmla="*/ 675 w 2252"/>
                <a:gd name="T53" fmla="*/ 708 h 1339"/>
                <a:gd name="T54" fmla="*/ 1125 w 2252"/>
                <a:gd name="T55" fmla="*/ 1087 h 1339"/>
                <a:gd name="T56" fmla="*/ 1576 w 2252"/>
                <a:gd name="T57" fmla="*/ 1339 h 1339"/>
                <a:gd name="T58" fmla="*/ 2026 w 2252"/>
                <a:gd name="T59" fmla="*/ 1110 h 1339"/>
                <a:gd name="T60" fmla="*/ 2252 w 2252"/>
                <a:gd name="T61" fmla="*/ 972 h 1339"/>
                <a:gd name="T62" fmla="*/ 1800 w 2252"/>
                <a:gd name="T63" fmla="*/ 1044 h 1339"/>
                <a:gd name="T64" fmla="*/ 1350 w 2252"/>
                <a:gd name="T65" fmla="*/ 1025 h 1339"/>
                <a:gd name="T66" fmla="*/ 901 w 2252"/>
                <a:gd name="T67" fmla="*/ 786 h 1339"/>
                <a:gd name="T68" fmla="*/ 449 w 2252"/>
                <a:gd name="T69" fmla="*/ 498 h 1339"/>
                <a:gd name="T70" fmla="*/ 0 w 2252"/>
                <a:gd name="T71" fmla="*/ 360 h 1339"/>
                <a:gd name="T72" fmla="*/ 226 w 2252"/>
                <a:gd name="T73" fmla="*/ 178 h 1339"/>
                <a:gd name="T74" fmla="*/ 675 w 2252"/>
                <a:gd name="T75" fmla="*/ 333 h 1339"/>
                <a:gd name="T76" fmla="*/ 1125 w 2252"/>
                <a:gd name="T77" fmla="*/ 445 h 1339"/>
                <a:gd name="T78" fmla="*/ 1576 w 2252"/>
                <a:gd name="T79" fmla="*/ 555 h 1339"/>
                <a:gd name="T80" fmla="*/ 2026 w 2252"/>
                <a:gd name="T81" fmla="*/ 283 h 1339"/>
                <a:gd name="T82" fmla="*/ 2252 w 2252"/>
                <a:gd name="T83" fmla="*/ 0 h 1339"/>
                <a:gd name="T84" fmla="*/ 2026 w 2252"/>
                <a:gd name="T85" fmla="*/ 81 h 1339"/>
                <a:gd name="T86" fmla="*/ 2252 w 2252"/>
                <a:gd name="T87" fmla="*/ 0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52" h="1339">
                  <a:moveTo>
                    <a:pt x="1125" y="929"/>
                  </a:moveTo>
                  <a:lnTo>
                    <a:pt x="1350" y="1025"/>
                  </a:lnTo>
                  <a:lnTo>
                    <a:pt x="1576" y="1146"/>
                  </a:lnTo>
                  <a:lnTo>
                    <a:pt x="1350" y="1025"/>
                  </a:lnTo>
                  <a:lnTo>
                    <a:pt x="1125" y="929"/>
                  </a:lnTo>
                  <a:close/>
                  <a:moveTo>
                    <a:pt x="0" y="360"/>
                  </a:moveTo>
                  <a:lnTo>
                    <a:pt x="226" y="395"/>
                  </a:lnTo>
                  <a:lnTo>
                    <a:pt x="449" y="498"/>
                  </a:lnTo>
                  <a:lnTo>
                    <a:pt x="226" y="395"/>
                  </a:lnTo>
                  <a:lnTo>
                    <a:pt x="0" y="360"/>
                  </a:lnTo>
                  <a:close/>
                  <a:moveTo>
                    <a:pt x="1125" y="288"/>
                  </a:moveTo>
                  <a:lnTo>
                    <a:pt x="901" y="307"/>
                  </a:lnTo>
                  <a:lnTo>
                    <a:pt x="901" y="307"/>
                  </a:lnTo>
                  <a:lnTo>
                    <a:pt x="1125" y="288"/>
                  </a:lnTo>
                  <a:close/>
                  <a:moveTo>
                    <a:pt x="2252" y="0"/>
                  </a:moveTo>
                  <a:lnTo>
                    <a:pt x="2026" y="81"/>
                  </a:lnTo>
                  <a:lnTo>
                    <a:pt x="1800" y="267"/>
                  </a:lnTo>
                  <a:lnTo>
                    <a:pt x="1576" y="360"/>
                  </a:lnTo>
                  <a:lnTo>
                    <a:pt x="1350" y="309"/>
                  </a:lnTo>
                  <a:lnTo>
                    <a:pt x="1125" y="288"/>
                  </a:lnTo>
                  <a:lnTo>
                    <a:pt x="901" y="307"/>
                  </a:lnTo>
                  <a:lnTo>
                    <a:pt x="901" y="307"/>
                  </a:lnTo>
                  <a:lnTo>
                    <a:pt x="901" y="307"/>
                  </a:lnTo>
                  <a:lnTo>
                    <a:pt x="675" y="240"/>
                  </a:lnTo>
                  <a:lnTo>
                    <a:pt x="449" y="135"/>
                  </a:lnTo>
                  <a:lnTo>
                    <a:pt x="226" y="107"/>
                  </a:lnTo>
                  <a:lnTo>
                    <a:pt x="0" y="145"/>
                  </a:lnTo>
                  <a:lnTo>
                    <a:pt x="0" y="412"/>
                  </a:lnTo>
                  <a:lnTo>
                    <a:pt x="226" y="467"/>
                  </a:lnTo>
                  <a:lnTo>
                    <a:pt x="449" y="586"/>
                  </a:lnTo>
                  <a:lnTo>
                    <a:pt x="675" y="708"/>
                  </a:lnTo>
                  <a:lnTo>
                    <a:pt x="901" y="905"/>
                  </a:lnTo>
                  <a:lnTo>
                    <a:pt x="1125" y="1087"/>
                  </a:lnTo>
                  <a:lnTo>
                    <a:pt x="1350" y="1201"/>
                  </a:lnTo>
                  <a:lnTo>
                    <a:pt x="1576" y="1339"/>
                  </a:lnTo>
                  <a:lnTo>
                    <a:pt x="1800" y="1234"/>
                  </a:lnTo>
                  <a:lnTo>
                    <a:pt x="2026" y="1110"/>
                  </a:lnTo>
                  <a:lnTo>
                    <a:pt x="2252" y="1210"/>
                  </a:lnTo>
                  <a:lnTo>
                    <a:pt x="2252" y="1210"/>
                  </a:lnTo>
                  <a:lnTo>
                    <a:pt x="2026" y="1110"/>
                  </a:lnTo>
                  <a:lnTo>
                    <a:pt x="1800" y="1234"/>
                  </a:lnTo>
                  <a:lnTo>
                    <a:pt x="1576" y="1339"/>
                  </a:lnTo>
                  <a:lnTo>
                    <a:pt x="1350" y="1201"/>
                  </a:lnTo>
                  <a:lnTo>
                    <a:pt x="1125" y="1087"/>
                  </a:lnTo>
                  <a:lnTo>
                    <a:pt x="901" y="905"/>
                  </a:lnTo>
                  <a:lnTo>
                    <a:pt x="675" y="708"/>
                  </a:lnTo>
                  <a:lnTo>
                    <a:pt x="449" y="586"/>
                  </a:lnTo>
                  <a:lnTo>
                    <a:pt x="226" y="467"/>
                  </a:lnTo>
                  <a:lnTo>
                    <a:pt x="0" y="412"/>
                  </a:lnTo>
                  <a:lnTo>
                    <a:pt x="0" y="145"/>
                  </a:lnTo>
                  <a:lnTo>
                    <a:pt x="0" y="412"/>
                  </a:lnTo>
                  <a:lnTo>
                    <a:pt x="226" y="467"/>
                  </a:lnTo>
                  <a:lnTo>
                    <a:pt x="449" y="586"/>
                  </a:lnTo>
                  <a:lnTo>
                    <a:pt x="675" y="708"/>
                  </a:lnTo>
                  <a:lnTo>
                    <a:pt x="901" y="905"/>
                  </a:lnTo>
                  <a:lnTo>
                    <a:pt x="1125" y="1087"/>
                  </a:lnTo>
                  <a:lnTo>
                    <a:pt x="1350" y="1201"/>
                  </a:lnTo>
                  <a:lnTo>
                    <a:pt x="1576" y="1339"/>
                  </a:lnTo>
                  <a:lnTo>
                    <a:pt x="1800" y="1234"/>
                  </a:lnTo>
                  <a:lnTo>
                    <a:pt x="2026" y="1110"/>
                  </a:lnTo>
                  <a:lnTo>
                    <a:pt x="2252" y="1210"/>
                  </a:lnTo>
                  <a:lnTo>
                    <a:pt x="2252" y="972"/>
                  </a:lnTo>
                  <a:lnTo>
                    <a:pt x="2026" y="908"/>
                  </a:lnTo>
                  <a:lnTo>
                    <a:pt x="1800" y="1044"/>
                  </a:lnTo>
                  <a:lnTo>
                    <a:pt x="1576" y="1146"/>
                  </a:lnTo>
                  <a:lnTo>
                    <a:pt x="1350" y="1025"/>
                  </a:lnTo>
                  <a:lnTo>
                    <a:pt x="1125" y="929"/>
                  </a:lnTo>
                  <a:lnTo>
                    <a:pt x="901" y="786"/>
                  </a:lnTo>
                  <a:lnTo>
                    <a:pt x="675" y="615"/>
                  </a:lnTo>
                  <a:lnTo>
                    <a:pt x="449" y="498"/>
                  </a:lnTo>
                  <a:lnTo>
                    <a:pt x="226" y="395"/>
                  </a:lnTo>
                  <a:lnTo>
                    <a:pt x="0" y="360"/>
                  </a:lnTo>
                  <a:lnTo>
                    <a:pt x="0" y="197"/>
                  </a:lnTo>
                  <a:lnTo>
                    <a:pt x="226" y="178"/>
                  </a:lnTo>
                  <a:lnTo>
                    <a:pt x="449" y="224"/>
                  </a:lnTo>
                  <a:lnTo>
                    <a:pt x="675" y="333"/>
                  </a:lnTo>
                  <a:lnTo>
                    <a:pt x="901" y="424"/>
                  </a:lnTo>
                  <a:lnTo>
                    <a:pt x="1125" y="445"/>
                  </a:lnTo>
                  <a:lnTo>
                    <a:pt x="1350" y="486"/>
                  </a:lnTo>
                  <a:lnTo>
                    <a:pt x="1576" y="555"/>
                  </a:lnTo>
                  <a:lnTo>
                    <a:pt x="1800" y="460"/>
                  </a:lnTo>
                  <a:lnTo>
                    <a:pt x="2026" y="283"/>
                  </a:lnTo>
                  <a:lnTo>
                    <a:pt x="2252" y="240"/>
                  </a:lnTo>
                  <a:lnTo>
                    <a:pt x="2252" y="0"/>
                  </a:lnTo>
                  <a:close/>
                  <a:moveTo>
                    <a:pt x="2252" y="0"/>
                  </a:moveTo>
                  <a:lnTo>
                    <a:pt x="2026" y="81"/>
                  </a:lnTo>
                  <a:lnTo>
                    <a:pt x="2252" y="0"/>
                  </a:lnTo>
                  <a:lnTo>
                    <a:pt x="2252" y="0"/>
                  </a:lnTo>
                  <a:close/>
                </a:path>
              </a:pathLst>
            </a:custGeom>
            <a:solidFill>
              <a:srgbClr val="D6CEC9"/>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Freeform 33">
              <a:extLst>
                <a:ext uri="{FF2B5EF4-FFF2-40B4-BE49-F238E27FC236}">
                  <a16:creationId xmlns:a16="http://schemas.microsoft.com/office/drawing/2014/main" id="{FB772BB3-58EA-FB3F-6500-8746EE3A4C33}"/>
                </a:ext>
              </a:extLst>
            </p:cNvPr>
            <p:cNvSpPr>
              <a:spLocks noEditPoints="1"/>
            </p:cNvSpPr>
            <p:nvPr/>
          </p:nvSpPr>
          <p:spPr bwMode="auto">
            <a:xfrm>
              <a:off x="12415836" y="3076574"/>
              <a:ext cx="3575049" cy="1536700"/>
            </a:xfrm>
            <a:custGeom>
              <a:avLst/>
              <a:gdLst>
                <a:gd name="T0" fmla="*/ 449 w 2252"/>
                <a:gd name="T1" fmla="*/ 320 h 968"/>
                <a:gd name="T2" fmla="*/ 449 w 2252"/>
                <a:gd name="T3" fmla="*/ 320 h 968"/>
                <a:gd name="T4" fmla="*/ 675 w 2252"/>
                <a:gd name="T5" fmla="*/ 437 h 968"/>
                <a:gd name="T6" fmla="*/ 901 w 2252"/>
                <a:gd name="T7" fmla="*/ 608 h 968"/>
                <a:gd name="T8" fmla="*/ 1125 w 2252"/>
                <a:gd name="T9" fmla="*/ 751 h 968"/>
                <a:gd name="T10" fmla="*/ 901 w 2252"/>
                <a:gd name="T11" fmla="*/ 608 h 968"/>
                <a:gd name="T12" fmla="*/ 675 w 2252"/>
                <a:gd name="T13" fmla="*/ 437 h 968"/>
                <a:gd name="T14" fmla="*/ 449 w 2252"/>
                <a:gd name="T15" fmla="*/ 320 h 968"/>
                <a:gd name="T16" fmla="*/ 226 w 2252"/>
                <a:gd name="T17" fmla="*/ 0 h 968"/>
                <a:gd name="T18" fmla="*/ 0 w 2252"/>
                <a:gd name="T19" fmla="*/ 19 h 968"/>
                <a:gd name="T20" fmla="*/ 0 w 2252"/>
                <a:gd name="T21" fmla="*/ 182 h 968"/>
                <a:gd name="T22" fmla="*/ 226 w 2252"/>
                <a:gd name="T23" fmla="*/ 217 h 968"/>
                <a:gd name="T24" fmla="*/ 449 w 2252"/>
                <a:gd name="T25" fmla="*/ 320 h 968"/>
                <a:gd name="T26" fmla="*/ 675 w 2252"/>
                <a:gd name="T27" fmla="*/ 437 h 968"/>
                <a:gd name="T28" fmla="*/ 901 w 2252"/>
                <a:gd name="T29" fmla="*/ 608 h 968"/>
                <a:gd name="T30" fmla="*/ 1125 w 2252"/>
                <a:gd name="T31" fmla="*/ 751 h 968"/>
                <a:gd name="T32" fmla="*/ 1350 w 2252"/>
                <a:gd name="T33" fmla="*/ 847 h 968"/>
                <a:gd name="T34" fmla="*/ 1576 w 2252"/>
                <a:gd name="T35" fmla="*/ 968 h 968"/>
                <a:gd name="T36" fmla="*/ 1800 w 2252"/>
                <a:gd name="T37" fmla="*/ 866 h 968"/>
                <a:gd name="T38" fmla="*/ 2026 w 2252"/>
                <a:gd name="T39" fmla="*/ 730 h 968"/>
                <a:gd name="T40" fmla="*/ 2252 w 2252"/>
                <a:gd name="T41" fmla="*/ 794 h 968"/>
                <a:gd name="T42" fmla="*/ 2252 w 2252"/>
                <a:gd name="T43" fmla="*/ 62 h 968"/>
                <a:gd name="T44" fmla="*/ 2026 w 2252"/>
                <a:gd name="T45" fmla="*/ 105 h 968"/>
                <a:gd name="T46" fmla="*/ 1800 w 2252"/>
                <a:gd name="T47" fmla="*/ 282 h 968"/>
                <a:gd name="T48" fmla="*/ 1576 w 2252"/>
                <a:gd name="T49" fmla="*/ 377 h 968"/>
                <a:gd name="T50" fmla="*/ 1350 w 2252"/>
                <a:gd name="T51" fmla="*/ 308 h 968"/>
                <a:gd name="T52" fmla="*/ 1125 w 2252"/>
                <a:gd name="T53" fmla="*/ 267 h 968"/>
                <a:gd name="T54" fmla="*/ 901 w 2252"/>
                <a:gd name="T55" fmla="*/ 246 h 968"/>
                <a:gd name="T56" fmla="*/ 675 w 2252"/>
                <a:gd name="T57" fmla="*/ 155 h 968"/>
                <a:gd name="T58" fmla="*/ 449 w 2252"/>
                <a:gd name="T59" fmla="*/ 46 h 968"/>
                <a:gd name="T60" fmla="*/ 226 w 2252"/>
                <a:gd name="T61"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52" h="968">
                  <a:moveTo>
                    <a:pt x="449" y="320"/>
                  </a:moveTo>
                  <a:lnTo>
                    <a:pt x="449" y="320"/>
                  </a:lnTo>
                  <a:lnTo>
                    <a:pt x="675" y="437"/>
                  </a:lnTo>
                  <a:lnTo>
                    <a:pt x="901" y="608"/>
                  </a:lnTo>
                  <a:lnTo>
                    <a:pt x="1125" y="751"/>
                  </a:lnTo>
                  <a:lnTo>
                    <a:pt x="901" y="608"/>
                  </a:lnTo>
                  <a:lnTo>
                    <a:pt x="675" y="437"/>
                  </a:lnTo>
                  <a:lnTo>
                    <a:pt x="449" y="320"/>
                  </a:lnTo>
                  <a:close/>
                  <a:moveTo>
                    <a:pt x="226" y="0"/>
                  </a:moveTo>
                  <a:lnTo>
                    <a:pt x="0" y="19"/>
                  </a:lnTo>
                  <a:lnTo>
                    <a:pt x="0" y="182"/>
                  </a:lnTo>
                  <a:lnTo>
                    <a:pt x="226" y="217"/>
                  </a:lnTo>
                  <a:lnTo>
                    <a:pt x="449" y="320"/>
                  </a:lnTo>
                  <a:lnTo>
                    <a:pt x="675" y="437"/>
                  </a:lnTo>
                  <a:lnTo>
                    <a:pt x="901" y="608"/>
                  </a:lnTo>
                  <a:lnTo>
                    <a:pt x="1125" y="751"/>
                  </a:lnTo>
                  <a:lnTo>
                    <a:pt x="1350" y="847"/>
                  </a:lnTo>
                  <a:lnTo>
                    <a:pt x="1576" y="968"/>
                  </a:lnTo>
                  <a:lnTo>
                    <a:pt x="1800" y="866"/>
                  </a:lnTo>
                  <a:lnTo>
                    <a:pt x="2026" y="730"/>
                  </a:lnTo>
                  <a:lnTo>
                    <a:pt x="2252" y="794"/>
                  </a:lnTo>
                  <a:lnTo>
                    <a:pt x="2252" y="62"/>
                  </a:lnTo>
                  <a:lnTo>
                    <a:pt x="2026" y="105"/>
                  </a:lnTo>
                  <a:lnTo>
                    <a:pt x="1800" y="282"/>
                  </a:lnTo>
                  <a:lnTo>
                    <a:pt x="1576" y="377"/>
                  </a:lnTo>
                  <a:lnTo>
                    <a:pt x="1350" y="308"/>
                  </a:lnTo>
                  <a:lnTo>
                    <a:pt x="1125" y="267"/>
                  </a:lnTo>
                  <a:lnTo>
                    <a:pt x="901" y="246"/>
                  </a:lnTo>
                  <a:lnTo>
                    <a:pt x="675" y="155"/>
                  </a:lnTo>
                  <a:lnTo>
                    <a:pt x="449" y="46"/>
                  </a:lnTo>
                  <a:lnTo>
                    <a:pt x="226" y="0"/>
                  </a:lnTo>
                  <a:close/>
                </a:path>
              </a:pathLst>
            </a:custGeom>
            <a:solidFill>
              <a:srgbClr val="A89D95"/>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47">
              <a:extLst>
                <a:ext uri="{FF2B5EF4-FFF2-40B4-BE49-F238E27FC236}">
                  <a16:creationId xmlns:a16="http://schemas.microsoft.com/office/drawing/2014/main" id="{0D502CC8-9193-1F18-4283-92E4D26CA3AF}"/>
                </a:ext>
              </a:extLst>
            </p:cNvPr>
            <p:cNvSpPr>
              <a:spLocks/>
            </p:cNvSpPr>
            <p:nvPr/>
          </p:nvSpPr>
          <p:spPr bwMode="auto">
            <a:xfrm>
              <a:off x="12415838" y="3235325"/>
              <a:ext cx="3575050" cy="909638"/>
            </a:xfrm>
            <a:custGeom>
              <a:avLst/>
              <a:gdLst>
                <a:gd name="T0" fmla="*/ 0 w 2252"/>
                <a:gd name="T1" fmla="*/ 0 h 573"/>
                <a:gd name="T2" fmla="*/ 226 w 2252"/>
                <a:gd name="T3" fmla="*/ 10 h 573"/>
                <a:gd name="T4" fmla="*/ 449 w 2252"/>
                <a:gd name="T5" fmla="*/ 84 h 573"/>
                <a:gd name="T6" fmla="*/ 675 w 2252"/>
                <a:gd name="T7" fmla="*/ 196 h 573"/>
                <a:gd name="T8" fmla="*/ 901 w 2252"/>
                <a:gd name="T9" fmla="*/ 327 h 573"/>
                <a:gd name="T10" fmla="*/ 1125 w 2252"/>
                <a:gd name="T11" fmla="*/ 408 h 573"/>
                <a:gd name="T12" fmla="*/ 1350 w 2252"/>
                <a:gd name="T13" fmla="*/ 477 h 573"/>
                <a:gd name="T14" fmla="*/ 1576 w 2252"/>
                <a:gd name="T15" fmla="*/ 573 h 573"/>
                <a:gd name="T16" fmla="*/ 1800 w 2252"/>
                <a:gd name="T17" fmla="*/ 472 h 573"/>
                <a:gd name="T18" fmla="*/ 2026 w 2252"/>
                <a:gd name="T19" fmla="*/ 318 h 573"/>
                <a:gd name="T20" fmla="*/ 2252 w 2252"/>
                <a:gd name="T21" fmla="*/ 327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2" h="573">
                  <a:moveTo>
                    <a:pt x="0" y="0"/>
                  </a:moveTo>
                  <a:lnTo>
                    <a:pt x="226" y="10"/>
                  </a:lnTo>
                  <a:lnTo>
                    <a:pt x="449" y="84"/>
                  </a:lnTo>
                  <a:lnTo>
                    <a:pt x="675" y="196"/>
                  </a:lnTo>
                  <a:lnTo>
                    <a:pt x="901" y="327"/>
                  </a:lnTo>
                  <a:lnTo>
                    <a:pt x="1125" y="408"/>
                  </a:lnTo>
                  <a:lnTo>
                    <a:pt x="1350" y="477"/>
                  </a:lnTo>
                  <a:lnTo>
                    <a:pt x="1576" y="573"/>
                  </a:lnTo>
                  <a:lnTo>
                    <a:pt x="1800" y="472"/>
                  </a:lnTo>
                  <a:lnTo>
                    <a:pt x="2026" y="318"/>
                  </a:lnTo>
                  <a:lnTo>
                    <a:pt x="2252" y="327"/>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44">
            <a:extLst>
              <a:ext uri="{FF2B5EF4-FFF2-40B4-BE49-F238E27FC236}">
                <a16:creationId xmlns:a16="http://schemas.microsoft.com/office/drawing/2014/main" id="{073228C3-69DD-CFA0-08C0-78B2D3ADF8FF}"/>
              </a:ext>
            </a:extLst>
          </p:cNvPr>
          <p:cNvGrpSpPr/>
          <p:nvPr/>
        </p:nvGrpSpPr>
        <p:grpSpPr>
          <a:xfrm>
            <a:off x="6445250" y="4362450"/>
            <a:ext cx="2271114" cy="1079500"/>
            <a:chOff x="12267946" y="4516057"/>
            <a:chExt cx="3576638" cy="1955800"/>
          </a:xfrm>
        </p:grpSpPr>
        <p:sp>
          <p:nvSpPr>
            <p:cNvPr id="28" name="Freeform 5">
              <a:extLst>
                <a:ext uri="{FF2B5EF4-FFF2-40B4-BE49-F238E27FC236}">
                  <a16:creationId xmlns:a16="http://schemas.microsoft.com/office/drawing/2014/main" id="{82FCEACC-F4F0-1AD8-1BD6-9EA28A817A49}"/>
                </a:ext>
              </a:extLst>
            </p:cNvPr>
            <p:cNvSpPr>
              <a:spLocks noEditPoints="1"/>
            </p:cNvSpPr>
            <p:nvPr/>
          </p:nvSpPr>
          <p:spPr bwMode="auto">
            <a:xfrm>
              <a:off x="12267946" y="4516057"/>
              <a:ext cx="3576638" cy="1955800"/>
            </a:xfrm>
            <a:custGeom>
              <a:avLst/>
              <a:gdLst>
                <a:gd name="T0" fmla="*/ 901 w 2253"/>
                <a:gd name="T1" fmla="*/ 496 h 1232"/>
                <a:gd name="T2" fmla="*/ 1125 w 2253"/>
                <a:gd name="T3" fmla="*/ 381 h 1232"/>
                <a:gd name="T4" fmla="*/ 0 w 2253"/>
                <a:gd name="T5" fmla="*/ 233 h 1232"/>
                <a:gd name="T6" fmla="*/ 226 w 2253"/>
                <a:gd name="T7" fmla="*/ 426 h 1232"/>
                <a:gd name="T8" fmla="*/ 675 w 2253"/>
                <a:gd name="T9" fmla="*/ 746 h 1232"/>
                <a:gd name="T10" fmla="*/ 1125 w 2253"/>
                <a:gd name="T11" fmla="*/ 1065 h 1232"/>
                <a:gd name="T12" fmla="*/ 1577 w 2253"/>
                <a:gd name="T13" fmla="*/ 1232 h 1232"/>
                <a:gd name="T14" fmla="*/ 2027 w 2253"/>
                <a:gd name="T15" fmla="*/ 1087 h 1232"/>
                <a:gd name="T16" fmla="*/ 2253 w 2253"/>
                <a:gd name="T17" fmla="*/ 1223 h 1232"/>
                <a:gd name="T18" fmla="*/ 1801 w 2253"/>
                <a:gd name="T19" fmla="*/ 1215 h 1232"/>
                <a:gd name="T20" fmla="*/ 1351 w 2253"/>
                <a:gd name="T21" fmla="*/ 1180 h 1232"/>
                <a:gd name="T22" fmla="*/ 901 w 2253"/>
                <a:gd name="T23" fmla="*/ 994 h 1232"/>
                <a:gd name="T24" fmla="*/ 449 w 2253"/>
                <a:gd name="T25" fmla="*/ 589 h 1232"/>
                <a:gd name="T26" fmla="*/ 0 w 2253"/>
                <a:gd name="T27" fmla="*/ 369 h 1232"/>
                <a:gd name="T28" fmla="*/ 1577 w 2253"/>
                <a:gd name="T29" fmla="*/ 267 h 1232"/>
                <a:gd name="T30" fmla="*/ 1351 w 2253"/>
                <a:gd name="T31" fmla="*/ 350 h 1232"/>
                <a:gd name="T32" fmla="*/ 1351 w 2253"/>
                <a:gd name="T33" fmla="*/ 350 h 1232"/>
                <a:gd name="T34" fmla="*/ 2027 w 2253"/>
                <a:gd name="T35" fmla="*/ 0 h 1232"/>
                <a:gd name="T36" fmla="*/ 1577 w 2253"/>
                <a:gd name="T37" fmla="*/ 267 h 1232"/>
                <a:gd name="T38" fmla="*/ 1125 w 2253"/>
                <a:gd name="T39" fmla="*/ 381 h 1232"/>
                <a:gd name="T40" fmla="*/ 901 w 2253"/>
                <a:gd name="T41" fmla="*/ 496 h 1232"/>
                <a:gd name="T42" fmla="*/ 675 w 2253"/>
                <a:gd name="T43" fmla="*/ 388 h 1232"/>
                <a:gd name="T44" fmla="*/ 226 w 2253"/>
                <a:gd name="T45" fmla="*/ 155 h 1232"/>
                <a:gd name="T46" fmla="*/ 0 w 2253"/>
                <a:gd name="T47" fmla="*/ 369 h 1232"/>
                <a:gd name="T48" fmla="*/ 449 w 2253"/>
                <a:gd name="T49" fmla="*/ 589 h 1232"/>
                <a:gd name="T50" fmla="*/ 901 w 2253"/>
                <a:gd name="T51" fmla="*/ 994 h 1232"/>
                <a:gd name="T52" fmla="*/ 1351 w 2253"/>
                <a:gd name="T53" fmla="*/ 1180 h 1232"/>
                <a:gd name="T54" fmla="*/ 1801 w 2253"/>
                <a:gd name="T55" fmla="*/ 1215 h 1232"/>
                <a:gd name="T56" fmla="*/ 2253 w 2253"/>
                <a:gd name="T57" fmla="*/ 1223 h 1232"/>
                <a:gd name="T58" fmla="*/ 2027 w 2253"/>
                <a:gd name="T59" fmla="*/ 872 h 1232"/>
                <a:gd name="T60" fmla="*/ 1577 w 2253"/>
                <a:gd name="T61" fmla="*/ 1041 h 1232"/>
                <a:gd name="T62" fmla="*/ 1125 w 2253"/>
                <a:gd name="T63" fmla="*/ 929 h 1232"/>
                <a:gd name="T64" fmla="*/ 675 w 2253"/>
                <a:gd name="T65" fmla="*/ 677 h 1232"/>
                <a:gd name="T66" fmla="*/ 226 w 2253"/>
                <a:gd name="T67" fmla="*/ 374 h 1232"/>
                <a:gd name="T68" fmla="*/ 0 w 2253"/>
                <a:gd name="T69" fmla="*/ 260 h 1232"/>
                <a:gd name="T70" fmla="*/ 449 w 2253"/>
                <a:gd name="T71" fmla="*/ 314 h 1232"/>
                <a:gd name="T72" fmla="*/ 901 w 2253"/>
                <a:gd name="T73" fmla="*/ 593 h 1232"/>
                <a:gd name="T74" fmla="*/ 901 w 2253"/>
                <a:gd name="T75" fmla="*/ 593 h 1232"/>
                <a:gd name="T76" fmla="*/ 1125 w 2253"/>
                <a:gd name="T77" fmla="*/ 517 h 1232"/>
                <a:gd name="T78" fmla="*/ 1577 w 2253"/>
                <a:gd name="T79" fmla="*/ 457 h 1232"/>
                <a:gd name="T80" fmla="*/ 2027 w 2253"/>
                <a:gd name="T81" fmla="*/ 214 h 1232"/>
                <a:gd name="T82" fmla="*/ 2253 w 2253"/>
                <a:gd name="T83" fmla="*/ 24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53" h="1232">
                  <a:moveTo>
                    <a:pt x="1125" y="381"/>
                  </a:moveTo>
                  <a:lnTo>
                    <a:pt x="901" y="496"/>
                  </a:lnTo>
                  <a:lnTo>
                    <a:pt x="901" y="496"/>
                  </a:lnTo>
                  <a:lnTo>
                    <a:pt x="1125" y="381"/>
                  </a:lnTo>
                  <a:close/>
                  <a:moveTo>
                    <a:pt x="0" y="233"/>
                  </a:moveTo>
                  <a:lnTo>
                    <a:pt x="0" y="233"/>
                  </a:lnTo>
                  <a:lnTo>
                    <a:pt x="0" y="369"/>
                  </a:lnTo>
                  <a:lnTo>
                    <a:pt x="226" y="426"/>
                  </a:lnTo>
                  <a:lnTo>
                    <a:pt x="449" y="589"/>
                  </a:lnTo>
                  <a:lnTo>
                    <a:pt x="675" y="746"/>
                  </a:lnTo>
                  <a:lnTo>
                    <a:pt x="901" y="994"/>
                  </a:lnTo>
                  <a:lnTo>
                    <a:pt x="1125" y="1065"/>
                  </a:lnTo>
                  <a:lnTo>
                    <a:pt x="1351" y="1180"/>
                  </a:lnTo>
                  <a:lnTo>
                    <a:pt x="1577" y="1232"/>
                  </a:lnTo>
                  <a:lnTo>
                    <a:pt x="1801" y="1215"/>
                  </a:lnTo>
                  <a:lnTo>
                    <a:pt x="2027" y="1087"/>
                  </a:lnTo>
                  <a:lnTo>
                    <a:pt x="2253" y="1223"/>
                  </a:lnTo>
                  <a:lnTo>
                    <a:pt x="2253" y="1223"/>
                  </a:lnTo>
                  <a:lnTo>
                    <a:pt x="2027" y="1087"/>
                  </a:lnTo>
                  <a:lnTo>
                    <a:pt x="1801" y="1215"/>
                  </a:lnTo>
                  <a:lnTo>
                    <a:pt x="1577" y="1232"/>
                  </a:lnTo>
                  <a:lnTo>
                    <a:pt x="1351" y="1180"/>
                  </a:lnTo>
                  <a:lnTo>
                    <a:pt x="1125" y="1065"/>
                  </a:lnTo>
                  <a:lnTo>
                    <a:pt x="901" y="994"/>
                  </a:lnTo>
                  <a:lnTo>
                    <a:pt x="675" y="746"/>
                  </a:lnTo>
                  <a:lnTo>
                    <a:pt x="449" y="589"/>
                  </a:lnTo>
                  <a:lnTo>
                    <a:pt x="226" y="426"/>
                  </a:lnTo>
                  <a:lnTo>
                    <a:pt x="0" y="369"/>
                  </a:lnTo>
                  <a:lnTo>
                    <a:pt x="0" y="233"/>
                  </a:lnTo>
                  <a:close/>
                  <a:moveTo>
                    <a:pt x="1577" y="267"/>
                  </a:moveTo>
                  <a:lnTo>
                    <a:pt x="1577" y="267"/>
                  </a:lnTo>
                  <a:lnTo>
                    <a:pt x="1351" y="350"/>
                  </a:lnTo>
                  <a:lnTo>
                    <a:pt x="1125" y="381"/>
                  </a:lnTo>
                  <a:lnTo>
                    <a:pt x="1351" y="350"/>
                  </a:lnTo>
                  <a:lnTo>
                    <a:pt x="1577" y="267"/>
                  </a:lnTo>
                  <a:close/>
                  <a:moveTo>
                    <a:pt x="2027" y="0"/>
                  </a:moveTo>
                  <a:lnTo>
                    <a:pt x="1801" y="207"/>
                  </a:lnTo>
                  <a:lnTo>
                    <a:pt x="1577" y="267"/>
                  </a:lnTo>
                  <a:lnTo>
                    <a:pt x="1351" y="350"/>
                  </a:lnTo>
                  <a:lnTo>
                    <a:pt x="1125" y="381"/>
                  </a:lnTo>
                  <a:lnTo>
                    <a:pt x="901" y="496"/>
                  </a:lnTo>
                  <a:lnTo>
                    <a:pt x="901" y="496"/>
                  </a:lnTo>
                  <a:lnTo>
                    <a:pt x="901" y="496"/>
                  </a:lnTo>
                  <a:lnTo>
                    <a:pt x="675" y="388"/>
                  </a:lnTo>
                  <a:lnTo>
                    <a:pt x="449" y="248"/>
                  </a:lnTo>
                  <a:lnTo>
                    <a:pt x="226" y="155"/>
                  </a:lnTo>
                  <a:lnTo>
                    <a:pt x="0" y="233"/>
                  </a:lnTo>
                  <a:lnTo>
                    <a:pt x="0" y="369"/>
                  </a:lnTo>
                  <a:lnTo>
                    <a:pt x="226" y="426"/>
                  </a:lnTo>
                  <a:lnTo>
                    <a:pt x="449" y="589"/>
                  </a:lnTo>
                  <a:lnTo>
                    <a:pt x="675" y="746"/>
                  </a:lnTo>
                  <a:lnTo>
                    <a:pt x="901" y="994"/>
                  </a:lnTo>
                  <a:lnTo>
                    <a:pt x="1125" y="1065"/>
                  </a:lnTo>
                  <a:lnTo>
                    <a:pt x="1351" y="1180"/>
                  </a:lnTo>
                  <a:lnTo>
                    <a:pt x="1577" y="1232"/>
                  </a:lnTo>
                  <a:lnTo>
                    <a:pt x="1801" y="1215"/>
                  </a:lnTo>
                  <a:lnTo>
                    <a:pt x="2027" y="1087"/>
                  </a:lnTo>
                  <a:lnTo>
                    <a:pt x="2253" y="1223"/>
                  </a:lnTo>
                  <a:lnTo>
                    <a:pt x="2253" y="987"/>
                  </a:lnTo>
                  <a:lnTo>
                    <a:pt x="2027" y="872"/>
                  </a:lnTo>
                  <a:lnTo>
                    <a:pt x="1801" y="1018"/>
                  </a:lnTo>
                  <a:lnTo>
                    <a:pt x="1577" y="1041"/>
                  </a:lnTo>
                  <a:lnTo>
                    <a:pt x="1351" y="1015"/>
                  </a:lnTo>
                  <a:lnTo>
                    <a:pt x="1125" y="929"/>
                  </a:lnTo>
                  <a:lnTo>
                    <a:pt x="901" y="896"/>
                  </a:lnTo>
                  <a:lnTo>
                    <a:pt x="675" y="677"/>
                  </a:lnTo>
                  <a:lnTo>
                    <a:pt x="449" y="522"/>
                  </a:lnTo>
                  <a:lnTo>
                    <a:pt x="226" y="374"/>
                  </a:lnTo>
                  <a:lnTo>
                    <a:pt x="0" y="341"/>
                  </a:lnTo>
                  <a:lnTo>
                    <a:pt x="0" y="260"/>
                  </a:lnTo>
                  <a:lnTo>
                    <a:pt x="226" y="210"/>
                  </a:lnTo>
                  <a:lnTo>
                    <a:pt x="449" y="314"/>
                  </a:lnTo>
                  <a:lnTo>
                    <a:pt x="675" y="460"/>
                  </a:lnTo>
                  <a:lnTo>
                    <a:pt x="901" y="593"/>
                  </a:lnTo>
                  <a:lnTo>
                    <a:pt x="901" y="593"/>
                  </a:lnTo>
                  <a:lnTo>
                    <a:pt x="901" y="593"/>
                  </a:lnTo>
                  <a:lnTo>
                    <a:pt x="901" y="593"/>
                  </a:lnTo>
                  <a:lnTo>
                    <a:pt x="1125" y="517"/>
                  </a:lnTo>
                  <a:lnTo>
                    <a:pt x="1351" y="515"/>
                  </a:lnTo>
                  <a:lnTo>
                    <a:pt x="1577" y="457"/>
                  </a:lnTo>
                  <a:lnTo>
                    <a:pt x="1801" y="405"/>
                  </a:lnTo>
                  <a:lnTo>
                    <a:pt x="2027" y="214"/>
                  </a:lnTo>
                  <a:lnTo>
                    <a:pt x="2253" y="262"/>
                  </a:lnTo>
                  <a:lnTo>
                    <a:pt x="2253" y="24"/>
                  </a:lnTo>
                  <a:lnTo>
                    <a:pt x="2027" y="0"/>
                  </a:lnTo>
                  <a:close/>
                </a:path>
              </a:pathLst>
            </a:custGeom>
            <a:solidFill>
              <a:srgbClr val="D6CEC9"/>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3">
              <a:extLst>
                <a:ext uri="{FF2B5EF4-FFF2-40B4-BE49-F238E27FC236}">
                  <a16:creationId xmlns:a16="http://schemas.microsoft.com/office/drawing/2014/main" id="{60D414A9-BF59-8510-683C-2DF3A9D6F9ED}"/>
                </a:ext>
              </a:extLst>
            </p:cNvPr>
            <p:cNvSpPr>
              <a:spLocks noEditPoints="1"/>
            </p:cNvSpPr>
            <p:nvPr/>
          </p:nvSpPr>
          <p:spPr bwMode="auto">
            <a:xfrm>
              <a:off x="12267946" y="4849432"/>
              <a:ext cx="3576638" cy="1319213"/>
            </a:xfrm>
            <a:custGeom>
              <a:avLst/>
              <a:gdLst>
                <a:gd name="T0" fmla="*/ 1125 w 2253"/>
                <a:gd name="T1" fmla="*/ 307 h 831"/>
                <a:gd name="T2" fmla="*/ 901 w 2253"/>
                <a:gd name="T3" fmla="*/ 383 h 831"/>
                <a:gd name="T4" fmla="*/ 901 w 2253"/>
                <a:gd name="T5" fmla="*/ 383 h 831"/>
                <a:gd name="T6" fmla="*/ 1125 w 2253"/>
                <a:gd name="T7" fmla="*/ 307 h 831"/>
                <a:gd name="T8" fmla="*/ 1577 w 2253"/>
                <a:gd name="T9" fmla="*/ 247 h 831"/>
                <a:gd name="T10" fmla="*/ 1351 w 2253"/>
                <a:gd name="T11" fmla="*/ 305 h 831"/>
                <a:gd name="T12" fmla="*/ 1125 w 2253"/>
                <a:gd name="T13" fmla="*/ 307 h 831"/>
                <a:gd name="T14" fmla="*/ 1351 w 2253"/>
                <a:gd name="T15" fmla="*/ 305 h 831"/>
                <a:gd name="T16" fmla="*/ 1577 w 2253"/>
                <a:gd name="T17" fmla="*/ 247 h 831"/>
                <a:gd name="T18" fmla="*/ 226 w 2253"/>
                <a:gd name="T19" fmla="*/ 0 h 831"/>
                <a:gd name="T20" fmla="*/ 0 w 2253"/>
                <a:gd name="T21" fmla="*/ 50 h 831"/>
                <a:gd name="T22" fmla="*/ 0 w 2253"/>
                <a:gd name="T23" fmla="*/ 131 h 831"/>
                <a:gd name="T24" fmla="*/ 226 w 2253"/>
                <a:gd name="T25" fmla="*/ 164 h 831"/>
                <a:gd name="T26" fmla="*/ 449 w 2253"/>
                <a:gd name="T27" fmla="*/ 312 h 831"/>
                <a:gd name="T28" fmla="*/ 675 w 2253"/>
                <a:gd name="T29" fmla="*/ 467 h 831"/>
                <a:gd name="T30" fmla="*/ 901 w 2253"/>
                <a:gd name="T31" fmla="*/ 686 h 831"/>
                <a:gd name="T32" fmla="*/ 1125 w 2253"/>
                <a:gd name="T33" fmla="*/ 719 h 831"/>
                <a:gd name="T34" fmla="*/ 1351 w 2253"/>
                <a:gd name="T35" fmla="*/ 805 h 831"/>
                <a:gd name="T36" fmla="*/ 1577 w 2253"/>
                <a:gd name="T37" fmla="*/ 831 h 831"/>
                <a:gd name="T38" fmla="*/ 1801 w 2253"/>
                <a:gd name="T39" fmla="*/ 808 h 831"/>
                <a:gd name="T40" fmla="*/ 2027 w 2253"/>
                <a:gd name="T41" fmla="*/ 662 h 831"/>
                <a:gd name="T42" fmla="*/ 2253 w 2253"/>
                <a:gd name="T43" fmla="*/ 777 h 831"/>
                <a:gd name="T44" fmla="*/ 2253 w 2253"/>
                <a:gd name="T45" fmla="*/ 777 h 831"/>
                <a:gd name="T46" fmla="*/ 2027 w 2253"/>
                <a:gd name="T47" fmla="*/ 662 h 831"/>
                <a:gd name="T48" fmla="*/ 1801 w 2253"/>
                <a:gd name="T49" fmla="*/ 808 h 831"/>
                <a:gd name="T50" fmla="*/ 1577 w 2253"/>
                <a:gd name="T51" fmla="*/ 831 h 831"/>
                <a:gd name="T52" fmla="*/ 1351 w 2253"/>
                <a:gd name="T53" fmla="*/ 805 h 831"/>
                <a:gd name="T54" fmla="*/ 1125 w 2253"/>
                <a:gd name="T55" fmla="*/ 719 h 831"/>
                <a:gd name="T56" fmla="*/ 901 w 2253"/>
                <a:gd name="T57" fmla="*/ 686 h 831"/>
                <a:gd name="T58" fmla="*/ 675 w 2253"/>
                <a:gd name="T59" fmla="*/ 467 h 831"/>
                <a:gd name="T60" fmla="*/ 449 w 2253"/>
                <a:gd name="T61" fmla="*/ 312 h 831"/>
                <a:gd name="T62" fmla="*/ 226 w 2253"/>
                <a:gd name="T63" fmla="*/ 164 h 831"/>
                <a:gd name="T64" fmla="*/ 0 w 2253"/>
                <a:gd name="T65" fmla="*/ 131 h 831"/>
                <a:gd name="T66" fmla="*/ 0 w 2253"/>
                <a:gd name="T67" fmla="*/ 50 h 831"/>
                <a:gd name="T68" fmla="*/ 0 w 2253"/>
                <a:gd name="T69" fmla="*/ 131 h 831"/>
                <a:gd name="T70" fmla="*/ 226 w 2253"/>
                <a:gd name="T71" fmla="*/ 164 h 831"/>
                <a:gd name="T72" fmla="*/ 449 w 2253"/>
                <a:gd name="T73" fmla="*/ 312 h 831"/>
                <a:gd name="T74" fmla="*/ 675 w 2253"/>
                <a:gd name="T75" fmla="*/ 467 h 831"/>
                <a:gd name="T76" fmla="*/ 901 w 2253"/>
                <a:gd name="T77" fmla="*/ 686 h 831"/>
                <a:gd name="T78" fmla="*/ 1125 w 2253"/>
                <a:gd name="T79" fmla="*/ 719 h 831"/>
                <a:gd name="T80" fmla="*/ 1351 w 2253"/>
                <a:gd name="T81" fmla="*/ 805 h 831"/>
                <a:gd name="T82" fmla="*/ 1577 w 2253"/>
                <a:gd name="T83" fmla="*/ 831 h 831"/>
                <a:gd name="T84" fmla="*/ 1801 w 2253"/>
                <a:gd name="T85" fmla="*/ 808 h 831"/>
                <a:gd name="T86" fmla="*/ 2027 w 2253"/>
                <a:gd name="T87" fmla="*/ 662 h 831"/>
                <a:gd name="T88" fmla="*/ 2253 w 2253"/>
                <a:gd name="T89" fmla="*/ 777 h 831"/>
                <a:gd name="T90" fmla="*/ 2253 w 2253"/>
                <a:gd name="T91" fmla="*/ 52 h 831"/>
                <a:gd name="T92" fmla="*/ 2027 w 2253"/>
                <a:gd name="T93" fmla="*/ 4 h 831"/>
                <a:gd name="T94" fmla="*/ 1801 w 2253"/>
                <a:gd name="T95" fmla="*/ 195 h 831"/>
                <a:gd name="T96" fmla="*/ 1577 w 2253"/>
                <a:gd name="T97" fmla="*/ 247 h 831"/>
                <a:gd name="T98" fmla="*/ 1351 w 2253"/>
                <a:gd name="T99" fmla="*/ 305 h 831"/>
                <a:gd name="T100" fmla="*/ 1125 w 2253"/>
                <a:gd name="T101" fmla="*/ 307 h 831"/>
                <a:gd name="T102" fmla="*/ 901 w 2253"/>
                <a:gd name="T103" fmla="*/ 383 h 831"/>
                <a:gd name="T104" fmla="*/ 901 w 2253"/>
                <a:gd name="T105" fmla="*/ 383 h 831"/>
                <a:gd name="T106" fmla="*/ 901 w 2253"/>
                <a:gd name="T107" fmla="*/ 383 h 831"/>
                <a:gd name="T108" fmla="*/ 675 w 2253"/>
                <a:gd name="T109" fmla="*/ 250 h 831"/>
                <a:gd name="T110" fmla="*/ 449 w 2253"/>
                <a:gd name="T111" fmla="*/ 104 h 831"/>
                <a:gd name="T112" fmla="*/ 226 w 2253"/>
                <a:gd name="T113" fmla="*/ 0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53" h="831">
                  <a:moveTo>
                    <a:pt x="1125" y="307"/>
                  </a:moveTo>
                  <a:lnTo>
                    <a:pt x="901" y="383"/>
                  </a:lnTo>
                  <a:lnTo>
                    <a:pt x="901" y="383"/>
                  </a:lnTo>
                  <a:lnTo>
                    <a:pt x="1125" y="307"/>
                  </a:lnTo>
                  <a:close/>
                  <a:moveTo>
                    <a:pt x="1577" y="247"/>
                  </a:moveTo>
                  <a:lnTo>
                    <a:pt x="1351" y="305"/>
                  </a:lnTo>
                  <a:lnTo>
                    <a:pt x="1125" y="307"/>
                  </a:lnTo>
                  <a:lnTo>
                    <a:pt x="1351" y="305"/>
                  </a:lnTo>
                  <a:lnTo>
                    <a:pt x="1577" y="247"/>
                  </a:lnTo>
                  <a:close/>
                  <a:moveTo>
                    <a:pt x="226" y="0"/>
                  </a:moveTo>
                  <a:lnTo>
                    <a:pt x="0" y="50"/>
                  </a:lnTo>
                  <a:lnTo>
                    <a:pt x="0" y="131"/>
                  </a:lnTo>
                  <a:lnTo>
                    <a:pt x="226" y="164"/>
                  </a:lnTo>
                  <a:lnTo>
                    <a:pt x="449" y="312"/>
                  </a:lnTo>
                  <a:lnTo>
                    <a:pt x="675" y="467"/>
                  </a:lnTo>
                  <a:lnTo>
                    <a:pt x="901" y="686"/>
                  </a:lnTo>
                  <a:lnTo>
                    <a:pt x="1125" y="719"/>
                  </a:lnTo>
                  <a:lnTo>
                    <a:pt x="1351" y="805"/>
                  </a:lnTo>
                  <a:lnTo>
                    <a:pt x="1577" y="831"/>
                  </a:lnTo>
                  <a:lnTo>
                    <a:pt x="1801" y="808"/>
                  </a:lnTo>
                  <a:lnTo>
                    <a:pt x="2027" y="662"/>
                  </a:lnTo>
                  <a:lnTo>
                    <a:pt x="2253" y="777"/>
                  </a:lnTo>
                  <a:lnTo>
                    <a:pt x="2253" y="777"/>
                  </a:lnTo>
                  <a:lnTo>
                    <a:pt x="2027" y="662"/>
                  </a:lnTo>
                  <a:lnTo>
                    <a:pt x="1801" y="808"/>
                  </a:lnTo>
                  <a:lnTo>
                    <a:pt x="1577" y="831"/>
                  </a:lnTo>
                  <a:lnTo>
                    <a:pt x="1351" y="805"/>
                  </a:lnTo>
                  <a:lnTo>
                    <a:pt x="1125" y="719"/>
                  </a:lnTo>
                  <a:lnTo>
                    <a:pt x="901" y="686"/>
                  </a:lnTo>
                  <a:lnTo>
                    <a:pt x="675" y="467"/>
                  </a:lnTo>
                  <a:lnTo>
                    <a:pt x="449" y="312"/>
                  </a:lnTo>
                  <a:lnTo>
                    <a:pt x="226" y="164"/>
                  </a:lnTo>
                  <a:lnTo>
                    <a:pt x="0" y="131"/>
                  </a:lnTo>
                  <a:lnTo>
                    <a:pt x="0" y="50"/>
                  </a:lnTo>
                  <a:lnTo>
                    <a:pt x="0" y="131"/>
                  </a:lnTo>
                  <a:lnTo>
                    <a:pt x="226" y="164"/>
                  </a:lnTo>
                  <a:lnTo>
                    <a:pt x="449" y="312"/>
                  </a:lnTo>
                  <a:lnTo>
                    <a:pt x="675" y="467"/>
                  </a:lnTo>
                  <a:lnTo>
                    <a:pt x="901" y="686"/>
                  </a:lnTo>
                  <a:lnTo>
                    <a:pt x="1125" y="719"/>
                  </a:lnTo>
                  <a:lnTo>
                    <a:pt x="1351" y="805"/>
                  </a:lnTo>
                  <a:lnTo>
                    <a:pt x="1577" y="831"/>
                  </a:lnTo>
                  <a:lnTo>
                    <a:pt x="1801" y="808"/>
                  </a:lnTo>
                  <a:lnTo>
                    <a:pt x="2027" y="662"/>
                  </a:lnTo>
                  <a:lnTo>
                    <a:pt x="2253" y="777"/>
                  </a:lnTo>
                  <a:lnTo>
                    <a:pt x="2253" y="52"/>
                  </a:lnTo>
                  <a:lnTo>
                    <a:pt x="2027" y="4"/>
                  </a:lnTo>
                  <a:lnTo>
                    <a:pt x="1801" y="195"/>
                  </a:lnTo>
                  <a:lnTo>
                    <a:pt x="1577" y="247"/>
                  </a:lnTo>
                  <a:lnTo>
                    <a:pt x="1351" y="305"/>
                  </a:lnTo>
                  <a:lnTo>
                    <a:pt x="1125" y="307"/>
                  </a:lnTo>
                  <a:lnTo>
                    <a:pt x="901" y="383"/>
                  </a:lnTo>
                  <a:lnTo>
                    <a:pt x="901" y="383"/>
                  </a:lnTo>
                  <a:lnTo>
                    <a:pt x="901" y="383"/>
                  </a:lnTo>
                  <a:lnTo>
                    <a:pt x="675" y="250"/>
                  </a:lnTo>
                  <a:lnTo>
                    <a:pt x="449" y="104"/>
                  </a:lnTo>
                  <a:lnTo>
                    <a:pt x="226" y="0"/>
                  </a:lnTo>
                  <a:close/>
                </a:path>
              </a:pathLst>
            </a:custGeom>
            <a:solidFill>
              <a:srgbClr val="A89D95"/>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1">
              <a:extLst>
                <a:ext uri="{FF2B5EF4-FFF2-40B4-BE49-F238E27FC236}">
                  <a16:creationId xmlns:a16="http://schemas.microsoft.com/office/drawing/2014/main" id="{C44F7811-3739-4E74-0564-48017A99BE05}"/>
                </a:ext>
              </a:extLst>
            </p:cNvPr>
            <p:cNvSpPr>
              <a:spLocks/>
            </p:cNvSpPr>
            <p:nvPr/>
          </p:nvSpPr>
          <p:spPr bwMode="auto">
            <a:xfrm>
              <a:off x="12267946" y="4978020"/>
              <a:ext cx="3576638" cy="752475"/>
            </a:xfrm>
            <a:custGeom>
              <a:avLst/>
              <a:gdLst>
                <a:gd name="T0" fmla="*/ 0 w 2253"/>
                <a:gd name="T1" fmla="*/ 9 h 474"/>
                <a:gd name="T2" fmla="*/ 226 w 2253"/>
                <a:gd name="T3" fmla="*/ 0 h 474"/>
                <a:gd name="T4" fmla="*/ 449 w 2253"/>
                <a:gd name="T5" fmla="*/ 128 h 474"/>
                <a:gd name="T6" fmla="*/ 675 w 2253"/>
                <a:gd name="T7" fmla="*/ 276 h 474"/>
                <a:gd name="T8" fmla="*/ 901 w 2253"/>
                <a:gd name="T9" fmla="*/ 455 h 474"/>
                <a:gd name="T10" fmla="*/ 1125 w 2253"/>
                <a:gd name="T11" fmla="*/ 433 h 474"/>
                <a:gd name="T12" fmla="*/ 1351 w 2253"/>
                <a:gd name="T13" fmla="*/ 474 h 474"/>
                <a:gd name="T14" fmla="*/ 1577 w 2253"/>
                <a:gd name="T15" fmla="*/ 457 h 474"/>
                <a:gd name="T16" fmla="*/ 1801 w 2253"/>
                <a:gd name="T17" fmla="*/ 421 h 474"/>
                <a:gd name="T18" fmla="*/ 2027 w 2253"/>
                <a:gd name="T19" fmla="*/ 252 h 474"/>
                <a:gd name="T20" fmla="*/ 2253 w 2253"/>
                <a:gd name="T21" fmla="*/ 333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3" h="474">
                  <a:moveTo>
                    <a:pt x="0" y="9"/>
                  </a:moveTo>
                  <a:lnTo>
                    <a:pt x="226" y="0"/>
                  </a:lnTo>
                  <a:lnTo>
                    <a:pt x="449" y="128"/>
                  </a:lnTo>
                  <a:lnTo>
                    <a:pt x="675" y="276"/>
                  </a:lnTo>
                  <a:lnTo>
                    <a:pt x="901" y="455"/>
                  </a:lnTo>
                  <a:lnTo>
                    <a:pt x="1125" y="433"/>
                  </a:lnTo>
                  <a:lnTo>
                    <a:pt x="1351" y="474"/>
                  </a:lnTo>
                  <a:lnTo>
                    <a:pt x="1577" y="457"/>
                  </a:lnTo>
                  <a:lnTo>
                    <a:pt x="1801" y="421"/>
                  </a:lnTo>
                  <a:lnTo>
                    <a:pt x="2027" y="252"/>
                  </a:lnTo>
                  <a:lnTo>
                    <a:pt x="2253" y="333"/>
                  </a:lnTo>
                </a:path>
              </a:pathLst>
            </a:custGeom>
            <a:noFill/>
            <a:ln w="1905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932FBCE3-66E8-F74B-4800-26332FFA8110}"/>
              </a:ext>
            </a:extLst>
          </p:cNvPr>
          <p:cNvSpPr>
            <a:spLocks noGrp="1"/>
          </p:cNvSpPr>
          <p:nvPr>
            <p:ph type="title"/>
          </p:nvPr>
        </p:nvSpPr>
        <p:spPr/>
        <p:txBody>
          <a:bodyPr>
            <a:normAutofit fontScale="90000"/>
          </a:bodyPr>
          <a:lstStyle/>
          <a:p>
            <a:r>
              <a:rPr lang="en-GB" cap="none" dirty="0">
                <a:latin typeface="AvenirNext LT Pro Bold" panose="020B0804020202020204" pitchFamily="34" charset="0"/>
              </a:rPr>
              <a:t>The macro economic impact of climate shocks: six times larger than previously thought</a:t>
            </a:r>
          </a:p>
        </p:txBody>
      </p:sp>
      <p:sp>
        <p:nvSpPr>
          <p:cNvPr id="7" name="TextBox 6">
            <a:extLst>
              <a:ext uri="{FF2B5EF4-FFF2-40B4-BE49-F238E27FC236}">
                <a16:creationId xmlns:a16="http://schemas.microsoft.com/office/drawing/2014/main" id="{DFC1597E-6B42-65CC-A758-1B535CA5EB08}"/>
              </a:ext>
            </a:extLst>
          </p:cNvPr>
          <p:cNvSpPr txBox="1"/>
          <p:nvPr/>
        </p:nvSpPr>
        <p:spPr>
          <a:xfrm>
            <a:off x="227981" y="1628775"/>
            <a:ext cx="2423605" cy="1477328"/>
          </a:xfrm>
          <a:prstGeom prst="rect">
            <a:avLst/>
          </a:prstGeom>
          <a:noFill/>
        </p:spPr>
        <p:txBody>
          <a:bodyPr wrap="square" lIns="0" tIns="0" rIns="0" bIns="0">
            <a:spAutoFit/>
          </a:bodyPr>
          <a:lstStyle/>
          <a:p>
            <a:r>
              <a:rPr lang="en-US" sz="1600" dirty="0"/>
              <a:t>A business-as-usual warming (3°C)  scenario leads to a present value welfare loss of 31% and a Social Cost for Carbon of </a:t>
            </a:r>
            <a:r>
              <a:rPr lang="nl-NL" sz="1600" dirty="0"/>
              <a:t>$1,056 per ton of carbon dioxide</a:t>
            </a:r>
            <a:endParaRPr lang="en-GB" sz="1600" dirty="0"/>
          </a:p>
        </p:txBody>
      </p:sp>
      <p:sp>
        <p:nvSpPr>
          <p:cNvPr id="2" name="TextBox 1">
            <a:extLst>
              <a:ext uri="{FF2B5EF4-FFF2-40B4-BE49-F238E27FC236}">
                <a16:creationId xmlns:a16="http://schemas.microsoft.com/office/drawing/2014/main" id="{A7AEC42B-72E9-EAA2-22C9-8F64AEC3D6B1}"/>
              </a:ext>
            </a:extLst>
          </p:cNvPr>
          <p:cNvSpPr txBox="1"/>
          <p:nvPr/>
        </p:nvSpPr>
        <p:spPr>
          <a:xfrm>
            <a:off x="227981" y="6187339"/>
            <a:ext cx="9758819" cy="248719"/>
          </a:xfrm>
          <a:prstGeom prst="rect">
            <a:avLst/>
          </a:prstGeom>
          <a:noFill/>
        </p:spPr>
        <p:txBody>
          <a:bodyPr wrap="square" lIns="0" tIns="0" rIns="0" bIns="0" rtlCol="0" anchor="b" anchorCtr="0">
            <a:noAutofit/>
          </a:bodyPr>
          <a:lstStyle/>
          <a:p>
            <a:pPr defTabSz="806267">
              <a:defRPr/>
            </a:pPr>
            <a:r>
              <a:rPr lang="en-US" sz="1000" dirty="0">
                <a:latin typeface="Aptos Display" panose="020B0004020202020204" pitchFamily="34" charset="0"/>
              </a:rPr>
              <a:t>Source: The Macroeconomic Impact of Climate Change: Global vs. Local Temperature Adrien Bilal and Diego R. </a:t>
            </a:r>
            <a:r>
              <a:rPr lang="en-US" sz="1000" dirty="0" err="1">
                <a:latin typeface="Aptos Display" panose="020B0004020202020204" pitchFamily="34" charset="0"/>
              </a:rPr>
              <a:t>Känzig</a:t>
            </a:r>
            <a:r>
              <a:rPr lang="en-US" sz="1000" dirty="0">
                <a:latin typeface="Aptos Display" panose="020B0004020202020204" pitchFamily="34" charset="0"/>
              </a:rPr>
              <a:t> NBER Working Paper No. 32450.</a:t>
            </a:r>
          </a:p>
        </p:txBody>
      </p:sp>
      <p:sp>
        <p:nvSpPr>
          <p:cNvPr id="4" name="Text Placeholder 4">
            <a:extLst>
              <a:ext uri="{FF2B5EF4-FFF2-40B4-BE49-F238E27FC236}">
                <a16:creationId xmlns:a16="http://schemas.microsoft.com/office/drawing/2014/main" id="{5FD2B38C-A8E4-9F03-6C70-9134251D9755}"/>
              </a:ext>
            </a:extLst>
          </p:cNvPr>
          <p:cNvSpPr txBox="1">
            <a:spLocks/>
          </p:cNvSpPr>
          <p:nvPr/>
        </p:nvSpPr>
        <p:spPr bwMode="gray">
          <a:xfrm>
            <a:off x="2836464" y="1631718"/>
            <a:ext cx="2926080" cy="24622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600" b="1" i="0" u="none" strike="noStrike" kern="0" cap="none" spc="0" normalizeH="0" baseline="0" noProof="0" dirty="0">
                <a:ln>
                  <a:noFill/>
                </a:ln>
                <a:effectLst/>
                <a:uLnTx/>
                <a:uFillTx/>
                <a:latin typeface="+mj-lt"/>
                <a:ea typeface="SimHei"/>
                <a:cs typeface="+mn-cs"/>
              </a:rPr>
              <a:t>Welfare (cons.</a:t>
            </a:r>
            <a:r>
              <a:rPr kumimoji="0" lang="en-US" altLang="zh-TW" sz="1600" b="1" i="0" u="none" strike="noStrike" kern="0" cap="none" spc="0" normalizeH="0" noProof="0" dirty="0">
                <a:ln>
                  <a:noFill/>
                </a:ln>
                <a:effectLst/>
                <a:uLnTx/>
                <a:uFillTx/>
                <a:latin typeface="+mj-lt"/>
                <a:ea typeface="SimHei"/>
                <a:cs typeface="+mn-cs"/>
              </a:rPr>
              <a:t> eq., %)</a:t>
            </a:r>
            <a:endParaRPr kumimoji="0" lang="en-US" altLang="zh-TW" sz="1600" b="1" i="0" u="none" strike="noStrike" kern="0" cap="none" spc="0" normalizeH="0" baseline="0" noProof="0" dirty="0">
              <a:ln>
                <a:noFill/>
              </a:ln>
              <a:effectLst/>
              <a:uLnTx/>
              <a:uFillTx/>
              <a:latin typeface="+mj-lt"/>
              <a:ea typeface="SimHei"/>
              <a:cs typeface="+mn-cs"/>
            </a:endParaRPr>
          </a:p>
        </p:txBody>
      </p:sp>
      <p:graphicFrame>
        <p:nvGraphicFramePr>
          <p:cNvPr id="14" name="Chart 13">
            <a:extLst>
              <a:ext uri="{FF2B5EF4-FFF2-40B4-BE49-F238E27FC236}">
                <a16:creationId xmlns:a16="http://schemas.microsoft.com/office/drawing/2014/main" id="{63F03FB5-38F8-7943-DE49-F1A79426E12C}"/>
              </a:ext>
            </a:extLst>
          </p:cNvPr>
          <p:cNvGraphicFramePr/>
          <p:nvPr>
            <p:extLst>
              <p:ext uri="{D42A27DB-BD31-4B8C-83A1-F6EECF244321}">
                <p14:modId xmlns:p14="http://schemas.microsoft.com/office/powerpoint/2010/main" val="2488808056"/>
              </p:ext>
            </p:extLst>
          </p:nvPr>
        </p:nvGraphicFramePr>
        <p:xfrm>
          <a:off x="2836464" y="1970377"/>
          <a:ext cx="2915858" cy="39909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a:extLst>
              <a:ext uri="{FF2B5EF4-FFF2-40B4-BE49-F238E27FC236}">
                <a16:creationId xmlns:a16="http://schemas.microsoft.com/office/drawing/2014/main" id="{66F002F5-3DB8-47DE-9CC2-68F026E98F96}"/>
              </a:ext>
            </a:extLst>
          </p:cNvPr>
          <p:cNvGraphicFramePr/>
          <p:nvPr/>
        </p:nvGraphicFramePr>
        <p:xfrm>
          <a:off x="5926080" y="4203218"/>
          <a:ext cx="2926080" cy="1758106"/>
        </p:xfrm>
        <a:graphic>
          <a:graphicData uri="http://schemas.openxmlformats.org/drawingml/2006/chart">
            <c:chart xmlns:c="http://schemas.openxmlformats.org/drawingml/2006/chart" xmlns:r="http://schemas.openxmlformats.org/officeDocument/2006/relationships" r:id="rId4"/>
          </a:graphicData>
        </a:graphic>
      </p:graphicFrame>
      <p:grpSp>
        <p:nvGrpSpPr>
          <p:cNvPr id="5" name="Group 4">
            <a:extLst>
              <a:ext uri="{FF2B5EF4-FFF2-40B4-BE49-F238E27FC236}">
                <a16:creationId xmlns:a16="http://schemas.microsoft.com/office/drawing/2014/main" id="{51D81CBE-ADA8-04FA-3587-E12744C479D7}"/>
              </a:ext>
            </a:extLst>
          </p:cNvPr>
          <p:cNvGrpSpPr/>
          <p:nvPr/>
        </p:nvGrpSpPr>
        <p:grpSpPr>
          <a:xfrm>
            <a:off x="5926080" y="1631718"/>
            <a:ext cx="6042086" cy="4329606"/>
            <a:chOff x="5926080" y="1631718"/>
            <a:chExt cx="6042086" cy="4329606"/>
          </a:xfrm>
        </p:grpSpPr>
        <p:graphicFrame>
          <p:nvGraphicFramePr>
            <p:cNvPr id="19" name="Chart 18">
              <a:extLst>
                <a:ext uri="{FF2B5EF4-FFF2-40B4-BE49-F238E27FC236}">
                  <a16:creationId xmlns:a16="http://schemas.microsoft.com/office/drawing/2014/main" id="{08335FED-7386-0181-59B0-573726F3A93D}"/>
                </a:ext>
              </a:extLst>
            </p:cNvPr>
            <p:cNvGraphicFramePr/>
            <p:nvPr/>
          </p:nvGraphicFramePr>
          <p:xfrm>
            <a:off x="9042086" y="1970378"/>
            <a:ext cx="2926080" cy="1758106"/>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 Placeholder 4">
              <a:extLst>
                <a:ext uri="{FF2B5EF4-FFF2-40B4-BE49-F238E27FC236}">
                  <a16:creationId xmlns:a16="http://schemas.microsoft.com/office/drawing/2014/main" id="{BCEE9535-2F25-BDF1-368C-EB40BAAE6BF2}"/>
                </a:ext>
              </a:extLst>
            </p:cNvPr>
            <p:cNvSpPr txBox="1">
              <a:spLocks/>
            </p:cNvSpPr>
            <p:nvPr/>
          </p:nvSpPr>
          <p:spPr bwMode="gray">
            <a:xfrm>
              <a:off x="5937202" y="1631718"/>
              <a:ext cx="2926080" cy="24622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lvl="0">
                <a:buClr>
                  <a:srgbClr val="960021"/>
                </a:buClr>
                <a:defRPr/>
              </a:pPr>
              <a:r>
                <a:rPr lang="en-US" altLang="zh-TW" sz="1600" b="1" kern="0" dirty="0">
                  <a:latin typeface="+mj-lt"/>
                </a:rPr>
                <a:t>Investment</a:t>
              </a:r>
              <a:endParaRPr kumimoji="0" lang="en-US" altLang="zh-TW" sz="1600" b="1" i="0" u="none" strike="noStrike" kern="0" cap="none" spc="0" normalizeH="0" baseline="0" noProof="0" dirty="0">
                <a:ln>
                  <a:noFill/>
                </a:ln>
                <a:effectLst/>
                <a:uLnTx/>
                <a:uFillTx/>
                <a:latin typeface="+mj-lt"/>
                <a:ea typeface="SimHei"/>
                <a:cs typeface="+mn-cs"/>
              </a:endParaRPr>
            </a:p>
          </p:txBody>
        </p:sp>
        <p:sp>
          <p:nvSpPr>
            <p:cNvPr id="8" name="Text Placeholder 4">
              <a:extLst>
                <a:ext uri="{FF2B5EF4-FFF2-40B4-BE49-F238E27FC236}">
                  <a16:creationId xmlns:a16="http://schemas.microsoft.com/office/drawing/2014/main" id="{2CF7B4C0-C7FD-F02E-CF42-4A7CF2773087}"/>
                </a:ext>
              </a:extLst>
            </p:cNvPr>
            <p:cNvSpPr txBox="1">
              <a:spLocks/>
            </p:cNvSpPr>
            <p:nvPr/>
          </p:nvSpPr>
          <p:spPr bwMode="gray">
            <a:xfrm>
              <a:off x="9037939" y="1631718"/>
              <a:ext cx="2926080" cy="24622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lvl="0">
                <a:buClr>
                  <a:srgbClr val="960021"/>
                </a:buClr>
                <a:defRPr/>
              </a:pPr>
              <a:r>
                <a:rPr lang="en-US" altLang="zh-TW" sz="1600" b="1" kern="0" dirty="0">
                  <a:latin typeface="+mj-lt"/>
                </a:rPr>
                <a:t>Capital</a:t>
              </a:r>
              <a:endParaRPr kumimoji="0" lang="en-US" altLang="zh-TW" sz="1600" b="1" i="0" u="none" strike="noStrike" kern="0" cap="none" spc="0" normalizeH="0" baseline="0" noProof="0" dirty="0">
                <a:ln>
                  <a:noFill/>
                </a:ln>
                <a:effectLst/>
                <a:uLnTx/>
                <a:uFillTx/>
                <a:latin typeface="+mj-lt"/>
                <a:ea typeface="SimHei"/>
                <a:cs typeface="+mn-cs"/>
              </a:endParaRPr>
            </a:p>
          </p:txBody>
        </p:sp>
        <p:sp>
          <p:nvSpPr>
            <p:cNvPr id="9" name="Text Placeholder 4">
              <a:extLst>
                <a:ext uri="{FF2B5EF4-FFF2-40B4-BE49-F238E27FC236}">
                  <a16:creationId xmlns:a16="http://schemas.microsoft.com/office/drawing/2014/main" id="{71605955-0289-AA61-60E1-736816F5601C}"/>
                </a:ext>
              </a:extLst>
            </p:cNvPr>
            <p:cNvSpPr txBox="1">
              <a:spLocks/>
            </p:cNvSpPr>
            <p:nvPr/>
          </p:nvSpPr>
          <p:spPr bwMode="gray">
            <a:xfrm>
              <a:off x="5937202" y="3858007"/>
              <a:ext cx="2926080" cy="24622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lvl="0">
                <a:buClr>
                  <a:srgbClr val="960021"/>
                </a:buClr>
                <a:defRPr/>
              </a:pPr>
              <a:r>
                <a:rPr lang="en-US" altLang="zh-TW" sz="1600" b="1" kern="0" dirty="0">
                  <a:latin typeface="+mj-lt"/>
                </a:rPr>
                <a:t>Total factor productivity</a:t>
              </a:r>
              <a:endParaRPr kumimoji="0" lang="en-US" altLang="zh-TW" sz="1600" b="1" i="0" u="none" strike="noStrike" kern="0" cap="none" spc="0" normalizeH="0" baseline="0" noProof="0" dirty="0">
                <a:ln>
                  <a:noFill/>
                </a:ln>
                <a:effectLst/>
                <a:uLnTx/>
                <a:uFillTx/>
                <a:latin typeface="+mj-lt"/>
                <a:ea typeface="SimHei"/>
                <a:cs typeface="+mn-cs"/>
              </a:endParaRPr>
            </a:p>
          </p:txBody>
        </p:sp>
        <p:sp>
          <p:nvSpPr>
            <p:cNvPr id="10" name="Text Placeholder 4">
              <a:extLst>
                <a:ext uri="{FF2B5EF4-FFF2-40B4-BE49-F238E27FC236}">
                  <a16:creationId xmlns:a16="http://schemas.microsoft.com/office/drawing/2014/main" id="{39D4D7DD-0AD8-A710-8F0B-D4698023F91F}"/>
                </a:ext>
              </a:extLst>
            </p:cNvPr>
            <p:cNvSpPr txBox="1">
              <a:spLocks/>
            </p:cNvSpPr>
            <p:nvPr/>
          </p:nvSpPr>
          <p:spPr bwMode="gray">
            <a:xfrm>
              <a:off x="9037939" y="3858007"/>
              <a:ext cx="2926080" cy="24622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lvl="0">
                <a:buClr>
                  <a:srgbClr val="960021"/>
                </a:buClr>
                <a:defRPr/>
              </a:pPr>
              <a:r>
                <a:rPr lang="en-US" altLang="zh-TW" sz="1600" b="1" kern="0" dirty="0">
                  <a:latin typeface="+mj-lt"/>
                </a:rPr>
                <a:t>Labor productivity</a:t>
              </a:r>
              <a:endParaRPr kumimoji="0" lang="en-US" altLang="zh-TW" sz="1600" b="1" i="0" u="none" strike="noStrike" kern="0" cap="none" spc="0" normalizeH="0" baseline="0" noProof="0" dirty="0">
                <a:ln>
                  <a:noFill/>
                </a:ln>
                <a:effectLst/>
                <a:uLnTx/>
                <a:uFillTx/>
                <a:latin typeface="+mj-lt"/>
                <a:ea typeface="SimHei"/>
                <a:cs typeface="+mn-cs"/>
              </a:endParaRPr>
            </a:p>
          </p:txBody>
        </p:sp>
        <p:graphicFrame>
          <p:nvGraphicFramePr>
            <p:cNvPr id="16" name="Chart 15">
              <a:extLst>
                <a:ext uri="{FF2B5EF4-FFF2-40B4-BE49-F238E27FC236}">
                  <a16:creationId xmlns:a16="http://schemas.microsoft.com/office/drawing/2014/main" id="{C81C8459-D9D6-F527-9033-C4C867634C48}"/>
                </a:ext>
              </a:extLst>
            </p:cNvPr>
            <p:cNvGraphicFramePr/>
            <p:nvPr/>
          </p:nvGraphicFramePr>
          <p:xfrm>
            <a:off x="5926080" y="1970378"/>
            <a:ext cx="2926080" cy="175810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id="{E59E967E-0DF7-A407-3E00-D3AE182E6F20}"/>
                </a:ext>
              </a:extLst>
            </p:cNvPr>
            <p:cNvGraphicFramePr/>
            <p:nvPr/>
          </p:nvGraphicFramePr>
          <p:xfrm>
            <a:off x="9042086" y="4203218"/>
            <a:ext cx="2926080" cy="1758106"/>
          </p:xfrm>
          <a:graphic>
            <a:graphicData uri="http://schemas.openxmlformats.org/drawingml/2006/chart">
              <c:chart xmlns:c="http://schemas.openxmlformats.org/drawingml/2006/chart" xmlns:r="http://schemas.openxmlformats.org/officeDocument/2006/relationships" r:id="rId7"/>
            </a:graphicData>
          </a:graphic>
        </p:graphicFrame>
      </p:grpSp>
      <p:grpSp>
        <p:nvGrpSpPr>
          <p:cNvPr id="165" name="Group 164">
            <a:extLst>
              <a:ext uri="{FF2B5EF4-FFF2-40B4-BE49-F238E27FC236}">
                <a16:creationId xmlns:a16="http://schemas.microsoft.com/office/drawing/2014/main" id="{6C882704-5DF8-9904-41AA-6D5393FF70CF}"/>
              </a:ext>
            </a:extLst>
          </p:cNvPr>
          <p:cNvGrpSpPr/>
          <p:nvPr/>
        </p:nvGrpSpPr>
        <p:grpSpPr>
          <a:xfrm>
            <a:off x="3240646" y="4765901"/>
            <a:ext cx="1677692" cy="670453"/>
            <a:chOff x="833623" y="4019589"/>
            <a:chExt cx="1677692" cy="670453"/>
          </a:xfrm>
        </p:grpSpPr>
        <p:sp>
          <p:nvSpPr>
            <p:cNvPr id="128" name="TextBox 127">
              <a:extLst>
                <a:ext uri="{FF2B5EF4-FFF2-40B4-BE49-F238E27FC236}">
                  <a16:creationId xmlns:a16="http://schemas.microsoft.com/office/drawing/2014/main" id="{F1F72661-5FE8-A381-C9F1-EE8A829A8711}"/>
                </a:ext>
              </a:extLst>
            </p:cNvPr>
            <p:cNvSpPr txBox="1"/>
            <p:nvPr/>
          </p:nvSpPr>
          <p:spPr>
            <a:xfrm>
              <a:off x="1267385" y="4019589"/>
              <a:ext cx="1243930" cy="169277"/>
            </a:xfrm>
            <a:prstGeom prst="rect">
              <a:avLst/>
            </a:prstGeom>
            <a:noFill/>
          </p:spPr>
          <p:txBody>
            <a:bodyPr wrap="none" lIns="0" tIns="0" rIns="0" bIns="0">
              <a:spAutoFit/>
            </a:bodyPr>
            <a:lstStyle/>
            <a:p>
              <a:r>
                <a:rPr lang="en-US" sz="1100" dirty="0"/>
                <a:t>Global </a:t>
              </a:r>
              <a:r>
                <a:rPr lang="en-US" sz="1100" i="1" dirty="0"/>
                <a:t>T</a:t>
              </a:r>
              <a:r>
                <a:rPr lang="en-US" sz="1100" dirty="0"/>
                <a:t>, prod. and dep.</a:t>
              </a:r>
            </a:p>
          </p:txBody>
        </p:sp>
        <p:sp>
          <p:nvSpPr>
            <p:cNvPr id="129" name="TextBox 128">
              <a:extLst>
                <a:ext uri="{FF2B5EF4-FFF2-40B4-BE49-F238E27FC236}">
                  <a16:creationId xmlns:a16="http://schemas.microsoft.com/office/drawing/2014/main" id="{B3FA0551-1AE8-72A3-9930-60867A210780}"/>
                </a:ext>
              </a:extLst>
            </p:cNvPr>
            <p:cNvSpPr txBox="1"/>
            <p:nvPr/>
          </p:nvSpPr>
          <p:spPr>
            <a:xfrm>
              <a:off x="1267385" y="4270177"/>
              <a:ext cx="1006686" cy="169277"/>
            </a:xfrm>
            <a:prstGeom prst="rect">
              <a:avLst/>
            </a:prstGeom>
            <a:noFill/>
          </p:spPr>
          <p:txBody>
            <a:bodyPr wrap="none" lIns="0" tIns="0" rIns="0" bIns="0">
              <a:spAutoFit/>
            </a:bodyPr>
            <a:lstStyle/>
            <a:p>
              <a:r>
                <a:rPr lang="en-US" sz="1100" dirty="0"/>
                <a:t>Global </a:t>
              </a:r>
              <a:r>
                <a:rPr lang="en-US" sz="1100" i="1" dirty="0"/>
                <a:t>T</a:t>
              </a:r>
              <a:r>
                <a:rPr lang="en-US" sz="1100" dirty="0"/>
                <a:t>, prod. only</a:t>
              </a:r>
            </a:p>
          </p:txBody>
        </p:sp>
        <p:sp>
          <p:nvSpPr>
            <p:cNvPr id="130" name="TextBox 129">
              <a:extLst>
                <a:ext uri="{FF2B5EF4-FFF2-40B4-BE49-F238E27FC236}">
                  <a16:creationId xmlns:a16="http://schemas.microsoft.com/office/drawing/2014/main" id="{F860B99F-3F87-A65E-2048-52F11F142336}"/>
                </a:ext>
              </a:extLst>
            </p:cNvPr>
            <p:cNvSpPr txBox="1"/>
            <p:nvPr/>
          </p:nvSpPr>
          <p:spPr>
            <a:xfrm>
              <a:off x="1267385" y="4520765"/>
              <a:ext cx="948978" cy="169277"/>
            </a:xfrm>
            <a:prstGeom prst="rect">
              <a:avLst/>
            </a:prstGeom>
            <a:noFill/>
          </p:spPr>
          <p:txBody>
            <a:bodyPr wrap="none" lIns="0" tIns="0" rIns="0" bIns="0">
              <a:spAutoFit/>
            </a:bodyPr>
            <a:lstStyle/>
            <a:p>
              <a:r>
                <a:rPr lang="en-US" sz="1100" dirty="0"/>
                <a:t>Local </a:t>
              </a:r>
              <a:r>
                <a:rPr lang="en-US" sz="1100" i="1" dirty="0"/>
                <a:t>T</a:t>
              </a:r>
              <a:r>
                <a:rPr lang="en-US" sz="1100" dirty="0"/>
                <a:t>, prod. only</a:t>
              </a:r>
            </a:p>
          </p:txBody>
        </p:sp>
        <p:sp>
          <p:nvSpPr>
            <p:cNvPr id="158" name="Line 115">
              <a:extLst>
                <a:ext uri="{FF2B5EF4-FFF2-40B4-BE49-F238E27FC236}">
                  <a16:creationId xmlns:a16="http://schemas.microsoft.com/office/drawing/2014/main" id="{8DB26DCC-4F07-E8BB-06F1-A70301CFA409}"/>
                </a:ext>
              </a:extLst>
            </p:cNvPr>
            <p:cNvSpPr>
              <a:spLocks noChangeShapeType="1"/>
            </p:cNvSpPr>
            <p:nvPr/>
          </p:nvSpPr>
          <p:spPr bwMode="auto">
            <a:xfrm>
              <a:off x="843148" y="4108320"/>
              <a:ext cx="323850" cy="0"/>
            </a:xfrm>
            <a:prstGeom prst="line">
              <a:avLst/>
            </a:prstGeom>
            <a:noFill/>
            <a:ln w="19050" cap="rnd">
              <a:solidFill>
                <a:srgbClr val="92847A"/>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Freeform 117">
              <a:extLst>
                <a:ext uri="{FF2B5EF4-FFF2-40B4-BE49-F238E27FC236}">
                  <a16:creationId xmlns:a16="http://schemas.microsoft.com/office/drawing/2014/main" id="{805C0E08-8491-AA12-2B31-092553B062B9}"/>
                </a:ext>
              </a:extLst>
            </p:cNvPr>
            <p:cNvSpPr>
              <a:spLocks noEditPoints="1"/>
            </p:cNvSpPr>
            <p:nvPr/>
          </p:nvSpPr>
          <p:spPr bwMode="auto">
            <a:xfrm>
              <a:off x="833623" y="4345290"/>
              <a:ext cx="342900" cy="19050"/>
            </a:xfrm>
            <a:custGeom>
              <a:avLst/>
              <a:gdLst>
                <a:gd name="T0" fmla="*/ 24 w 864"/>
                <a:gd name="T1" fmla="*/ 0 h 48"/>
                <a:gd name="T2" fmla="*/ 168 w 864"/>
                <a:gd name="T3" fmla="*/ 0 h 48"/>
                <a:gd name="T4" fmla="*/ 192 w 864"/>
                <a:gd name="T5" fmla="*/ 24 h 48"/>
                <a:gd name="T6" fmla="*/ 168 w 864"/>
                <a:gd name="T7" fmla="*/ 48 h 48"/>
                <a:gd name="T8" fmla="*/ 24 w 864"/>
                <a:gd name="T9" fmla="*/ 48 h 48"/>
                <a:gd name="T10" fmla="*/ 0 w 864"/>
                <a:gd name="T11" fmla="*/ 24 h 48"/>
                <a:gd name="T12" fmla="*/ 24 w 864"/>
                <a:gd name="T13" fmla="*/ 0 h 48"/>
                <a:gd name="T14" fmla="*/ 360 w 864"/>
                <a:gd name="T15" fmla="*/ 0 h 48"/>
                <a:gd name="T16" fmla="*/ 504 w 864"/>
                <a:gd name="T17" fmla="*/ 0 h 48"/>
                <a:gd name="T18" fmla="*/ 528 w 864"/>
                <a:gd name="T19" fmla="*/ 24 h 48"/>
                <a:gd name="T20" fmla="*/ 504 w 864"/>
                <a:gd name="T21" fmla="*/ 48 h 48"/>
                <a:gd name="T22" fmla="*/ 360 w 864"/>
                <a:gd name="T23" fmla="*/ 48 h 48"/>
                <a:gd name="T24" fmla="*/ 336 w 864"/>
                <a:gd name="T25" fmla="*/ 24 h 48"/>
                <a:gd name="T26" fmla="*/ 360 w 864"/>
                <a:gd name="T27" fmla="*/ 0 h 48"/>
                <a:gd name="T28" fmla="*/ 696 w 864"/>
                <a:gd name="T29" fmla="*/ 0 h 48"/>
                <a:gd name="T30" fmla="*/ 840 w 864"/>
                <a:gd name="T31" fmla="*/ 0 h 48"/>
                <a:gd name="T32" fmla="*/ 864 w 864"/>
                <a:gd name="T33" fmla="*/ 24 h 48"/>
                <a:gd name="T34" fmla="*/ 840 w 864"/>
                <a:gd name="T35" fmla="*/ 48 h 48"/>
                <a:gd name="T36" fmla="*/ 696 w 864"/>
                <a:gd name="T37" fmla="*/ 48 h 48"/>
                <a:gd name="T38" fmla="*/ 672 w 864"/>
                <a:gd name="T39" fmla="*/ 24 h 48"/>
                <a:gd name="T40" fmla="*/ 696 w 864"/>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4" h="48">
                  <a:moveTo>
                    <a:pt x="24" y="0"/>
                  </a:moveTo>
                  <a:lnTo>
                    <a:pt x="168" y="0"/>
                  </a:lnTo>
                  <a:cubicBezTo>
                    <a:pt x="182" y="0"/>
                    <a:pt x="192" y="11"/>
                    <a:pt x="192" y="24"/>
                  </a:cubicBezTo>
                  <a:cubicBezTo>
                    <a:pt x="192" y="38"/>
                    <a:pt x="182" y="48"/>
                    <a:pt x="168" y="48"/>
                  </a:cubicBezTo>
                  <a:lnTo>
                    <a:pt x="24" y="48"/>
                  </a:lnTo>
                  <a:cubicBezTo>
                    <a:pt x="11" y="48"/>
                    <a:pt x="0" y="38"/>
                    <a:pt x="0" y="24"/>
                  </a:cubicBezTo>
                  <a:cubicBezTo>
                    <a:pt x="0" y="11"/>
                    <a:pt x="11" y="0"/>
                    <a:pt x="24" y="0"/>
                  </a:cubicBezTo>
                  <a:close/>
                  <a:moveTo>
                    <a:pt x="360" y="0"/>
                  </a:moveTo>
                  <a:lnTo>
                    <a:pt x="504" y="0"/>
                  </a:lnTo>
                  <a:cubicBezTo>
                    <a:pt x="518" y="0"/>
                    <a:pt x="528" y="11"/>
                    <a:pt x="528" y="24"/>
                  </a:cubicBezTo>
                  <a:cubicBezTo>
                    <a:pt x="528" y="38"/>
                    <a:pt x="518" y="48"/>
                    <a:pt x="504" y="48"/>
                  </a:cubicBezTo>
                  <a:lnTo>
                    <a:pt x="360" y="48"/>
                  </a:lnTo>
                  <a:cubicBezTo>
                    <a:pt x="347" y="48"/>
                    <a:pt x="336" y="38"/>
                    <a:pt x="336" y="24"/>
                  </a:cubicBezTo>
                  <a:cubicBezTo>
                    <a:pt x="336" y="11"/>
                    <a:pt x="347" y="0"/>
                    <a:pt x="360" y="0"/>
                  </a:cubicBezTo>
                  <a:close/>
                  <a:moveTo>
                    <a:pt x="696" y="0"/>
                  </a:moveTo>
                  <a:lnTo>
                    <a:pt x="840" y="0"/>
                  </a:lnTo>
                  <a:cubicBezTo>
                    <a:pt x="854" y="0"/>
                    <a:pt x="864" y="11"/>
                    <a:pt x="864" y="24"/>
                  </a:cubicBezTo>
                  <a:cubicBezTo>
                    <a:pt x="864" y="38"/>
                    <a:pt x="854" y="48"/>
                    <a:pt x="840" y="48"/>
                  </a:cubicBezTo>
                  <a:lnTo>
                    <a:pt x="696" y="48"/>
                  </a:lnTo>
                  <a:cubicBezTo>
                    <a:pt x="683" y="48"/>
                    <a:pt x="672" y="38"/>
                    <a:pt x="672" y="24"/>
                  </a:cubicBezTo>
                  <a:cubicBezTo>
                    <a:pt x="672" y="11"/>
                    <a:pt x="683" y="0"/>
                    <a:pt x="696" y="0"/>
                  </a:cubicBezTo>
                  <a:close/>
                </a:path>
              </a:pathLst>
            </a:custGeom>
            <a:solidFill>
              <a:srgbClr val="8E654C"/>
            </a:solidFill>
            <a:ln w="1588" cap="flat">
              <a:solidFill>
                <a:srgbClr val="8E654C"/>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19">
              <a:extLst>
                <a:ext uri="{FF2B5EF4-FFF2-40B4-BE49-F238E27FC236}">
                  <a16:creationId xmlns:a16="http://schemas.microsoft.com/office/drawing/2014/main" id="{5F605FBF-8E75-9D9A-B9B9-EDEF32A5DA62}"/>
                </a:ext>
              </a:extLst>
            </p:cNvPr>
            <p:cNvSpPr>
              <a:spLocks noEditPoints="1"/>
            </p:cNvSpPr>
            <p:nvPr/>
          </p:nvSpPr>
          <p:spPr bwMode="auto">
            <a:xfrm>
              <a:off x="833623" y="4595878"/>
              <a:ext cx="342900" cy="19050"/>
            </a:xfrm>
            <a:custGeom>
              <a:avLst/>
              <a:gdLst>
                <a:gd name="T0" fmla="*/ 24 w 864"/>
                <a:gd name="T1" fmla="*/ 0 h 48"/>
                <a:gd name="T2" fmla="*/ 168 w 864"/>
                <a:gd name="T3" fmla="*/ 0 h 48"/>
                <a:gd name="T4" fmla="*/ 192 w 864"/>
                <a:gd name="T5" fmla="*/ 24 h 48"/>
                <a:gd name="T6" fmla="*/ 168 w 864"/>
                <a:gd name="T7" fmla="*/ 48 h 48"/>
                <a:gd name="T8" fmla="*/ 24 w 864"/>
                <a:gd name="T9" fmla="*/ 48 h 48"/>
                <a:gd name="T10" fmla="*/ 0 w 864"/>
                <a:gd name="T11" fmla="*/ 24 h 48"/>
                <a:gd name="T12" fmla="*/ 24 w 864"/>
                <a:gd name="T13" fmla="*/ 0 h 48"/>
                <a:gd name="T14" fmla="*/ 360 w 864"/>
                <a:gd name="T15" fmla="*/ 0 h 48"/>
                <a:gd name="T16" fmla="*/ 504 w 864"/>
                <a:gd name="T17" fmla="*/ 0 h 48"/>
                <a:gd name="T18" fmla="*/ 528 w 864"/>
                <a:gd name="T19" fmla="*/ 24 h 48"/>
                <a:gd name="T20" fmla="*/ 504 w 864"/>
                <a:gd name="T21" fmla="*/ 48 h 48"/>
                <a:gd name="T22" fmla="*/ 360 w 864"/>
                <a:gd name="T23" fmla="*/ 48 h 48"/>
                <a:gd name="T24" fmla="*/ 336 w 864"/>
                <a:gd name="T25" fmla="*/ 24 h 48"/>
                <a:gd name="T26" fmla="*/ 360 w 864"/>
                <a:gd name="T27" fmla="*/ 0 h 48"/>
                <a:gd name="T28" fmla="*/ 696 w 864"/>
                <a:gd name="T29" fmla="*/ 0 h 48"/>
                <a:gd name="T30" fmla="*/ 840 w 864"/>
                <a:gd name="T31" fmla="*/ 0 h 48"/>
                <a:gd name="T32" fmla="*/ 864 w 864"/>
                <a:gd name="T33" fmla="*/ 24 h 48"/>
                <a:gd name="T34" fmla="*/ 840 w 864"/>
                <a:gd name="T35" fmla="*/ 48 h 48"/>
                <a:gd name="T36" fmla="*/ 696 w 864"/>
                <a:gd name="T37" fmla="*/ 48 h 48"/>
                <a:gd name="T38" fmla="*/ 672 w 864"/>
                <a:gd name="T39" fmla="*/ 24 h 48"/>
                <a:gd name="T40" fmla="*/ 696 w 864"/>
                <a:gd name="T4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4" h="48">
                  <a:moveTo>
                    <a:pt x="24" y="0"/>
                  </a:moveTo>
                  <a:lnTo>
                    <a:pt x="168" y="0"/>
                  </a:lnTo>
                  <a:cubicBezTo>
                    <a:pt x="182" y="0"/>
                    <a:pt x="192" y="11"/>
                    <a:pt x="192" y="24"/>
                  </a:cubicBezTo>
                  <a:cubicBezTo>
                    <a:pt x="192" y="38"/>
                    <a:pt x="182" y="48"/>
                    <a:pt x="168" y="48"/>
                  </a:cubicBezTo>
                  <a:lnTo>
                    <a:pt x="24" y="48"/>
                  </a:lnTo>
                  <a:cubicBezTo>
                    <a:pt x="11" y="48"/>
                    <a:pt x="0" y="38"/>
                    <a:pt x="0" y="24"/>
                  </a:cubicBezTo>
                  <a:cubicBezTo>
                    <a:pt x="0" y="11"/>
                    <a:pt x="11" y="0"/>
                    <a:pt x="24" y="0"/>
                  </a:cubicBezTo>
                  <a:close/>
                  <a:moveTo>
                    <a:pt x="360" y="0"/>
                  </a:moveTo>
                  <a:lnTo>
                    <a:pt x="504" y="0"/>
                  </a:lnTo>
                  <a:cubicBezTo>
                    <a:pt x="518" y="0"/>
                    <a:pt x="528" y="11"/>
                    <a:pt x="528" y="24"/>
                  </a:cubicBezTo>
                  <a:cubicBezTo>
                    <a:pt x="528" y="38"/>
                    <a:pt x="518" y="48"/>
                    <a:pt x="504" y="48"/>
                  </a:cubicBezTo>
                  <a:lnTo>
                    <a:pt x="360" y="48"/>
                  </a:lnTo>
                  <a:cubicBezTo>
                    <a:pt x="347" y="48"/>
                    <a:pt x="336" y="38"/>
                    <a:pt x="336" y="24"/>
                  </a:cubicBezTo>
                  <a:cubicBezTo>
                    <a:pt x="336" y="11"/>
                    <a:pt x="347" y="0"/>
                    <a:pt x="360" y="0"/>
                  </a:cubicBezTo>
                  <a:close/>
                  <a:moveTo>
                    <a:pt x="696" y="0"/>
                  </a:moveTo>
                  <a:lnTo>
                    <a:pt x="840" y="0"/>
                  </a:lnTo>
                  <a:cubicBezTo>
                    <a:pt x="854" y="0"/>
                    <a:pt x="864" y="11"/>
                    <a:pt x="864" y="24"/>
                  </a:cubicBezTo>
                  <a:cubicBezTo>
                    <a:pt x="864" y="38"/>
                    <a:pt x="854" y="48"/>
                    <a:pt x="840" y="48"/>
                  </a:cubicBezTo>
                  <a:lnTo>
                    <a:pt x="696" y="48"/>
                  </a:lnTo>
                  <a:cubicBezTo>
                    <a:pt x="683" y="48"/>
                    <a:pt x="672" y="38"/>
                    <a:pt x="672" y="24"/>
                  </a:cubicBezTo>
                  <a:cubicBezTo>
                    <a:pt x="672" y="11"/>
                    <a:pt x="683" y="0"/>
                    <a:pt x="696" y="0"/>
                  </a:cubicBezTo>
                  <a:close/>
                </a:path>
              </a:pathLst>
            </a:custGeom>
            <a:solidFill>
              <a:srgbClr val="6B879D"/>
            </a:solidFill>
            <a:ln w="1588" cap="flat">
              <a:solidFill>
                <a:srgbClr val="6B879D"/>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 name="TextBox 10">
            <a:extLst>
              <a:ext uri="{FF2B5EF4-FFF2-40B4-BE49-F238E27FC236}">
                <a16:creationId xmlns:a16="http://schemas.microsoft.com/office/drawing/2014/main" id="{8F972721-5452-0412-0A1F-503F8F75ABB6}"/>
              </a:ext>
            </a:extLst>
          </p:cNvPr>
          <p:cNvSpPr txBox="1"/>
          <p:nvPr/>
        </p:nvSpPr>
        <p:spPr>
          <a:xfrm>
            <a:off x="3063646" y="5738523"/>
            <a:ext cx="2605053" cy="523220"/>
          </a:xfrm>
          <a:prstGeom prst="rect">
            <a:avLst/>
          </a:prstGeom>
          <a:noFill/>
        </p:spPr>
        <p:txBody>
          <a:bodyPr wrap="square" rtlCol="0">
            <a:spAutoFit/>
          </a:bodyPr>
          <a:lstStyle/>
          <a:p>
            <a:r>
              <a:rPr lang="en-US" sz="1000" b="1" dirty="0"/>
              <a:t>2100 temperature vs. pre-industrial (C)</a:t>
            </a:r>
          </a:p>
          <a:p>
            <a:endParaRPr lang="en-GB" dirty="0"/>
          </a:p>
        </p:txBody>
      </p:sp>
    </p:spTree>
    <p:extLst>
      <p:ext uri="{BB962C8B-B14F-4D97-AF65-F5344CB8AC3E}">
        <p14:creationId xmlns:p14="http://schemas.microsoft.com/office/powerpoint/2010/main" val="14415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Text&#10;&#10;Description automatically generated with medium confidence">
            <a:extLst>
              <a:ext uri="{FF2B5EF4-FFF2-40B4-BE49-F238E27FC236}">
                <a16:creationId xmlns:a16="http://schemas.microsoft.com/office/drawing/2014/main" id="{62F15A51-F14F-CEE2-518F-A8A6E306C440}"/>
              </a:ext>
            </a:extLst>
          </p:cNvPr>
          <p:cNvPicPr>
            <a:picLocks noChangeAspect="1"/>
          </p:cNvPicPr>
          <p:nvPr/>
        </p:nvPicPr>
        <p:blipFill>
          <a:blip r:embed="rId2"/>
          <a:stretch>
            <a:fillRect/>
          </a:stretch>
        </p:blipFill>
        <p:spPr>
          <a:xfrm>
            <a:off x="3637327" y="2689762"/>
            <a:ext cx="4917341" cy="1806753"/>
          </a:xfrm>
          <a:prstGeom prst="rect">
            <a:avLst/>
          </a:prstGeom>
          <a:noFill/>
          <a:ln>
            <a:noFill/>
          </a:ln>
        </p:spPr>
      </p:pic>
      <p:sp>
        <p:nvSpPr>
          <p:cNvPr id="3" name="Rectangle 4">
            <a:extLst>
              <a:ext uri="{FF2B5EF4-FFF2-40B4-BE49-F238E27FC236}">
                <a16:creationId xmlns:a16="http://schemas.microsoft.com/office/drawing/2014/main" id="{56AED8D0-7EE3-EC76-ABB9-3599CAB60DF5}"/>
              </a:ext>
            </a:extLst>
          </p:cNvPr>
          <p:cNvSpPr/>
          <p:nvPr/>
        </p:nvSpPr>
        <p:spPr>
          <a:xfrm>
            <a:off x="10571360" y="6266986"/>
            <a:ext cx="1620645" cy="591013"/>
          </a:xfrm>
          <a:prstGeom prst="rect">
            <a:avLst/>
          </a:prstGeom>
          <a:solidFill>
            <a:srgbClr val="FFFFFF"/>
          </a:solidFill>
          <a:ln>
            <a:noFill/>
            <a:prstDash val="solid"/>
          </a:ln>
        </p:spPr>
        <p:txBody>
          <a:bodyPr vert="horz" wrap="square" lIns="71999" tIns="71999" rIns="71999" bIns="71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600" b="0" i="0" u="none" strike="noStrike" kern="1200" cap="none" spc="0" normalizeH="0" baseline="0" noProof="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18348927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FA331F4-A5AE-0889-8DCB-60480A545ABF}"/>
              </a:ext>
            </a:extLst>
          </p:cNvPr>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r:id="rId3" imgW="5787" imgH="5751" progId="">
                  <p:embed/>
                </p:oleObj>
              </mc:Choice>
              <mc:Fallback>
                <p:oleObj r:id="rId3" imgW="5787" imgH="5751" progId="">
                  <p:embed/>
                  <p:pic>
                    <p:nvPicPr>
                      <p:cNvPr id="2" name="think-cell data - do not delete" hidden="1">
                        <a:extLst>
                          <a:ext uri="{FF2B5EF4-FFF2-40B4-BE49-F238E27FC236}">
                            <a16:creationId xmlns:a16="http://schemas.microsoft.com/office/drawing/2014/main" id="{3FA331F4-A5AE-0889-8DCB-60480A545ABF}"/>
                          </a:ext>
                        </a:extLst>
                      </p:cNvPr>
                      <p:cNvPicPr/>
                      <p:nvPr/>
                    </p:nvPicPr>
                    <p:blipFill>
                      <a:blip r:embed="rId4"/>
                      <a:stretch>
                        <a:fillRect/>
                      </a:stretch>
                    </p:blipFill>
                    <p:spPr>
                      <a:xfrm>
                        <a:off x="1591" y="1591"/>
                        <a:ext cx="1591" cy="1591"/>
                      </a:xfrm>
                      <a:prstGeom prst="rect">
                        <a:avLst/>
                      </a:prstGeom>
                      <a:noFill/>
                      <a:ln>
                        <a:noFill/>
                      </a:ln>
                    </p:spPr>
                  </p:pic>
                </p:oleObj>
              </mc:Fallback>
            </mc:AlternateContent>
          </a:graphicData>
        </a:graphic>
      </p:graphicFrame>
      <p:sp>
        <p:nvSpPr>
          <p:cNvPr id="3" name="Title 1">
            <a:extLst>
              <a:ext uri="{FF2B5EF4-FFF2-40B4-BE49-F238E27FC236}">
                <a16:creationId xmlns:a16="http://schemas.microsoft.com/office/drawing/2014/main" id="{D35C8188-F983-ECC8-3F1B-A03886BAD931}"/>
              </a:ext>
            </a:extLst>
          </p:cNvPr>
          <p:cNvSpPr txBox="1">
            <a:spLocks noGrp="1"/>
          </p:cNvSpPr>
          <p:nvPr>
            <p:ph type="title"/>
          </p:nvPr>
        </p:nvSpPr>
        <p:spPr>
          <a:xfrm>
            <a:off x="179386" y="388944"/>
            <a:ext cx="11831641" cy="708714"/>
          </a:xfrm>
          <a:prstGeom prst="rect">
            <a:avLst/>
          </a:prstGeom>
          <a:noFill/>
          <a:ln>
            <a:noFill/>
          </a:ln>
        </p:spPr>
        <p:txBody>
          <a:bodyPr vert="horz" wrap="square" lIns="0" tIns="0" rIns="0" bIns="0" anchor="ctr" anchorCtr="0" compatLnSpc="1">
            <a:noAutofit/>
          </a:bodyPr>
          <a:lstStyle/>
          <a:p>
            <a:pPr lvl="0">
              <a:tabLst>
                <a:tab pos="10028233" algn="l"/>
              </a:tabLst>
            </a:pPr>
            <a:r>
              <a:rPr lang="en-GB" b="1" cap="none" dirty="0">
                <a:latin typeface="Avenir Next LT Pro"/>
              </a:rPr>
              <a:t>History</a:t>
            </a:r>
            <a:br>
              <a:rPr lang="en-GB" b="1" cap="none" dirty="0">
                <a:latin typeface="Avenir Next LT Pro"/>
              </a:rPr>
            </a:br>
            <a:endParaRPr lang="en-GB" b="1" cap="none" dirty="0">
              <a:latin typeface="Avenir Next LT Pro"/>
            </a:endParaRPr>
          </a:p>
        </p:txBody>
      </p:sp>
      <p:sp>
        <p:nvSpPr>
          <p:cNvPr id="6" name="Content Placeholder 4">
            <a:extLst>
              <a:ext uri="{FF2B5EF4-FFF2-40B4-BE49-F238E27FC236}">
                <a16:creationId xmlns:a16="http://schemas.microsoft.com/office/drawing/2014/main" id="{E1185BA4-DEE1-A236-6F59-A91A85B85EA7}"/>
              </a:ext>
            </a:extLst>
          </p:cNvPr>
          <p:cNvSpPr txBox="1"/>
          <p:nvPr/>
        </p:nvSpPr>
        <p:spPr>
          <a:xfrm>
            <a:off x="717383" y="1571935"/>
            <a:ext cx="2461592" cy="3453807"/>
          </a:xfrm>
          <a:prstGeom prst="rect">
            <a:avLst/>
          </a:prstGeom>
          <a:noFill/>
          <a:ln>
            <a:noFill/>
          </a:ln>
        </p:spPr>
        <p:txBody>
          <a:bodyPr vert="horz" wrap="square" lIns="91440" tIns="45720" rIns="91440" bIns="45720" anchor="t" anchorCtr="0" compatLnSpc="1">
            <a:normAutofit/>
          </a:bodyPr>
          <a:lstStyle/>
          <a:p>
            <a:pPr marL="0" marR="0" lvl="0" indent="0" algn="l" defTabSz="914400" rtl="0" eaLnBrk="1" fontAlgn="auto" latinLnBrk="0" hangingPunct="1">
              <a:lnSpc>
                <a:spcPct val="90000"/>
              </a:lnSpc>
              <a:spcBef>
                <a:spcPts val="1000"/>
              </a:spcBef>
              <a:spcAft>
                <a:spcPts val="0"/>
              </a:spcAft>
              <a:buClrTx/>
              <a:buSzTx/>
              <a:buFontTx/>
              <a:buNone/>
              <a:tabLst/>
              <a:defRPr sz="1800" b="0" i="0" u="none" strike="noStrike" kern="0" cap="none" spc="0" baseline="0">
                <a:solidFill>
                  <a:srgbClr val="000000"/>
                </a:solidFill>
                <a:uFillTx/>
              </a:defRPr>
            </a:pPr>
            <a:r>
              <a:rPr kumimoji="0" lang="en-GB" sz="1800" b="0" i="0" u="none" strike="noStrike" kern="1200" cap="none" spc="0" normalizeH="0" baseline="0" noProof="0" dirty="0">
                <a:ln>
                  <a:noFill/>
                </a:ln>
                <a:solidFill>
                  <a:srgbClr val="000000"/>
                </a:solidFill>
                <a:effectLst/>
                <a:uLnTx/>
                <a:uFillTx/>
                <a:latin typeface="Avenir Next LT Pro"/>
                <a:ea typeface="+mn-ea"/>
                <a:cs typeface="Helvetica"/>
              </a:rPr>
              <a:t>Established in 2020 by His Majesty King Charles III (formerly His Royal Highness The Prince of Wales)</a:t>
            </a:r>
            <a:r>
              <a:rPr kumimoji="0" lang="en-GB" sz="1800" b="0" i="0" u="none" strike="noStrike" kern="1200" cap="none" spc="0" normalizeH="0" baseline="0" noProof="0" dirty="0">
                <a:ln>
                  <a:noFill/>
                </a:ln>
                <a:solidFill>
                  <a:srgbClr val="000000"/>
                </a:solidFill>
                <a:effectLst/>
                <a:uLnTx/>
                <a:uFillTx/>
                <a:latin typeface="Helvetica"/>
                <a:ea typeface="+mn-ea"/>
                <a:cs typeface="Helvetica"/>
              </a:rPr>
              <a:t> </a:t>
            </a:r>
          </a:p>
        </p:txBody>
      </p:sp>
      <p:pic>
        <p:nvPicPr>
          <p:cNvPr id="7" name="Picture 6" descr="A group of men shaking hands&#10;&#10;Description automatically generated with medium confidence">
            <a:extLst>
              <a:ext uri="{FF2B5EF4-FFF2-40B4-BE49-F238E27FC236}">
                <a16:creationId xmlns:a16="http://schemas.microsoft.com/office/drawing/2014/main" id="{D9DF390C-0893-AC64-DF66-7DB5FBCF11E4}"/>
              </a:ext>
            </a:extLst>
          </p:cNvPr>
          <p:cNvPicPr>
            <a:picLocks noChangeAspect="1"/>
          </p:cNvPicPr>
          <p:nvPr/>
        </p:nvPicPr>
        <p:blipFill>
          <a:blip r:embed="rId5"/>
          <a:stretch>
            <a:fillRect/>
          </a:stretch>
        </p:blipFill>
        <p:spPr>
          <a:xfrm>
            <a:off x="6973955" y="1026551"/>
            <a:ext cx="4572000" cy="3267078"/>
          </a:xfrm>
          <a:prstGeom prst="rect">
            <a:avLst/>
          </a:prstGeom>
          <a:noFill/>
          <a:ln>
            <a:noFill/>
          </a:ln>
        </p:spPr>
      </p:pic>
      <p:pic>
        <p:nvPicPr>
          <p:cNvPr id="8" name="Picture 7" descr="A group of people posing for a photo&#10;&#10;Description automatically generated">
            <a:extLst>
              <a:ext uri="{FF2B5EF4-FFF2-40B4-BE49-F238E27FC236}">
                <a16:creationId xmlns:a16="http://schemas.microsoft.com/office/drawing/2014/main" id="{E455F58A-AAFB-64AD-C2D0-763CAC518FF8}"/>
              </a:ext>
            </a:extLst>
          </p:cNvPr>
          <p:cNvPicPr>
            <a:picLocks noChangeAspect="1"/>
          </p:cNvPicPr>
          <p:nvPr/>
        </p:nvPicPr>
        <p:blipFill>
          <a:blip r:embed="rId6"/>
          <a:stretch>
            <a:fillRect/>
          </a:stretch>
        </p:blipFill>
        <p:spPr>
          <a:xfrm>
            <a:off x="3376092" y="3051617"/>
            <a:ext cx="5145054" cy="3173891"/>
          </a:xfrm>
          <a:prstGeom prst="rect">
            <a:avLst/>
          </a:prstGeom>
          <a:noFill/>
          <a:ln>
            <a:noFill/>
          </a:ln>
        </p:spPr>
      </p:pic>
      <p:sp>
        <p:nvSpPr>
          <p:cNvPr id="9" name="TextBox 8">
            <a:extLst>
              <a:ext uri="{FF2B5EF4-FFF2-40B4-BE49-F238E27FC236}">
                <a16:creationId xmlns:a16="http://schemas.microsoft.com/office/drawing/2014/main" id="{2C70B3CF-C2CB-B3A0-7161-5B9A756AF1EB}"/>
              </a:ext>
            </a:extLst>
          </p:cNvPr>
          <p:cNvSpPr txBox="1"/>
          <p:nvPr/>
        </p:nvSpPr>
        <p:spPr>
          <a:xfrm>
            <a:off x="9949065" y="4241060"/>
            <a:ext cx="1691996" cy="246220"/>
          </a:xfrm>
          <a:prstGeom prst="rect">
            <a:avLst/>
          </a:prstGeom>
          <a:noFill/>
          <a:ln>
            <a:noFill/>
          </a:ln>
        </p:spPr>
        <p:txBody>
          <a:bodyPr vert="horz" wrap="square" lIns="91440" tIns="45720" rIns="91440" bIns="45720" anchor="t" anchorCtr="0"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000" b="0" i="0" u="none" strike="noStrike" kern="1200" cap="none" spc="0" normalizeH="0" baseline="0" noProof="0">
                <a:ln>
                  <a:noFill/>
                </a:ln>
                <a:solidFill>
                  <a:srgbClr val="000000"/>
                </a:solidFill>
                <a:effectLst/>
                <a:uLnTx/>
                <a:uFillTx/>
                <a:latin typeface="Avenir Next"/>
                <a:ea typeface="+mn-ea"/>
                <a:cs typeface="+mn-cs"/>
              </a:rPr>
              <a:t>Photos: Iain Brown, Ian Jon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CDAEE-DFC3-AB92-C0C9-C493C3A036E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2E9661-A636-AAB6-48C6-1B95C3AC37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a16="http://schemas.microsoft.com/office/drawing/2014/main" id="{A22E9661-A636-AAB6-48C6-1B95C3AC37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0E9ED082-B8AE-2CE5-4FDB-412756589DB3}"/>
              </a:ext>
            </a:extLst>
          </p:cNvPr>
          <p:cNvSpPr>
            <a:spLocks noGrp="1"/>
          </p:cNvSpPr>
          <p:nvPr>
            <p:ph type="title"/>
          </p:nvPr>
        </p:nvSpPr>
        <p:spPr>
          <a:xfrm>
            <a:off x="179387" y="305991"/>
            <a:ext cx="11831639" cy="455509"/>
          </a:xfrm>
        </p:spPr>
        <p:txBody>
          <a:bodyPr vert="horz">
            <a:spAutoFit/>
          </a:bodyPr>
          <a:lstStyle/>
          <a:p>
            <a:r>
              <a:rPr lang="en-GB" dirty="0">
                <a:latin typeface="AvenirNext LT Pro Bold" panose="020B0804020202020204" pitchFamily="34" charset="0"/>
              </a:rPr>
              <a:t>CBA Vision &amp; Mission</a:t>
            </a:r>
          </a:p>
        </p:txBody>
      </p:sp>
      <p:sp>
        <p:nvSpPr>
          <p:cNvPr id="30" name="Freeform: Shape 29">
            <a:extLst>
              <a:ext uri="{FF2B5EF4-FFF2-40B4-BE49-F238E27FC236}">
                <a16:creationId xmlns:a16="http://schemas.microsoft.com/office/drawing/2014/main" id="{F67ADC14-90E1-1341-EEF8-63C7B83A0822}"/>
              </a:ext>
            </a:extLst>
          </p:cNvPr>
          <p:cNvSpPr/>
          <p:nvPr/>
        </p:nvSpPr>
        <p:spPr>
          <a:xfrm>
            <a:off x="179387" y="1373188"/>
            <a:ext cx="8099481" cy="3703507"/>
          </a:xfrm>
          <a:custGeom>
            <a:avLst/>
            <a:gdLst>
              <a:gd name="connsiteX0" fmla="*/ 0 w 8099481"/>
              <a:gd name="connsiteY0" fmla="*/ 0 h 3703507"/>
              <a:gd name="connsiteX1" fmla="*/ 5916794 w 8099481"/>
              <a:gd name="connsiteY1" fmla="*/ 0 h 3703507"/>
              <a:gd name="connsiteX2" fmla="*/ 5980113 w 8099481"/>
              <a:gd name="connsiteY2" fmla="*/ 0 h 3703507"/>
              <a:gd name="connsiteX3" fmla="*/ 5980113 w 8099481"/>
              <a:gd name="connsiteY3" fmla="*/ 2389 h 3703507"/>
              <a:gd name="connsiteX4" fmla="*/ 6080115 w 8099481"/>
              <a:gd name="connsiteY4" fmla="*/ 6161 h 3703507"/>
              <a:gd name="connsiteX5" fmla="*/ 7926855 w 8099481"/>
              <a:gd name="connsiteY5" fmla="*/ 1332800 h 3703507"/>
              <a:gd name="connsiteX6" fmla="*/ 7483631 w 8099481"/>
              <a:gd name="connsiteY6" fmla="*/ 3703507 h 3703507"/>
              <a:gd name="connsiteX7" fmla="*/ 7125386 w 8099481"/>
              <a:gd name="connsiteY7" fmla="*/ 3356210 h 3703507"/>
              <a:gd name="connsiteX8" fmla="*/ 7467333 w 8099481"/>
              <a:gd name="connsiteY8" fmla="*/ 1527209 h 3703507"/>
              <a:gd name="connsiteX9" fmla="*/ 6042573 w 8099481"/>
              <a:gd name="connsiteY9" fmla="*/ 503707 h 3703507"/>
              <a:gd name="connsiteX10" fmla="*/ 5980113 w 8099481"/>
              <a:gd name="connsiteY10" fmla="*/ 501351 h 3703507"/>
              <a:gd name="connsiteX11" fmla="*/ 5980113 w 8099481"/>
              <a:gd name="connsiteY11" fmla="*/ 502297 h 3703507"/>
              <a:gd name="connsiteX12" fmla="*/ 0 w 8099481"/>
              <a:gd name="connsiteY12" fmla="*/ 502297 h 370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99481" h="3703507">
                <a:moveTo>
                  <a:pt x="0" y="0"/>
                </a:moveTo>
                <a:lnTo>
                  <a:pt x="5916794" y="0"/>
                </a:lnTo>
                <a:lnTo>
                  <a:pt x="5980113" y="0"/>
                </a:lnTo>
                <a:lnTo>
                  <a:pt x="5980113" y="2389"/>
                </a:lnTo>
                <a:lnTo>
                  <a:pt x="6080115" y="6161"/>
                </a:lnTo>
                <a:cubicBezTo>
                  <a:pt x="6890829" y="67104"/>
                  <a:pt x="7606559" y="575723"/>
                  <a:pt x="7926855" y="1332800"/>
                </a:cubicBezTo>
                <a:cubicBezTo>
                  <a:pt x="8268504" y="2140349"/>
                  <a:pt x="8093961" y="3073939"/>
                  <a:pt x="7483631" y="3703507"/>
                </a:cubicBezTo>
                <a:lnTo>
                  <a:pt x="7125386" y="3356210"/>
                </a:lnTo>
                <a:cubicBezTo>
                  <a:pt x="7596256" y="2870498"/>
                  <a:pt x="7730915" y="2150234"/>
                  <a:pt x="7467333" y="1527209"/>
                </a:cubicBezTo>
                <a:cubicBezTo>
                  <a:pt x="7220225" y="943124"/>
                  <a:pt x="6668039" y="550724"/>
                  <a:pt x="6042573" y="503707"/>
                </a:cubicBezTo>
                <a:lnTo>
                  <a:pt x="5980113" y="501351"/>
                </a:lnTo>
                <a:lnTo>
                  <a:pt x="5980113" y="502297"/>
                </a:lnTo>
                <a:lnTo>
                  <a:pt x="0" y="502297"/>
                </a:lnTo>
                <a:close/>
              </a:path>
            </a:pathLst>
          </a:custGeom>
          <a:solidFill>
            <a:srgbClr val="031F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31" name="Freeform: Shape 30">
            <a:extLst>
              <a:ext uri="{FF2B5EF4-FFF2-40B4-BE49-F238E27FC236}">
                <a16:creationId xmlns:a16="http://schemas.microsoft.com/office/drawing/2014/main" id="{3974A599-079B-8085-9C78-82339CD2FD26}"/>
              </a:ext>
            </a:extLst>
          </p:cNvPr>
          <p:cNvSpPr>
            <a:spLocks/>
          </p:cNvSpPr>
          <p:nvPr/>
        </p:nvSpPr>
        <p:spPr>
          <a:xfrm flipH="1" flipV="1">
            <a:off x="3911544" y="2017050"/>
            <a:ext cx="8099483" cy="3703507"/>
          </a:xfrm>
          <a:custGeom>
            <a:avLst/>
            <a:gdLst>
              <a:gd name="connsiteX0" fmla="*/ 7483633 w 8099483"/>
              <a:gd name="connsiteY0" fmla="*/ 3703507 h 3703507"/>
              <a:gd name="connsiteX1" fmla="*/ 7125388 w 8099483"/>
              <a:gd name="connsiteY1" fmla="*/ 3356210 h 3703507"/>
              <a:gd name="connsiteX2" fmla="*/ 7467335 w 8099483"/>
              <a:gd name="connsiteY2" fmla="*/ 1527209 h 3703507"/>
              <a:gd name="connsiteX3" fmla="*/ 6042575 w 8099483"/>
              <a:gd name="connsiteY3" fmla="*/ 503707 h 3703507"/>
              <a:gd name="connsiteX4" fmla="*/ 6005198 w 8099483"/>
              <a:gd name="connsiteY4" fmla="*/ 502297 h 3703507"/>
              <a:gd name="connsiteX5" fmla="*/ 0 w 8099483"/>
              <a:gd name="connsiteY5" fmla="*/ 502297 h 3703507"/>
              <a:gd name="connsiteX6" fmla="*/ 0 w 8099483"/>
              <a:gd name="connsiteY6" fmla="*/ 0 h 3703507"/>
              <a:gd name="connsiteX7" fmla="*/ 5916796 w 8099483"/>
              <a:gd name="connsiteY7" fmla="*/ 0 h 3703507"/>
              <a:gd name="connsiteX8" fmla="*/ 6059806 w 8099483"/>
              <a:gd name="connsiteY8" fmla="*/ 0 h 3703507"/>
              <a:gd name="connsiteX9" fmla="*/ 6059806 w 8099483"/>
              <a:gd name="connsiteY9" fmla="*/ 5395 h 3703507"/>
              <a:gd name="connsiteX10" fmla="*/ 6080116 w 8099483"/>
              <a:gd name="connsiteY10" fmla="*/ 6161 h 3703507"/>
              <a:gd name="connsiteX11" fmla="*/ 7926857 w 8099483"/>
              <a:gd name="connsiteY11" fmla="*/ 1332800 h 3703507"/>
              <a:gd name="connsiteX12" fmla="*/ 7483633 w 8099483"/>
              <a:gd name="connsiteY12" fmla="*/ 3703507 h 370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99483" h="3703507">
                <a:moveTo>
                  <a:pt x="7483633" y="3703507"/>
                </a:moveTo>
                <a:lnTo>
                  <a:pt x="7125388" y="3356210"/>
                </a:lnTo>
                <a:cubicBezTo>
                  <a:pt x="7596258" y="2870498"/>
                  <a:pt x="7730917" y="2150234"/>
                  <a:pt x="7467335" y="1527209"/>
                </a:cubicBezTo>
                <a:cubicBezTo>
                  <a:pt x="7220227" y="943124"/>
                  <a:pt x="6668041" y="550724"/>
                  <a:pt x="6042575" y="503707"/>
                </a:cubicBezTo>
                <a:lnTo>
                  <a:pt x="6005198" y="502297"/>
                </a:lnTo>
                <a:lnTo>
                  <a:pt x="0" y="502297"/>
                </a:lnTo>
                <a:lnTo>
                  <a:pt x="0" y="0"/>
                </a:lnTo>
                <a:lnTo>
                  <a:pt x="5916796" y="0"/>
                </a:lnTo>
                <a:lnTo>
                  <a:pt x="6059806" y="0"/>
                </a:lnTo>
                <a:lnTo>
                  <a:pt x="6059806" y="5395"/>
                </a:lnTo>
                <a:lnTo>
                  <a:pt x="6080116" y="6161"/>
                </a:lnTo>
                <a:cubicBezTo>
                  <a:pt x="6890830" y="67104"/>
                  <a:pt x="7606561" y="575723"/>
                  <a:pt x="7926857" y="1332800"/>
                </a:cubicBezTo>
                <a:cubicBezTo>
                  <a:pt x="8268506" y="2140349"/>
                  <a:pt x="8093963" y="3073939"/>
                  <a:pt x="7483633" y="3703507"/>
                </a:cubicBezTo>
                <a:close/>
              </a:path>
            </a:pathLst>
          </a:custGeom>
          <a:solidFill>
            <a:srgbClr val="FBAD1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ln>
                <a:noFill/>
              </a:ln>
              <a:solidFill>
                <a:schemeClr val="bg1"/>
              </a:solidFill>
            </a:endParaRPr>
          </a:p>
        </p:txBody>
      </p:sp>
      <p:sp>
        <p:nvSpPr>
          <p:cNvPr id="32" name="TextBox 31">
            <a:extLst>
              <a:ext uri="{FF2B5EF4-FFF2-40B4-BE49-F238E27FC236}">
                <a16:creationId xmlns:a16="http://schemas.microsoft.com/office/drawing/2014/main" id="{A81A2538-7113-7184-1A97-81E511175463}"/>
              </a:ext>
            </a:extLst>
          </p:cNvPr>
          <p:cNvSpPr txBox="1"/>
          <p:nvPr/>
        </p:nvSpPr>
        <p:spPr>
          <a:xfrm>
            <a:off x="306853" y="1430147"/>
            <a:ext cx="3668247" cy="369332"/>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buNone/>
            </a:pPr>
            <a:r>
              <a:rPr lang="en-GB" sz="2400" b="1" i="1" dirty="0">
                <a:solidFill>
                  <a:schemeClr val="bg1"/>
                </a:solidFill>
              </a:rPr>
              <a:t>Vision</a:t>
            </a:r>
          </a:p>
        </p:txBody>
      </p:sp>
      <p:sp>
        <p:nvSpPr>
          <p:cNvPr id="33" name="TextBox 32">
            <a:extLst>
              <a:ext uri="{FF2B5EF4-FFF2-40B4-BE49-F238E27FC236}">
                <a16:creationId xmlns:a16="http://schemas.microsoft.com/office/drawing/2014/main" id="{529FFFA3-EA3E-8DFC-475B-277A6F24F41B}"/>
              </a:ext>
            </a:extLst>
          </p:cNvPr>
          <p:cNvSpPr txBox="1"/>
          <p:nvPr/>
        </p:nvSpPr>
        <p:spPr>
          <a:xfrm>
            <a:off x="8449659" y="5282208"/>
            <a:ext cx="3422735" cy="369332"/>
          </a:xfrm>
          <a:prstGeom prst="rect">
            <a:avLst/>
          </a:prstGeom>
        </p:spPr>
        <p:txBody>
          <a:bodyPr vert="horz" wrap="square" lIns="0" tIns="0" rIns="0" bIns="0" rtlCol="0" anchor="ctr"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buNone/>
            </a:pPr>
            <a:r>
              <a:rPr lang="en-GB" sz="2400" b="1" i="1" dirty="0">
                <a:solidFill>
                  <a:schemeClr val="bg1"/>
                </a:solidFill>
              </a:rPr>
              <a:t>Mission</a:t>
            </a:r>
          </a:p>
        </p:txBody>
      </p:sp>
      <p:grpSp>
        <p:nvGrpSpPr>
          <p:cNvPr id="39" name="Group 38">
            <a:extLst>
              <a:ext uri="{FF2B5EF4-FFF2-40B4-BE49-F238E27FC236}">
                <a16:creationId xmlns:a16="http://schemas.microsoft.com/office/drawing/2014/main" id="{D83C78DD-E2B7-D38D-3F61-7155B8A9F61C}"/>
              </a:ext>
            </a:extLst>
          </p:cNvPr>
          <p:cNvGrpSpPr/>
          <p:nvPr/>
        </p:nvGrpSpPr>
        <p:grpSpPr>
          <a:xfrm>
            <a:off x="4494212" y="1955800"/>
            <a:ext cx="3201988" cy="3201988"/>
            <a:chOff x="4494212" y="1955800"/>
            <a:chExt cx="3201988" cy="3201988"/>
          </a:xfrm>
        </p:grpSpPr>
        <p:pic>
          <p:nvPicPr>
            <p:cNvPr id="12" name="Picture 11" descr="green trees under white clouds">
              <a:extLst>
                <a:ext uri="{FF2B5EF4-FFF2-40B4-BE49-F238E27FC236}">
                  <a16:creationId xmlns:a16="http://schemas.microsoft.com/office/drawing/2014/main" id="{EBC61E66-F5A1-5EB7-43A9-18321FA86887}"/>
                </a:ext>
              </a:extLst>
            </p:cNvPr>
            <p:cNvPicPr>
              <a:picLocks noChangeArrowheads="1"/>
            </p:cNvPicPr>
            <p:nvPr/>
          </p:nvPicPr>
          <p:blipFill rotWithShape="1">
            <a:blip r:embed="rId6">
              <a:extLst>
                <a:ext uri="{28A0092B-C50C-407E-A947-70E740481C1C}">
                  <a14:useLocalDpi xmlns:a14="http://schemas.microsoft.com/office/drawing/2010/main" val="0"/>
                </a:ext>
              </a:extLst>
            </a:blip>
            <a:srcRect l="17050" r="17050"/>
            <a:stretch/>
          </p:blipFill>
          <p:spPr bwMode="auto">
            <a:xfrm>
              <a:off x="4494212" y="1955800"/>
              <a:ext cx="3201988" cy="3201988"/>
            </a:xfrm>
            <a:prstGeom prst="ellipse">
              <a:avLst/>
            </a:prstGeom>
            <a:extLst>
              <a:ext uri="{909E8E84-426E-40DD-AFC4-6F175D3DCCD1}">
                <a14:hiddenFill xmlns:a14="http://schemas.microsoft.com/office/drawing/2010/main">
                  <a:solidFill>
                    <a:srgbClr val="FFFFFF"/>
                  </a:solidFill>
                </a14:hiddenFill>
              </a:ext>
            </a:extLst>
          </p:spPr>
        </p:pic>
        <p:sp>
          <p:nvSpPr>
            <p:cNvPr id="34" name="Oval 33">
              <a:extLst>
                <a:ext uri="{FF2B5EF4-FFF2-40B4-BE49-F238E27FC236}">
                  <a16:creationId xmlns:a16="http://schemas.microsoft.com/office/drawing/2014/main" id="{E7A9E66B-BE51-12A5-EC8B-44FD88538BC6}"/>
                </a:ext>
              </a:extLst>
            </p:cNvPr>
            <p:cNvSpPr>
              <a:spLocks/>
            </p:cNvSpPr>
            <p:nvPr/>
          </p:nvSpPr>
          <p:spPr>
            <a:xfrm>
              <a:off x="4494212" y="1955800"/>
              <a:ext cx="3201988" cy="3201988"/>
            </a:xfrm>
            <a:prstGeom prst="ellipse">
              <a:avLst/>
            </a:prstGeom>
            <a:solidFill>
              <a:schemeClr val="bg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3600" b="1" dirty="0">
                  <a:ln>
                    <a:noFill/>
                  </a:ln>
                  <a:solidFill>
                    <a:srgbClr val="031F35"/>
                  </a:solidFill>
                  <a:latin typeface="Avenir Next LT Pro" panose="020B0504020202020204" pitchFamily="34" charset="0"/>
                  <a:cs typeface="Avenir Arabic Book" panose="020B0503020203020204" pitchFamily="34" charset="-78"/>
                </a:rPr>
                <a:t>CBA</a:t>
              </a:r>
            </a:p>
          </p:txBody>
        </p:sp>
      </p:grpSp>
      <p:sp>
        <p:nvSpPr>
          <p:cNvPr id="37" name="TextBox 36">
            <a:extLst>
              <a:ext uri="{FF2B5EF4-FFF2-40B4-BE49-F238E27FC236}">
                <a16:creationId xmlns:a16="http://schemas.microsoft.com/office/drawing/2014/main" id="{98CCBC40-BFCE-01C3-7DA1-84FE0AA63FCE}"/>
              </a:ext>
            </a:extLst>
          </p:cNvPr>
          <p:cNvSpPr txBox="1"/>
          <p:nvPr/>
        </p:nvSpPr>
        <p:spPr>
          <a:xfrm>
            <a:off x="306853" y="1984914"/>
            <a:ext cx="3388847" cy="1477328"/>
          </a:xfrm>
          <a:prstGeom prst="rect">
            <a:avLst/>
          </a:prstGeom>
        </p:spPr>
        <p:txBody>
          <a:bodyPr vert="horz" wrap="square" lIns="0" tIns="0" rIns="0" bIns="0" rtlCol="0" anchor="t"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nSpc>
                <a:spcPct val="100000"/>
              </a:lnSpc>
              <a:buNone/>
            </a:pPr>
            <a:r>
              <a:rPr lang="en-US" sz="2400" dirty="0"/>
              <a:t>The CBA’s vision is </a:t>
            </a:r>
            <a:r>
              <a:rPr lang="en-US" sz="2400" b="1" dirty="0"/>
              <a:t>a world powered by and prospering in harmony with Nature.</a:t>
            </a:r>
            <a:endParaRPr lang="en-GB" sz="2400" b="1" dirty="0"/>
          </a:p>
        </p:txBody>
      </p:sp>
      <p:sp>
        <p:nvSpPr>
          <p:cNvPr id="6" name="TextBox 5">
            <a:extLst>
              <a:ext uri="{FF2B5EF4-FFF2-40B4-BE49-F238E27FC236}">
                <a16:creationId xmlns:a16="http://schemas.microsoft.com/office/drawing/2014/main" id="{F98814F4-B940-5287-881A-5548A307E631}"/>
              </a:ext>
            </a:extLst>
          </p:cNvPr>
          <p:cNvSpPr txBox="1"/>
          <p:nvPr/>
        </p:nvSpPr>
        <p:spPr>
          <a:xfrm>
            <a:off x="8541099" y="3126949"/>
            <a:ext cx="3422735" cy="2000548"/>
          </a:xfrm>
          <a:prstGeom prst="rect">
            <a:avLst/>
          </a:prstGeom>
        </p:spPr>
        <p:txBody>
          <a:bodyPr vert="horz" wrap="square" lIns="0" tIns="0" rIns="0" bIns="0" rtlCol="0" anchor="b" anchorCtr="0">
            <a:spAutoFit/>
          </a:bodyPr>
          <a:lstStyle>
            <a:lvl1pPr marL="180000" lvl="0" indent="-180000">
              <a:lnSpc>
                <a:spcPct val="90000"/>
              </a:lnSpc>
              <a:spcBef>
                <a:spcPts val="1000"/>
              </a:spcBef>
              <a:buFont typeface="Wingdings" panose="05000000000000000000" pitchFamily="2" charset="2"/>
              <a:buChar char="§"/>
              <a:defRPr sz="1200" baseline="0">
                <a:latin typeface="Avenir Next LT Pro" panose="020B0504020202020204" pitchFamily="34" charset="0"/>
              </a:defRPr>
            </a:lvl1pPr>
            <a:lvl2pPr marL="360000" lvl="1" indent="-180000">
              <a:lnSpc>
                <a:spcPct val="90000"/>
              </a:lnSpc>
              <a:spcBef>
                <a:spcPts val="500"/>
              </a:spcBef>
              <a:buFont typeface="Wingdings" panose="05000000000000000000" pitchFamily="2" charset="2"/>
              <a:buChar char="§"/>
              <a:defRPr sz="1200">
                <a:latin typeface="Avenir Next LT Pro" panose="020B0504020202020204" pitchFamily="34" charset="0"/>
              </a:defRPr>
            </a:lvl2pPr>
            <a:lvl3pPr marL="540000" lvl="2" indent="-180000">
              <a:lnSpc>
                <a:spcPct val="90000"/>
              </a:lnSpc>
              <a:spcBef>
                <a:spcPts val="500"/>
              </a:spcBef>
              <a:buFont typeface="Wingdings" panose="05000000000000000000" pitchFamily="2" charset="2"/>
              <a:buChar char="§"/>
              <a:defRPr sz="1200">
                <a:latin typeface="Avenir Next LT Pro" panose="020B0504020202020204" pitchFamily="34" charset="0"/>
              </a:defRPr>
            </a:lvl3pPr>
            <a:lvl4pPr marL="720000" lvl="3" indent="-180000">
              <a:lnSpc>
                <a:spcPct val="90000"/>
              </a:lnSpc>
              <a:spcBef>
                <a:spcPts val="500"/>
              </a:spcBef>
              <a:buFont typeface="Wingdings" panose="05000000000000000000" pitchFamily="2" charset="2"/>
              <a:buChar char="§"/>
              <a:defRPr sz="1200">
                <a:latin typeface="Avenir Next LT Pro" panose="020B0504020202020204" pitchFamily="34" charset="0"/>
              </a:defRPr>
            </a:lvl4pPr>
            <a:lvl5pPr marL="900000" lvl="4" indent="-180000">
              <a:lnSpc>
                <a:spcPct val="90000"/>
              </a:lnSpc>
              <a:spcBef>
                <a:spcPts val="500"/>
              </a:spcBef>
              <a:buFont typeface="Wingdings" panose="05000000000000000000" pitchFamily="2" charset="2"/>
              <a:buChar char="§"/>
              <a:defRPr sz="1200">
                <a:latin typeface="Avenir Next LT Pro" panose="020B05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r">
              <a:lnSpc>
                <a:spcPct val="100000"/>
              </a:lnSpc>
              <a:buNone/>
            </a:pPr>
            <a:r>
              <a:rPr lang="en-US" sz="2400" dirty="0"/>
              <a:t>The CBA’s mission is </a:t>
            </a:r>
            <a:r>
              <a:rPr lang="en-GB" sz="2400" b="1" dirty="0">
                <a:solidFill>
                  <a:srgbClr val="031F35"/>
                </a:solidFill>
              </a:rPr>
              <a:t>a</a:t>
            </a:r>
            <a:r>
              <a:rPr kumimoji="0" lang="en-GB" sz="2400" b="1" i="0" u="none" strike="noStrike" kern="1200" cap="none" spc="0" normalizeH="0" baseline="0" noProof="0" dirty="0" err="1">
                <a:ln>
                  <a:noFill/>
                </a:ln>
                <a:solidFill>
                  <a:srgbClr val="031F35"/>
                </a:solidFill>
                <a:effectLst/>
                <a:uLnTx/>
                <a:uFillTx/>
                <a:latin typeface="Avenir Next LT Pro" panose="020B0504020202020204" pitchFamily="34" charset="0"/>
                <a:ea typeface="+mn-ea"/>
                <a:cs typeface="+mn-cs"/>
              </a:rPr>
              <a:t>ccelerating</a:t>
            </a:r>
            <a:r>
              <a:rPr kumimoji="0" lang="en-GB" sz="2400" b="1" i="0" u="none" strike="noStrike" kern="1200" cap="none" spc="0" normalizeH="0" baseline="0" noProof="0" dirty="0">
                <a:ln>
                  <a:noFill/>
                </a:ln>
                <a:solidFill>
                  <a:srgbClr val="031F35"/>
                </a:solidFill>
                <a:effectLst/>
                <a:uLnTx/>
                <a:uFillTx/>
                <a:latin typeface="Avenir Next LT Pro" panose="020B0504020202020204" pitchFamily="34" charset="0"/>
                <a:ea typeface="+mn-ea"/>
                <a:cs typeface="+mn-cs"/>
              </a:rPr>
              <a:t> the transition to a nature-first economy. </a:t>
            </a:r>
            <a:endParaRPr kumimoji="0" lang="en-US" sz="2400" b="1" i="0" u="none" strike="noStrike" kern="1200" cap="none" spc="0" normalizeH="0" baseline="0" noProof="0" dirty="0">
              <a:ln>
                <a:noFill/>
              </a:ln>
              <a:solidFill>
                <a:srgbClr val="031F35"/>
              </a:solidFill>
              <a:effectLst/>
              <a:uLnTx/>
              <a:uFillTx/>
              <a:latin typeface="Avenir Next LT Pro" panose="020B0504020202020204" pitchFamily="34" charset="0"/>
              <a:ea typeface="+mn-ea"/>
              <a:cs typeface="+mn-cs"/>
            </a:endParaRPr>
          </a:p>
          <a:p>
            <a:pPr marL="0" indent="0" algn="r">
              <a:lnSpc>
                <a:spcPct val="100000"/>
              </a:lnSpc>
              <a:buNone/>
            </a:pPr>
            <a:endParaRPr lang="en-GB" sz="2400" dirty="0"/>
          </a:p>
        </p:txBody>
      </p:sp>
    </p:spTree>
    <p:extLst>
      <p:ext uri="{BB962C8B-B14F-4D97-AF65-F5344CB8AC3E}">
        <p14:creationId xmlns:p14="http://schemas.microsoft.com/office/powerpoint/2010/main" val="4034113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2C7B7F-B808-DA0B-099A-BEEA659DC5E1}"/>
              </a:ext>
            </a:extLst>
          </p:cNvPr>
          <p:cNvSpPr>
            <a:spLocks noGrp="1"/>
          </p:cNvSpPr>
          <p:nvPr>
            <p:ph type="title"/>
          </p:nvPr>
        </p:nvSpPr>
        <p:spPr/>
        <p:txBody>
          <a:bodyPr>
            <a:normAutofit fontScale="90000"/>
          </a:bodyPr>
          <a:lstStyle/>
          <a:p>
            <a:r>
              <a:rPr lang="en-US" cap="none" dirty="0">
                <a:latin typeface="AvenirNext LT Pro Bold" panose="020B0804020202020204" pitchFamily="34" charset="0"/>
              </a:rPr>
              <a:t>Our extractive economy powered by fossil resources has reached a tipping point</a:t>
            </a:r>
            <a:endParaRPr lang="en-US" sz="1800" b="0" cap="none" dirty="0">
              <a:latin typeface="AvenirNext LT Pro Bold" panose="020B0804020202020204" pitchFamily="34" charset="0"/>
            </a:endParaRPr>
          </a:p>
        </p:txBody>
      </p:sp>
      <p:sp>
        <p:nvSpPr>
          <p:cNvPr id="4" name="TextBox 3">
            <a:extLst>
              <a:ext uri="{FF2B5EF4-FFF2-40B4-BE49-F238E27FC236}">
                <a16:creationId xmlns:a16="http://schemas.microsoft.com/office/drawing/2014/main" id="{9AD6D6CB-2BC0-7EC3-4824-15BB9F64FA83}"/>
              </a:ext>
            </a:extLst>
          </p:cNvPr>
          <p:cNvSpPr txBox="1"/>
          <p:nvPr/>
        </p:nvSpPr>
        <p:spPr>
          <a:xfrm>
            <a:off x="279583" y="6057376"/>
            <a:ext cx="9758819" cy="248719"/>
          </a:xfrm>
          <a:prstGeom prst="rect">
            <a:avLst/>
          </a:prstGeom>
          <a:noFill/>
        </p:spPr>
        <p:txBody>
          <a:bodyPr wrap="square" lIns="0" tIns="0" rIns="0" bIns="0" rtlCol="0" anchor="b" anchorCtr="0">
            <a:noAutofit/>
          </a:bodyPr>
          <a:lstStyle/>
          <a:p>
            <a:pPr defTabSz="806267">
              <a:defRPr/>
            </a:pPr>
            <a:r>
              <a:rPr lang="en-US" sz="1000" dirty="0">
                <a:latin typeface="Aptos Display" panose="020B0004020202020204" pitchFamily="34" charset="0"/>
              </a:rPr>
              <a:t>Source: Our World in Data / World Bank, 2024. For illustrative purposes only.</a:t>
            </a:r>
          </a:p>
        </p:txBody>
      </p:sp>
      <p:sp>
        <p:nvSpPr>
          <p:cNvPr id="44" name="Text Placeholder 4">
            <a:extLst>
              <a:ext uri="{FF2B5EF4-FFF2-40B4-BE49-F238E27FC236}">
                <a16:creationId xmlns:a16="http://schemas.microsoft.com/office/drawing/2014/main" id="{0FAC49DE-CA5E-A699-AFAE-7F4EA2D3388D}"/>
              </a:ext>
            </a:extLst>
          </p:cNvPr>
          <p:cNvSpPr txBox="1">
            <a:spLocks/>
          </p:cNvSpPr>
          <p:nvPr/>
        </p:nvSpPr>
        <p:spPr bwMode="gray">
          <a:xfrm>
            <a:off x="279583" y="1472634"/>
            <a:ext cx="5796544" cy="64120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600" b="1" i="0" u="none" strike="noStrike" kern="0" cap="none" spc="0" normalizeH="0" baseline="0" noProof="0" dirty="0">
                <a:ln>
                  <a:noFill/>
                </a:ln>
                <a:effectLst/>
                <a:uLnTx/>
                <a:uFillTx/>
                <a:latin typeface="+mj-lt"/>
                <a:ea typeface="SimHei"/>
                <a:cs typeface="+mn-cs"/>
              </a:rPr>
              <a:t>World GDP over the last two millennia</a:t>
            </a:r>
          </a:p>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sz="1200" kern="0" dirty="0">
                <a:latin typeface="+mj-lt"/>
              </a:rPr>
              <a:t>Total output of the world economy, adjusted for inflation and expressed in international-$ in 2011 prices</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8" name="Text Placeholder 4">
            <a:extLst>
              <a:ext uri="{FF2B5EF4-FFF2-40B4-BE49-F238E27FC236}">
                <a16:creationId xmlns:a16="http://schemas.microsoft.com/office/drawing/2014/main" id="{AC801C2A-D957-D081-4655-2A9F9197FE86}"/>
              </a:ext>
            </a:extLst>
          </p:cNvPr>
          <p:cNvSpPr txBox="1">
            <a:spLocks/>
          </p:cNvSpPr>
          <p:nvPr/>
        </p:nvSpPr>
        <p:spPr bwMode="gray">
          <a:xfrm>
            <a:off x="6168624" y="1435954"/>
            <a:ext cx="5796544" cy="948978"/>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600" b="1" i="0" u="none" strike="noStrike" kern="0" cap="none" spc="0" normalizeH="0" baseline="0" noProof="0" dirty="0">
                <a:ln>
                  <a:noFill/>
                </a:ln>
                <a:effectLst/>
                <a:uLnTx/>
                <a:uFillTx/>
                <a:latin typeface="+mj-lt"/>
                <a:ea typeface="SimHei"/>
                <a:cs typeface="+mn-cs"/>
              </a:rPr>
              <a:t>Living Planet Index, World</a:t>
            </a:r>
          </a:p>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sz="1200" kern="0" dirty="0">
                <a:latin typeface="+mj-lt"/>
              </a:rPr>
              <a:t>The Living Planet Index (LPI) measures the average decline in monitored wildlife populations</a:t>
            </a:r>
            <a:r>
              <a:rPr lang="en-US" altLang="zh-TW" sz="1200" kern="0" baseline="30000" dirty="0">
                <a:latin typeface="+mj-lt"/>
              </a:rPr>
              <a:t>1</a:t>
            </a:r>
            <a:r>
              <a:rPr lang="en-US" altLang="zh-TW" sz="1200" kern="0" dirty="0">
                <a:latin typeface="+mj-lt"/>
              </a:rPr>
              <a:t>. </a:t>
            </a:r>
            <a:br>
              <a:rPr lang="en-US" altLang="zh-TW" sz="1200" kern="0" dirty="0">
                <a:latin typeface="+mj-lt"/>
              </a:rPr>
            </a:br>
            <a:r>
              <a:rPr lang="en-US" altLang="zh-TW" sz="1200" kern="0" dirty="0">
                <a:latin typeface="+mj-lt"/>
              </a:rPr>
              <a:t>The index value measures the change in abundance in 31,821 populations across 5,230 species relative to the year 1970 (</a:t>
            </a:r>
            <a:r>
              <a:rPr lang="en-US" altLang="zh-TW" sz="1200" kern="0" dirty="0" err="1">
                <a:latin typeface="+mj-lt"/>
              </a:rPr>
              <a:t>i.e</a:t>
            </a:r>
            <a:r>
              <a:rPr lang="en-US" altLang="zh-TW" sz="1200" kern="0" dirty="0">
                <a:latin typeface="+mj-lt"/>
              </a:rPr>
              <a:t>, 1970 = 100%)</a:t>
            </a:r>
            <a:br>
              <a:rPr lang="en-US" altLang="zh-TW" sz="1200" kern="0" dirty="0">
                <a:latin typeface="+mj-lt"/>
              </a:rPr>
            </a:br>
            <a:endParaRPr kumimoji="0" lang="en-US" altLang="zh-TW" sz="1200" i="0" u="none" strike="noStrike" kern="0" cap="none" spc="0" normalizeH="0" baseline="30000" noProof="0" dirty="0">
              <a:ln>
                <a:noFill/>
              </a:ln>
              <a:effectLst/>
              <a:uLnTx/>
              <a:uFillTx/>
              <a:latin typeface="+mj-lt"/>
              <a:ea typeface="SimHei"/>
              <a:cs typeface="+mn-cs"/>
            </a:endParaRPr>
          </a:p>
        </p:txBody>
      </p:sp>
      <p:pic>
        <p:nvPicPr>
          <p:cNvPr id="5" name="Picture 4" descr="A line graph with numbers&#10;&#10;Description automatically generated">
            <a:extLst>
              <a:ext uri="{FF2B5EF4-FFF2-40B4-BE49-F238E27FC236}">
                <a16:creationId xmlns:a16="http://schemas.microsoft.com/office/drawing/2014/main" id="{4F133DA2-6B67-CBC5-F43F-FD110C95E9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583" y="2542382"/>
            <a:ext cx="5356660" cy="3358068"/>
          </a:xfrm>
          <a:prstGeom prst="rect">
            <a:avLst/>
          </a:prstGeom>
          <a:ln w="3175">
            <a:solidFill>
              <a:schemeClr val="bg1">
                <a:lumMod val="85000"/>
              </a:schemeClr>
            </a:solidFill>
          </a:ln>
        </p:spPr>
      </p:pic>
      <p:pic>
        <p:nvPicPr>
          <p:cNvPr id="7" name="Picture 6" descr="A line graph of a growing trend&#10;&#10;Description automatically generated with medium confidence">
            <a:extLst>
              <a:ext uri="{FF2B5EF4-FFF2-40B4-BE49-F238E27FC236}">
                <a16:creationId xmlns:a16="http://schemas.microsoft.com/office/drawing/2014/main" id="{AC455EAF-60C0-5624-539A-12307853C8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68624" y="2498164"/>
            <a:ext cx="5578550" cy="3358068"/>
          </a:xfrm>
          <a:prstGeom prst="rect">
            <a:avLst/>
          </a:prstGeom>
          <a:ln w="3175">
            <a:solidFill>
              <a:schemeClr val="bg1">
                <a:lumMod val="85000"/>
              </a:schemeClr>
            </a:solidFill>
          </a:ln>
        </p:spPr>
      </p:pic>
    </p:spTree>
    <p:extLst>
      <p:ext uri="{BB962C8B-B14F-4D97-AF65-F5344CB8AC3E}">
        <p14:creationId xmlns:p14="http://schemas.microsoft.com/office/powerpoint/2010/main" val="30186831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223BD-DAB7-7E47-2852-4C7487FE9DE8}"/>
              </a:ext>
            </a:extLst>
          </p:cNvPr>
          <p:cNvSpPr>
            <a:spLocks noGrp="1"/>
          </p:cNvSpPr>
          <p:nvPr>
            <p:ph type="title"/>
          </p:nvPr>
        </p:nvSpPr>
        <p:spPr>
          <a:xfrm>
            <a:off x="235106" y="226349"/>
            <a:ext cx="11831641" cy="973170"/>
          </a:xfrm>
        </p:spPr>
        <p:txBody>
          <a:bodyPr>
            <a:normAutofit/>
          </a:bodyPr>
          <a:lstStyle/>
          <a:p>
            <a:r>
              <a:rPr lang="en-US" dirty="0"/>
              <a:t>...</a:t>
            </a:r>
            <a:r>
              <a:rPr lang="en-US" cap="none" dirty="0">
                <a:latin typeface="AvenirNext LT Pro Bold" panose="020B0804020202020204" pitchFamily="34" charset="0"/>
              </a:rPr>
              <a:t>crossing the safe operating space of our planetary system</a:t>
            </a:r>
            <a:br>
              <a:rPr lang="en-US" dirty="0">
                <a:latin typeface="AvenirNext LT Pro Bold" panose="020B0804020202020204" pitchFamily="34" charset="0"/>
              </a:rPr>
            </a:br>
            <a:r>
              <a:rPr lang="en-US" sz="1800" b="0" cap="none" dirty="0">
                <a:latin typeface="AvenirNext LT Pro Bold" panose="020B0804020202020204" pitchFamily="34" charset="0"/>
              </a:rPr>
              <a:t>6 of 9 planetary boundaries have been transgressed </a:t>
            </a:r>
            <a:endParaRPr lang="en-US" b="0" dirty="0">
              <a:latin typeface="AvenirNext LT Pro Bold" panose="020B0804020202020204" pitchFamily="34" charset="0"/>
            </a:endParaRPr>
          </a:p>
        </p:txBody>
      </p:sp>
      <p:sp>
        <p:nvSpPr>
          <p:cNvPr id="7" name="TextBox 59">
            <a:extLst>
              <a:ext uri="{FF2B5EF4-FFF2-40B4-BE49-F238E27FC236}">
                <a16:creationId xmlns:a16="http://schemas.microsoft.com/office/drawing/2014/main" id="{BE92B306-2932-E74D-D90C-D5D0569E8400}"/>
              </a:ext>
            </a:extLst>
          </p:cNvPr>
          <p:cNvSpPr txBox="1"/>
          <p:nvPr/>
        </p:nvSpPr>
        <p:spPr>
          <a:xfrm>
            <a:off x="8395172" y="4836870"/>
            <a:ext cx="1583767" cy="246221"/>
          </a:xfrm>
          <a:prstGeom prst="rect">
            <a:avLst/>
          </a:prstGeom>
          <a:noFill/>
        </p:spPr>
        <p:txBody>
          <a:bodyPr wrap="none" lIns="0" tIns="0" rIns="0" bIns="0" anchor="b" anchorCtr="0">
            <a:sp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68575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Safe operating space</a:t>
            </a:r>
          </a:p>
        </p:txBody>
      </p:sp>
      <p:sp>
        <p:nvSpPr>
          <p:cNvPr id="8" name="TextBox 59">
            <a:extLst>
              <a:ext uri="{FF2B5EF4-FFF2-40B4-BE49-F238E27FC236}">
                <a16:creationId xmlns:a16="http://schemas.microsoft.com/office/drawing/2014/main" id="{EC41B357-700B-1291-FEC9-EF89B7DE9C73}"/>
              </a:ext>
            </a:extLst>
          </p:cNvPr>
          <p:cNvSpPr txBox="1"/>
          <p:nvPr/>
        </p:nvSpPr>
        <p:spPr>
          <a:xfrm>
            <a:off x="10900594" y="4836870"/>
            <a:ext cx="1064394" cy="246221"/>
          </a:xfrm>
          <a:prstGeom prst="rect">
            <a:avLst/>
          </a:prstGeom>
          <a:noFill/>
        </p:spPr>
        <p:txBody>
          <a:bodyPr wrap="none" lIns="0" tIns="0" rIns="0" bIns="0" anchor="b" anchorCtr="0">
            <a:sp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68575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High risk zone</a:t>
            </a:r>
          </a:p>
        </p:txBody>
      </p:sp>
      <p:sp>
        <p:nvSpPr>
          <p:cNvPr id="9" name="TextBox 59">
            <a:extLst>
              <a:ext uri="{FF2B5EF4-FFF2-40B4-BE49-F238E27FC236}">
                <a16:creationId xmlns:a16="http://schemas.microsoft.com/office/drawing/2014/main" id="{F614006D-E637-DFC6-A348-3CE28C25BE1E}"/>
              </a:ext>
            </a:extLst>
          </p:cNvPr>
          <p:cNvSpPr txBox="1"/>
          <p:nvPr/>
        </p:nvSpPr>
        <p:spPr>
          <a:xfrm>
            <a:off x="9457868" y="5425699"/>
            <a:ext cx="1687962" cy="246221"/>
          </a:xfrm>
          <a:prstGeom prst="rect">
            <a:avLst/>
          </a:prstGeom>
          <a:noFill/>
        </p:spPr>
        <p:txBody>
          <a:bodyPr wrap="none" lIns="0" tIns="0" rIns="0" bIns="0" anchor="b" anchorCtr="0">
            <a:sp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68575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mj-lt"/>
                <a:ea typeface="+mn-ea"/>
                <a:cs typeface="+mn-cs"/>
              </a:rPr>
              <a:t>Zone of increasing risk</a:t>
            </a:r>
          </a:p>
        </p:txBody>
      </p:sp>
      <p:sp>
        <p:nvSpPr>
          <p:cNvPr id="11" name="Partial Circle 10">
            <a:extLst>
              <a:ext uri="{FF2B5EF4-FFF2-40B4-BE49-F238E27FC236}">
                <a16:creationId xmlns:a16="http://schemas.microsoft.com/office/drawing/2014/main" id="{E69AE87B-2BED-AEFC-E247-984F6FF8DA95}"/>
              </a:ext>
            </a:extLst>
          </p:cNvPr>
          <p:cNvSpPr/>
          <p:nvPr/>
        </p:nvSpPr>
        <p:spPr>
          <a:xfrm rot="13263967">
            <a:off x="2880066" y="1733527"/>
            <a:ext cx="5522051" cy="4069184"/>
          </a:xfrm>
          <a:prstGeom prst="pie">
            <a:avLst>
              <a:gd name="adj1" fmla="val 20713206"/>
              <a:gd name="adj2" fmla="val 371218"/>
            </a:avLst>
          </a:prstGeom>
          <a:gradFill flip="none" rotWithShape="1">
            <a:gsLst>
              <a:gs pos="18000">
                <a:srgbClr val="6CB690">
                  <a:lumMod val="75000"/>
                </a:srgbClr>
              </a:gs>
              <a:gs pos="80587">
                <a:srgbClr val="AB334D"/>
              </a:gs>
              <a:gs pos="44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ECF070D2-4AAE-F31D-A49D-CB03ADB6591D}"/>
              </a:ext>
            </a:extLst>
          </p:cNvPr>
          <p:cNvGrpSpPr/>
          <p:nvPr/>
        </p:nvGrpSpPr>
        <p:grpSpPr>
          <a:xfrm>
            <a:off x="1177512" y="1523772"/>
            <a:ext cx="8569897" cy="4913893"/>
            <a:chOff x="1639943" y="932874"/>
            <a:chExt cx="8188308" cy="5106392"/>
          </a:xfrm>
        </p:grpSpPr>
        <p:sp>
          <p:nvSpPr>
            <p:cNvPr id="13" name="TextBox 62">
              <a:extLst>
                <a:ext uri="{FF2B5EF4-FFF2-40B4-BE49-F238E27FC236}">
                  <a16:creationId xmlns:a16="http://schemas.microsoft.com/office/drawing/2014/main" id="{A4F963A0-7698-BCEA-451A-F097129FACBD}"/>
                </a:ext>
              </a:extLst>
            </p:cNvPr>
            <p:cNvSpPr txBox="1"/>
            <p:nvPr/>
          </p:nvSpPr>
          <p:spPr>
            <a:xfrm>
              <a:off x="5205831" y="5215909"/>
              <a:ext cx="1360124" cy="823357"/>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AB334D"/>
                  </a:solidFill>
                  <a:effectLst/>
                  <a:uLnTx/>
                  <a:uFillTx/>
                  <a:latin typeface="+mj-lt"/>
                  <a:ea typeface="+mn-ea"/>
                  <a:cs typeface="+mn-cs"/>
                </a:rPr>
                <a:t>Biochemical</a:t>
              </a:r>
            </a:p>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AB334D"/>
                  </a:solidFill>
                  <a:effectLst/>
                  <a:uLnTx/>
                  <a:uFillTx/>
                  <a:latin typeface="+mj-lt"/>
                  <a:ea typeface="+mn-ea"/>
                  <a:cs typeface="+mn-cs"/>
                </a:rPr>
                <a:t>flows</a:t>
              </a:r>
            </a:p>
          </p:txBody>
        </p:sp>
        <p:grpSp>
          <p:nvGrpSpPr>
            <p:cNvPr id="14" name="Group 13">
              <a:extLst>
                <a:ext uri="{FF2B5EF4-FFF2-40B4-BE49-F238E27FC236}">
                  <a16:creationId xmlns:a16="http://schemas.microsoft.com/office/drawing/2014/main" id="{9EB96AE3-2563-9006-7E15-D0B640FEF9A9}"/>
                </a:ext>
              </a:extLst>
            </p:cNvPr>
            <p:cNvGrpSpPr/>
            <p:nvPr/>
          </p:nvGrpSpPr>
          <p:grpSpPr>
            <a:xfrm>
              <a:off x="1639943" y="932874"/>
              <a:ext cx="8188308" cy="4520736"/>
              <a:chOff x="1639943" y="932874"/>
              <a:chExt cx="8188308" cy="4520736"/>
            </a:xfrm>
          </p:grpSpPr>
          <p:grpSp>
            <p:nvGrpSpPr>
              <p:cNvPr id="15" name="Group 14">
                <a:extLst>
                  <a:ext uri="{FF2B5EF4-FFF2-40B4-BE49-F238E27FC236}">
                    <a16:creationId xmlns:a16="http://schemas.microsoft.com/office/drawing/2014/main" id="{696AE2DC-3A0C-B52E-7DF7-22D0B9F1D9CE}"/>
                  </a:ext>
                </a:extLst>
              </p:cNvPr>
              <p:cNvGrpSpPr/>
              <p:nvPr/>
            </p:nvGrpSpPr>
            <p:grpSpPr>
              <a:xfrm>
                <a:off x="1639943" y="932874"/>
                <a:ext cx="8188308" cy="4520736"/>
                <a:chOff x="3626639" y="904731"/>
                <a:chExt cx="8188308" cy="4520736"/>
              </a:xfrm>
            </p:grpSpPr>
            <p:grpSp>
              <p:nvGrpSpPr>
                <p:cNvPr id="18" name="Group 17">
                  <a:extLst>
                    <a:ext uri="{FF2B5EF4-FFF2-40B4-BE49-F238E27FC236}">
                      <a16:creationId xmlns:a16="http://schemas.microsoft.com/office/drawing/2014/main" id="{6C0CB3EB-B474-2DF3-22B0-621C1E80A40D}"/>
                    </a:ext>
                  </a:extLst>
                </p:cNvPr>
                <p:cNvGrpSpPr/>
                <p:nvPr/>
              </p:nvGrpSpPr>
              <p:grpSpPr>
                <a:xfrm>
                  <a:off x="5553284" y="904731"/>
                  <a:ext cx="4824542" cy="4520736"/>
                  <a:chOff x="5553284" y="904731"/>
                  <a:chExt cx="4824542" cy="4520736"/>
                </a:xfrm>
              </p:grpSpPr>
              <p:sp>
                <p:nvSpPr>
                  <p:cNvPr id="27" name="Partial Circle 26">
                    <a:extLst>
                      <a:ext uri="{FF2B5EF4-FFF2-40B4-BE49-F238E27FC236}">
                        <a16:creationId xmlns:a16="http://schemas.microsoft.com/office/drawing/2014/main" id="{8D4CF923-ACC3-265B-3EAE-63F74DCB31B2}"/>
                      </a:ext>
                    </a:extLst>
                  </p:cNvPr>
                  <p:cNvSpPr/>
                  <p:nvPr/>
                </p:nvSpPr>
                <p:spPr>
                  <a:xfrm rot="4762327">
                    <a:off x="7233868" y="2601987"/>
                    <a:ext cx="1325434" cy="1342670"/>
                  </a:xfrm>
                  <a:prstGeom prst="pie">
                    <a:avLst>
                      <a:gd name="adj1" fmla="val 18460230"/>
                      <a:gd name="adj2" fmla="val 21145186"/>
                    </a:avLst>
                  </a:prstGeom>
                  <a:solidFill>
                    <a:srgbClr val="6CB690">
                      <a:lumMod val="75000"/>
                    </a:srgbClr>
                  </a:solidFill>
                  <a:ln w="6350"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grpSp>
                <p:nvGrpSpPr>
                  <p:cNvPr id="28" name="Group 27">
                    <a:extLst>
                      <a:ext uri="{FF2B5EF4-FFF2-40B4-BE49-F238E27FC236}">
                        <a16:creationId xmlns:a16="http://schemas.microsoft.com/office/drawing/2014/main" id="{41F805F7-38B4-E11B-54DD-A7531F48839E}"/>
                      </a:ext>
                    </a:extLst>
                  </p:cNvPr>
                  <p:cNvGrpSpPr/>
                  <p:nvPr/>
                </p:nvGrpSpPr>
                <p:grpSpPr>
                  <a:xfrm>
                    <a:off x="5553284" y="904731"/>
                    <a:ext cx="4824542" cy="4520736"/>
                    <a:chOff x="3328488" y="855997"/>
                    <a:chExt cx="5601387" cy="5509304"/>
                  </a:xfrm>
                </p:grpSpPr>
                <p:cxnSp>
                  <p:nvCxnSpPr>
                    <p:cNvPr id="43" name="Straight Connector 42">
                      <a:extLst>
                        <a:ext uri="{FF2B5EF4-FFF2-40B4-BE49-F238E27FC236}">
                          <a16:creationId xmlns:a16="http://schemas.microsoft.com/office/drawing/2014/main" id="{DC2770D5-0113-94C5-DE8F-D265A623E932}"/>
                        </a:ext>
                      </a:extLst>
                    </p:cNvPr>
                    <p:cNvCxnSpPr>
                      <a:cxnSpLocks/>
                    </p:cNvCxnSpPr>
                    <p:nvPr/>
                  </p:nvCxnSpPr>
                  <p:spPr>
                    <a:xfrm flipH="1">
                      <a:off x="6045639" y="3182408"/>
                      <a:ext cx="2884236" cy="551870"/>
                    </a:xfrm>
                    <a:prstGeom prst="line">
                      <a:avLst/>
                    </a:prstGeom>
                    <a:noFill/>
                    <a:ln w="6350" cap="flat" cmpd="sng" algn="ctr">
                      <a:solidFill>
                        <a:srgbClr val="615856"/>
                      </a:solidFill>
                      <a:prstDash val="solid"/>
                    </a:ln>
                    <a:effectLst/>
                  </p:spPr>
                </p:cxnSp>
                <p:grpSp>
                  <p:nvGrpSpPr>
                    <p:cNvPr id="44" name="Group 43">
                      <a:extLst>
                        <a:ext uri="{FF2B5EF4-FFF2-40B4-BE49-F238E27FC236}">
                          <a16:creationId xmlns:a16="http://schemas.microsoft.com/office/drawing/2014/main" id="{6FD6BE77-E20C-C7CB-B2F5-E1508154B294}"/>
                        </a:ext>
                      </a:extLst>
                    </p:cNvPr>
                    <p:cNvGrpSpPr/>
                    <p:nvPr/>
                  </p:nvGrpSpPr>
                  <p:grpSpPr>
                    <a:xfrm>
                      <a:off x="3328488" y="855997"/>
                      <a:ext cx="5390163" cy="5509304"/>
                      <a:chOff x="3328488" y="855997"/>
                      <a:chExt cx="5390163" cy="5509304"/>
                    </a:xfrm>
                  </p:grpSpPr>
                  <p:cxnSp>
                    <p:nvCxnSpPr>
                      <p:cNvPr id="45" name="Straight Connector 44">
                        <a:extLst>
                          <a:ext uri="{FF2B5EF4-FFF2-40B4-BE49-F238E27FC236}">
                            <a16:creationId xmlns:a16="http://schemas.microsoft.com/office/drawing/2014/main" id="{4E6CCEB4-6DE3-E0A9-CB87-F36A9F1A9A79}"/>
                          </a:ext>
                        </a:extLst>
                      </p:cNvPr>
                      <p:cNvCxnSpPr>
                        <a:cxnSpLocks/>
                      </p:cNvCxnSpPr>
                      <p:nvPr/>
                    </p:nvCxnSpPr>
                    <p:spPr>
                      <a:xfrm flipH="1" flipV="1">
                        <a:off x="6051248" y="3737741"/>
                        <a:ext cx="2667403" cy="1461171"/>
                      </a:xfrm>
                      <a:prstGeom prst="line">
                        <a:avLst/>
                      </a:prstGeom>
                      <a:noFill/>
                      <a:ln w="6350" cap="flat" cmpd="sng" algn="ctr">
                        <a:solidFill>
                          <a:srgbClr val="615856"/>
                        </a:solidFill>
                        <a:prstDash val="solid"/>
                      </a:ln>
                      <a:effectLst/>
                    </p:spPr>
                  </p:cxnSp>
                  <p:cxnSp>
                    <p:nvCxnSpPr>
                      <p:cNvPr id="46" name="Straight Connector 45">
                        <a:extLst>
                          <a:ext uri="{FF2B5EF4-FFF2-40B4-BE49-F238E27FC236}">
                            <a16:creationId xmlns:a16="http://schemas.microsoft.com/office/drawing/2014/main" id="{3AC735BD-776F-15E3-9631-9575C7A01EE5}"/>
                          </a:ext>
                        </a:extLst>
                      </p:cNvPr>
                      <p:cNvCxnSpPr>
                        <a:cxnSpLocks/>
                      </p:cNvCxnSpPr>
                      <p:nvPr/>
                    </p:nvCxnSpPr>
                    <p:spPr>
                      <a:xfrm flipH="1">
                        <a:off x="6058407" y="1290514"/>
                        <a:ext cx="1923874" cy="2443764"/>
                      </a:xfrm>
                      <a:prstGeom prst="line">
                        <a:avLst/>
                      </a:prstGeom>
                      <a:noFill/>
                      <a:ln w="6350" cap="flat" cmpd="sng" algn="ctr">
                        <a:solidFill>
                          <a:srgbClr val="615856"/>
                        </a:solidFill>
                        <a:prstDash val="solid"/>
                      </a:ln>
                      <a:effectLst/>
                    </p:spPr>
                  </p:cxnSp>
                  <p:cxnSp>
                    <p:nvCxnSpPr>
                      <p:cNvPr id="47" name="Straight Connector 46">
                        <a:extLst>
                          <a:ext uri="{FF2B5EF4-FFF2-40B4-BE49-F238E27FC236}">
                            <a16:creationId xmlns:a16="http://schemas.microsoft.com/office/drawing/2014/main" id="{3790B8EE-EBD2-4DD5-C565-13CA3AA8FB40}"/>
                          </a:ext>
                        </a:extLst>
                      </p:cNvPr>
                      <p:cNvCxnSpPr>
                        <a:cxnSpLocks/>
                      </p:cNvCxnSpPr>
                      <p:nvPr/>
                    </p:nvCxnSpPr>
                    <p:spPr>
                      <a:xfrm>
                        <a:off x="6009458" y="855997"/>
                        <a:ext cx="43492" cy="2886476"/>
                      </a:xfrm>
                      <a:prstGeom prst="line">
                        <a:avLst/>
                      </a:prstGeom>
                      <a:noFill/>
                      <a:ln w="6350" cap="flat" cmpd="sng" algn="ctr">
                        <a:solidFill>
                          <a:srgbClr val="615856"/>
                        </a:solidFill>
                        <a:prstDash val="solid"/>
                      </a:ln>
                      <a:effectLst/>
                    </p:spPr>
                  </p:cxnSp>
                  <p:cxnSp>
                    <p:nvCxnSpPr>
                      <p:cNvPr id="48" name="Straight Connector 47">
                        <a:extLst>
                          <a:ext uri="{FF2B5EF4-FFF2-40B4-BE49-F238E27FC236}">
                            <a16:creationId xmlns:a16="http://schemas.microsoft.com/office/drawing/2014/main" id="{98CAB8E2-4F2D-4765-B2A4-61B419384C55}"/>
                          </a:ext>
                        </a:extLst>
                      </p:cNvPr>
                      <p:cNvCxnSpPr>
                        <a:cxnSpLocks/>
                      </p:cNvCxnSpPr>
                      <p:nvPr/>
                    </p:nvCxnSpPr>
                    <p:spPr>
                      <a:xfrm>
                        <a:off x="3984111" y="1151789"/>
                        <a:ext cx="2065805" cy="2577007"/>
                      </a:xfrm>
                      <a:prstGeom prst="line">
                        <a:avLst/>
                      </a:prstGeom>
                      <a:noFill/>
                      <a:ln w="6350" cap="flat" cmpd="sng" algn="ctr">
                        <a:solidFill>
                          <a:srgbClr val="615856"/>
                        </a:solidFill>
                        <a:prstDash val="solid"/>
                      </a:ln>
                      <a:effectLst/>
                    </p:spPr>
                  </p:cxnSp>
                  <p:cxnSp>
                    <p:nvCxnSpPr>
                      <p:cNvPr id="49" name="Straight Connector 48">
                        <a:extLst>
                          <a:ext uri="{FF2B5EF4-FFF2-40B4-BE49-F238E27FC236}">
                            <a16:creationId xmlns:a16="http://schemas.microsoft.com/office/drawing/2014/main" id="{6E7380DE-F998-AB7F-A6B8-958E862082D6}"/>
                          </a:ext>
                        </a:extLst>
                      </p:cNvPr>
                      <p:cNvCxnSpPr>
                        <a:cxnSpLocks/>
                      </p:cNvCxnSpPr>
                      <p:nvPr/>
                    </p:nvCxnSpPr>
                    <p:spPr>
                      <a:xfrm flipV="1">
                        <a:off x="5173103" y="3737600"/>
                        <a:ext cx="876216" cy="2627701"/>
                      </a:xfrm>
                      <a:prstGeom prst="line">
                        <a:avLst/>
                      </a:prstGeom>
                      <a:noFill/>
                      <a:ln w="6350" cap="flat" cmpd="sng" algn="ctr">
                        <a:solidFill>
                          <a:srgbClr val="615856"/>
                        </a:solidFill>
                        <a:prstDash val="solid"/>
                      </a:ln>
                      <a:effectLst/>
                    </p:spPr>
                  </p:cxnSp>
                  <p:cxnSp>
                    <p:nvCxnSpPr>
                      <p:cNvPr id="50" name="Straight Connector 49">
                        <a:extLst>
                          <a:ext uri="{FF2B5EF4-FFF2-40B4-BE49-F238E27FC236}">
                            <a16:creationId xmlns:a16="http://schemas.microsoft.com/office/drawing/2014/main" id="{C55F47B3-81AB-1D37-0DE4-C54266588E5B}"/>
                          </a:ext>
                        </a:extLst>
                      </p:cNvPr>
                      <p:cNvCxnSpPr>
                        <a:cxnSpLocks/>
                      </p:cNvCxnSpPr>
                      <p:nvPr/>
                    </p:nvCxnSpPr>
                    <p:spPr>
                      <a:xfrm flipV="1">
                        <a:off x="3775219" y="3734279"/>
                        <a:ext cx="2269703" cy="1303695"/>
                      </a:xfrm>
                      <a:prstGeom prst="line">
                        <a:avLst/>
                      </a:prstGeom>
                      <a:noFill/>
                      <a:ln w="6350" cap="flat" cmpd="sng" algn="ctr">
                        <a:solidFill>
                          <a:srgbClr val="615856"/>
                        </a:solidFill>
                        <a:prstDash val="solid"/>
                      </a:ln>
                      <a:effectLst/>
                    </p:spPr>
                  </p:cxnSp>
                  <p:cxnSp>
                    <p:nvCxnSpPr>
                      <p:cNvPr id="51" name="Straight Connector 50">
                        <a:extLst>
                          <a:ext uri="{FF2B5EF4-FFF2-40B4-BE49-F238E27FC236}">
                            <a16:creationId xmlns:a16="http://schemas.microsoft.com/office/drawing/2014/main" id="{D4E30911-2759-D65D-1843-3386EAD347D2}"/>
                          </a:ext>
                        </a:extLst>
                      </p:cNvPr>
                      <p:cNvCxnSpPr>
                        <a:cxnSpLocks/>
                      </p:cNvCxnSpPr>
                      <p:nvPr/>
                    </p:nvCxnSpPr>
                    <p:spPr>
                      <a:xfrm>
                        <a:off x="3328488" y="3259812"/>
                        <a:ext cx="2722760" cy="480110"/>
                      </a:xfrm>
                      <a:prstGeom prst="line">
                        <a:avLst/>
                      </a:prstGeom>
                      <a:noFill/>
                      <a:ln w="6350" cap="flat" cmpd="sng" algn="ctr">
                        <a:solidFill>
                          <a:srgbClr val="615856"/>
                        </a:solidFill>
                        <a:prstDash val="solid"/>
                      </a:ln>
                      <a:effectLst/>
                    </p:spPr>
                  </p:cxnSp>
                  <p:cxnSp>
                    <p:nvCxnSpPr>
                      <p:cNvPr id="52" name="Straight Connector 51">
                        <a:extLst>
                          <a:ext uri="{FF2B5EF4-FFF2-40B4-BE49-F238E27FC236}">
                            <a16:creationId xmlns:a16="http://schemas.microsoft.com/office/drawing/2014/main" id="{F469C3EF-8EE8-B6A2-C1B1-8E46CBD2E9B8}"/>
                          </a:ext>
                        </a:extLst>
                      </p:cNvPr>
                      <p:cNvCxnSpPr>
                        <a:cxnSpLocks/>
                      </p:cNvCxnSpPr>
                      <p:nvPr/>
                    </p:nvCxnSpPr>
                    <p:spPr>
                      <a:xfrm flipH="1" flipV="1">
                        <a:off x="6049320" y="3730733"/>
                        <a:ext cx="796290" cy="2618051"/>
                      </a:xfrm>
                      <a:prstGeom prst="line">
                        <a:avLst/>
                      </a:prstGeom>
                      <a:noFill/>
                      <a:ln w="6350" cap="flat" cmpd="sng" algn="ctr">
                        <a:solidFill>
                          <a:srgbClr val="615856"/>
                        </a:solidFill>
                        <a:prstDash val="solid"/>
                      </a:ln>
                      <a:effectLst/>
                    </p:spPr>
                  </p:cxnSp>
                </p:grpSp>
              </p:grpSp>
              <p:sp>
                <p:nvSpPr>
                  <p:cNvPr id="29" name="Partial Circle 28">
                    <a:extLst>
                      <a:ext uri="{FF2B5EF4-FFF2-40B4-BE49-F238E27FC236}">
                        <a16:creationId xmlns:a16="http://schemas.microsoft.com/office/drawing/2014/main" id="{4B7351A3-EB63-C9DD-DD44-7ABB335E62FA}"/>
                      </a:ext>
                    </a:extLst>
                  </p:cNvPr>
                  <p:cNvSpPr/>
                  <p:nvPr/>
                </p:nvSpPr>
                <p:spPr>
                  <a:xfrm rot="372513">
                    <a:off x="7335253" y="2585960"/>
                    <a:ext cx="1136981" cy="1366598"/>
                  </a:xfrm>
                  <a:prstGeom prst="pie">
                    <a:avLst>
                      <a:gd name="adj1" fmla="val 20610354"/>
                      <a:gd name="adj2" fmla="val 1296622"/>
                    </a:avLst>
                  </a:prstGeom>
                  <a:solidFill>
                    <a:srgbClr val="48916C"/>
                  </a:solidFill>
                  <a:ln w="6350"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sp>
                <p:nvSpPr>
                  <p:cNvPr id="30" name="Partial Circle 29">
                    <a:extLst>
                      <a:ext uri="{FF2B5EF4-FFF2-40B4-BE49-F238E27FC236}">
                        <a16:creationId xmlns:a16="http://schemas.microsoft.com/office/drawing/2014/main" id="{69119649-DAF9-9E15-2F88-301C51D09CFB}"/>
                      </a:ext>
                    </a:extLst>
                  </p:cNvPr>
                  <p:cNvSpPr/>
                  <p:nvPr/>
                </p:nvSpPr>
                <p:spPr>
                  <a:xfrm rot="19436806">
                    <a:off x="7442477" y="2703988"/>
                    <a:ext cx="946684" cy="1114787"/>
                  </a:xfrm>
                  <a:prstGeom prst="pie">
                    <a:avLst>
                      <a:gd name="adj1" fmla="val 20805124"/>
                      <a:gd name="adj2" fmla="val 1528824"/>
                    </a:avLst>
                  </a:prstGeom>
                  <a:solidFill>
                    <a:srgbClr val="48916C"/>
                  </a:solidFill>
                  <a:ln w="6350"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sp>
                <p:nvSpPr>
                  <p:cNvPr id="31" name="Partial Circle 30">
                    <a:extLst>
                      <a:ext uri="{FF2B5EF4-FFF2-40B4-BE49-F238E27FC236}">
                        <a16:creationId xmlns:a16="http://schemas.microsoft.com/office/drawing/2014/main" id="{F56B5BEC-78AC-73F9-AEEC-E4384C1AE511}"/>
                      </a:ext>
                    </a:extLst>
                  </p:cNvPr>
                  <p:cNvSpPr/>
                  <p:nvPr/>
                </p:nvSpPr>
                <p:spPr>
                  <a:xfrm rot="12302318">
                    <a:off x="6532332" y="1154962"/>
                    <a:ext cx="2770251" cy="4228592"/>
                  </a:xfrm>
                  <a:prstGeom prst="pie">
                    <a:avLst>
                      <a:gd name="adj1" fmla="val 20652404"/>
                      <a:gd name="adj2" fmla="val 216024"/>
                    </a:avLst>
                  </a:prstGeom>
                  <a:gradFill flip="none" rotWithShape="1">
                    <a:gsLst>
                      <a:gs pos="41000">
                        <a:srgbClr val="E4F0EB">
                          <a:lumMod val="50000"/>
                        </a:srgbClr>
                      </a:gs>
                      <a:gs pos="85000">
                        <a:srgbClr val="AB334D"/>
                      </a:gs>
                      <a:gs pos="58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grpSp>
                <p:nvGrpSpPr>
                  <p:cNvPr id="32" name="Group 31">
                    <a:extLst>
                      <a:ext uri="{FF2B5EF4-FFF2-40B4-BE49-F238E27FC236}">
                        <a16:creationId xmlns:a16="http://schemas.microsoft.com/office/drawing/2014/main" id="{52065DD4-304A-B338-A43B-A7098FC631C6}"/>
                      </a:ext>
                    </a:extLst>
                  </p:cNvPr>
                  <p:cNvGrpSpPr/>
                  <p:nvPr/>
                </p:nvGrpSpPr>
                <p:grpSpPr>
                  <a:xfrm>
                    <a:off x="5756689" y="1154963"/>
                    <a:ext cx="4277573" cy="4228592"/>
                    <a:chOff x="5756689" y="1154963"/>
                    <a:chExt cx="4277573" cy="4228592"/>
                  </a:xfrm>
                </p:grpSpPr>
                <p:grpSp>
                  <p:nvGrpSpPr>
                    <p:cNvPr id="33" name="Group 32">
                      <a:extLst>
                        <a:ext uri="{FF2B5EF4-FFF2-40B4-BE49-F238E27FC236}">
                          <a16:creationId xmlns:a16="http://schemas.microsoft.com/office/drawing/2014/main" id="{10BFF4D0-999F-37B4-01BD-CFF2B1871A2D}"/>
                        </a:ext>
                      </a:extLst>
                    </p:cNvPr>
                    <p:cNvGrpSpPr/>
                    <p:nvPr/>
                  </p:nvGrpSpPr>
                  <p:grpSpPr>
                    <a:xfrm>
                      <a:off x="5783304" y="1293411"/>
                      <a:ext cx="4232744" cy="3960000"/>
                      <a:chOff x="5783304" y="1293411"/>
                      <a:chExt cx="4232744" cy="3960000"/>
                    </a:xfrm>
                  </p:grpSpPr>
                  <p:grpSp>
                    <p:nvGrpSpPr>
                      <p:cNvPr id="38" name="Group 37">
                        <a:extLst>
                          <a:ext uri="{FF2B5EF4-FFF2-40B4-BE49-F238E27FC236}">
                            <a16:creationId xmlns:a16="http://schemas.microsoft.com/office/drawing/2014/main" id="{7497A22A-EF4B-65D5-9A11-610F9CC0A3FD}"/>
                          </a:ext>
                        </a:extLst>
                      </p:cNvPr>
                      <p:cNvGrpSpPr/>
                      <p:nvPr/>
                    </p:nvGrpSpPr>
                    <p:grpSpPr>
                      <a:xfrm>
                        <a:off x="5783304" y="1293411"/>
                        <a:ext cx="4232744" cy="3960000"/>
                        <a:chOff x="5783304" y="1293411"/>
                        <a:chExt cx="4232744" cy="3960000"/>
                      </a:xfrm>
                    </p:grpSpPr>
                    <p:sp>
                      <p:nvSpPr>
                        <p:cNvPr id="40" name="Partial Circle 39">
                          <a:extLst>
                            <a:ext uri="{FF2B5EF4-FFF2-40B4-BE49-F238E27FC236}">
                              <a16:creationId xmlns:a16="http://schemas.microsoft.com/office/drawing/2014/main" id="{5A2E6A56-1AF3-A629-A964-2A0F3595788A}"/>
                            </a:ext>
                          </a:extLst>
                        </p:cNvPr>
                        <p:cNvSpPr/>
                        <p:nvPr/>
                      </p:nvSpPr>
                      <p:spPr>
                        <a:xfrm rot="16826244">
                          <a:off x="5922940" y="1293411"/>
                          <a:ext cx="3960000" cy="3960000"/>
                        </a:xfrm>
                        <a:prstGeom prst="pie">
                          <a:avLst>
                            <a:gd name="adj1" fmla="val 20911145"/>
                            <a:gd name="adj2" fmla="val 1893295"/>
                          </a:avLst>
                        </a:prstGeom>
                        <a:gradFill flip="none" rotWithShape="1">
                          <a:gsLst>
                            <a:gs pos="36000">
                              <a:srgbClr val="6CB690">
                                <a:lumMod val="75000"/>
                              </a:srgbClr>
                            </a:gs>
                            <a:gs pos="77000">
                              <a:srgbClr val="BBA394"/>
                            </a:gs>
                            <a:gs pos="57000">
                              <a:srgbClr val="BBA394"/>
                            </a:gs>
                            <a:gs pos="100000">
                              <a:srgbClr val="AB334D"/>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sp>
                      <p:nvSpPr>
                        <p:cNvPr id="41" name="Partial Circle 40">
                          <a:extLst>
                            <a:ext uri="{FF2B5EF4-FFF2-40B4-BE49-F238E27FC236}">
                              <a16:creationId xmlns:a16="http://schemas.microsoft.com/office/drawing/2014/main" id="{7BD514CF-A2D3-10BB-6E04-6F9873275C93}"/>
                            </a:ext>
                          </a:extLst>
                        </p:cNvPr>
                        <p:cNvSpPr/>
                        <p:nvPr/>
                      </p:nvSpPr>
                      <p:spPr>
                        <a:xfrm rot="15729456">
                          <a:off x="6512474" y="1158269"/>
                          <a:ext cx="2770251" cy="4228592"/>
                        </a:xfrm>
                        <a:prstGeom prst="pie">
                          <a:avLst>
                            <a:gd name="adj1" fmla="val 20924160"/>
                            <a:gd name="adj2" fmla="val 407943"/>
                          </a:avLst>
                        </a:prstGeom>
                        <a:gradFill flip="none" rotWithShape="1">
                          <a:gsLst>
                            <a:gs pos="47000">
                              <a:srgbClr val="6CB690">
                                <a:lumMod val="75000"/>
                              </a:srgbClr>
                            </a:gs>
                            <a:gs pos="80587">
                              <a:srgbClr val="AB334D"/>
                            </a:gs>
                            <a:gs pos="62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sp>
                      <p:nvSpPr>
                        <p:cNvPr id="42" name="Partial Circle 41">
                          <a:extLst>
                            <a:ext uri="{FF2B5EF4-FFF2-40B4-BE49-F238E27FC236}">
                              <a16:creationId xmlns:a16="http://schemas.microsoft.com/office/drawing/2014/main" id="{C42BCCDB-D738-DBEB-00A8-5175FC9E1D2B}"/>
                            </a:ext>
                          </a:extLst>
                        </p:cNvPr>
                        <p:cNvSpPr/>
                        <p:nvPr/>
                      </p:nvSpPr>
                      <p:spPr>
                        <a:xfrm rot="14379898">
                          <a:off x="6884051" y="1154153"/>
                          <a:ext cx="2035401" cy="4228592"/>
                        </a:xfrm>
                        <a:prstGeom prst="pie">
                          <a:avLst>
                            <a:gd name="adj1" fmla="val 21022042"/>
                            <a:gd name="adj2" fmla="val 663391"/>
                          </a:avLst>
                        </a:prstGeom>
                        <a:gradFill flip="none" rotWithShape="1">
                          <a:gsLst>
                            <a:gs pos="65000">
                              <a:srgbClr val="6CB690">
                                <a:lumMod val="75000"/>
                              </a:srgbClr>
                            </a:gs>
                            <a:gs pos="99000">
                              <a:srgbClr val="AB334D"/>
                            </a:gs>
                            <a:gs pos="78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grpSp>
                  <p:sp>
                    <p:nvSpPr>
                      <p:cNvPr id="39" name="Partial Circle 38">
                        <a:extLst>
                          <a:ext uri="{FF2B5EF4-FFF2-40B4-BE49-F238E27FC236}">
                            <a16:creationId xmlns:a16="http://schemas.microsoft.com/office/drawing/2014/main" id="{652C45D3-C832-2BA6-9A16-8A643037A5C6}"/>
                          </a:ext>
                        </a:extLst>
                      </p:cNvPr>
                      <p:cNvSpPr/>
                      <p:nvPr/>
                    </p:nvSpPr>
                    <p:spPr>
                      <a:xfrm rot="9818198">
                        <a:off x="6631471" y="2005811"/>
                        <a:ext cx="2520000" cy="2520000"/>
                      </a:xfrm>
                      <a:prstGeom prst="pie">
                        <a:avLst>
                          <a:gd name="adj1" fmla="val 20842608"/>
                          <a:gd name="adj2" fmla="val 1532435"/>
                        </a:avLst>
                      </a:prstGeom>
                      <a:gradFill flip="none" rotWithShape="1">
                        <a:gsLst>
                          <a:gs pos="66000">
                            <a:srgbClr val="6CB690">
                              <a:lumMod val="75000"/>
                            </a:srgbClr>
                          </a:gs>
                          <a:gs pos="99000">
                            <a:srgbClr val="AB334D"/>
                          </a:gs>
                          <a:gs pos="78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grpSp>
                <p:sp>
                  <p:nvSpPr>
                    <p:cNvPr id="34" name="Partial Circle 33">
                      <a:extLst>
                        <a:ext uri="{FF2B5EF4-FFF2-40B4-BE49-F238E27FC236}">
                          <a16:creationId xmlns:a16="http://schemas.microsoft.com/office/drawing/2014/main" id="{01472974-DBC7-9834-2C5D-327722ECC449}"/>
                        </a:ext>
                      </a:extLst>
                    </p:cNvPr>
                    <p:cNvSpPr/>
                    <p:nvPr/>
                  </p:nvSpPr>
                  <p:spPr>
                    <a:xfrm rot="8326415">
                      <a:off x="6885753" y="1154963"/>
                      <a:ext cx="2019444" cy="4228592"/>
                    </a:xfrm>
                    <a:prstGeom prst="pie">
                      <a:avLst>
                        <a:gd name="adj1" fmla="val 21033895"/>
                        <a:gd name="adj2" fmla="val 757757"/>
                      </a:avLst>
                    </a:prstGeom>
                    <a:gradFill flip="none" rotWithShape="1">
                      <a:gsLst>
                        <a:gs pos="74000">
                          <a:srgbClr val="6CB690">
                            <a:lumMod val="75000"/>
                          </a:srgbClr>
                        </a:gs>
                        <a:gs pos="100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sp>
                  <p:nvSpPr>
                    <p:cNvPr id="35" name="Partial Circle 34">
                      <a:extLst>
                        <a:ext uri="{FF2B5EF4-FFF2-40B4-BE49-F238E27FC236}">
                          <a16:creationId xmlns:a16="http://schemas.microsoft.com/office/drawing/2014/main" id="{59F2D78A-F8DA-0DFA-637A-B8C4413CBE81}"/>
                        </a:ext>
                      </a:extLst>
                    </p:cNvPr>
                    <p:cNvSpPr/>
                    <p:nvPr/>
                  </p:nvSpPr>
                  <p:spPr>
                    <a:xfrm rot="7170660">
                      <a:off x="6936143" y="1148238"/>
                      <a:ext cx="1924577" cy="4228592"/>
                    </a:xfrm>
                    <a:prstGeom prst="pie">
                      <a:avLst>
                        <a:gd name="adj1" fmla="val 20996551"/>
                        <a:gd name="adj2" fmla="val 580635"/>
                      </a:avLst>
                    </a:prstGeom>
                    <a:gradFill flip="none" rotWithShape="1">
                      <a:gsLst>
                        <a:gs pos="74000">
                          <a:srgbClr val="6CB690">
                            <a:lumMod val="75000"/>
                          </a:srgbClr>
                        </a:gs>
                        <a:gs pos="100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sp>
                  <p:nvSpPr>
                    <p:cNvPr id="36" name="Partial Circle 35">
                      <a:extLst>
                        <a:ext uri="{FF2B5EF4-FFF2-40B4-BE49-F238E27FC236}">
                          <a16:creationId xmlns:a16="http://schemas.microsoft.com/office/drawing/2014/main" id="{D3C6BC80-080A-A75F-AF22-CDDC31FDCF6C}"/>
                        </a:ext>
                      </a:extLst>
                    </p:cNvPr>
                    <p:cNvSpPr/>
                    <p:nvPr/>
                  </p:nvSpPr>
                  <p:spPr>
                    <a:xfrm rot="6107730">
                      <a:off x="6305263" y="1142579"/>
                      <a:ext cx="3180425" cy="4277573"/>
                    </a:xfrm>
                    <a:prstGeom prst="pie">
                      <a:avLst>
                        <a:gd name="adj1" fmla="val 21139473"/>
                        <a:gd name="adj2" fmla="val 457152"/>
                      </a:avLst>
                    </a:prstGeom>
                    <a:gradFill flip="none" rotWithShape="1">
                      <a:gsLst>
                        <a:gs pos="61000">
                          <a:srgbClr val="6CB690">
                            <a:lumMod val="75000"/>
                          </a:srgbClr>
                        </a:gs>
                        <a:gs pos="89000">
                          <a:srgbClr val="AB334D"/>
                        </a:gs>
                        <a:gs pos="77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sp>
                  <p:nvSpPr>
                    <p:cNvPr id="37" name="Partial Circle 36">
                      <a:extLst>
                        <a:ext uri="{FF2B5EF4-FFF2-40B4-BE49-F238E27FC236}">
                          <a16:creationId xmlns:a16="http://schemas.microsoft.com/office/drawing/2014/main" id="{479121BA-9140-3FD8-F7C9-FC410637A0D4}"/>
                        </a:ext>
                      </a:extLst>
                    </p:cNvPr>
                    <p:cNvSpPr/>
                    <p:nvPr/>
                  </p:nvSpPr>
                  <p:spPr>
                    <a:xfrm rot="5245857">
                      <a:off x="6446727" y="1149444"/>
                      <a:ext cx="2899715" cy="4228592"/>
                    </a:xfrm>
                    <a:prstGeom prst="pie">
                      <a:avLst>
                        <a:gd name="adj1" fmla="val 20694920"/>
                        <a:gd name="adj2" fmla="val 404463"/>
                      </a:avLst>
                    </a:prstGeom>
                    <a:gradFill flip="none" rotWithShape="1">
                      <a:gsLst>
                        <a:gs pos="49000">
                          <a:srgbClr val="6CB690">
                            <a:lumMod val="75000"/>
                          </a:srgbClr>
                        </a:gs>
                        <a:gs pos="67000">
                          <a:srgbClr val="AB334D"/>
                        </a:gs>
                        <a:gs pos="59000">
                          <a:srgbClr val="BBA394"/>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black"/>
                        </a:solidFill>
                        <a:effectLst/>
                        <a:uLnTx/>
                        <a:uFillTx/>
                        <a:latin typeface="+mj-lt"/>
                        <a:ea typeface="+mn-ea"/>
                        <a:cs typeface="+mn-cs"/>
                      </a:endParaRPr>
                    </a:p>
                  </p:txBody>
                </p:sp>
              </p:grpSp>
            </p:grpSp>
            <p:sp>
              <p:nvSpPr>
                <p:cNvPr id="19" name="TextBox 62">
                  <a:extLst>
                    <a:ext uri="{FF2B5EF4-FFF2-40B4-BE49-F238E27FC236}">
                      <a16:creationId xmlns:a16="http://schemas.microsoft.com/office/drawing/2014/main" id="{73AE1320-4689-C5F4-4F21-DF05DED30838}"/>
                    </a:ext>
                  </a:extLst>
                </p:cNvPr>
                <p:cNvSpPr txBox="1"/>
                <p:nvPr/>
              </p:nvSpPr>
              <p:spPr>
                <a:xfrm>
                  <a:off x="7187907" y="2839112"/>
                  <a:ext cx="1360124" cy="1028844"/>
                </a:xfrm>
                <a:prstGeom prst="rect">
                  <a:avLst/>
                </a:prstGeom>
                <a:noFill/>
                <a:ln>
                  <a:noFill/>
                </a:ln>
              </p:spPr>
              <p:txBody>
                <a:bodyPr wrap="square" lIns="0" tIns="0" rIns="0" bIns="0" rtlCol="0">
                  <a:noAutofit/>
                </a:bodyPr>
                <a:lstStyle>
                  <a:defPPr>
                    <a:defRPr lang="en-GB"/>
                  </a:defPPr>
                  <a:lvl1pPr marR="0" lvl="0" algn="ctr" fontAlgn="auto">
                    <a:lnSpc>
                      <a:spcPct val="100000"/>
                    </a:lnSpc>
                    <a:spcAft>
                      <a:spcPts val="0"/>
                    </a:spcAft>
                    <a:buClrTx/>
                    <a:buSzTx/>
                    <a:tabLst/>
                    <a:defRPr kumimoji="0" sz="1100" b="1" i="0" u="none" strike="noStrike" cap="none" spc="0" normalizeH="0">
                      <a:ln>
                        <a:noFill/>
                      </a:ln>
                      <a:solidFill>
                        <a:srgbClr val="E4F0EB">
                          <a:lumMod val="10000"/>
                        </a:srgbClr>
                      </a:solidFill>
                      <a:effectLst/>
                      <a:uLnTx/>
                      <a:uFillTx/>
                      <a:latin typeface="Avenir Next LT Pro"/>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tx1"/>
                      </a:solidFill>
                      <a:effectLst/>
                      <a:uLnTx/>
                      <a:uFillTx/>
                      <a:latin typeface="+mj-lt"/>
                      <a:ea typeface="+mn-ea"/>
                      <a:cs typeface="+mn-cs"/>
                    </a:rPr>
                    <a:t>Safe </a:t>
                  </a:r>
                </a:p>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chemeClr val="tx1"/>
                      </a:solidFill>
                      <a:effectLst/>
                      <a:uLnTx/>
                      <a:uFillTx/>
                      <a:latin typeface="+mj-lt"/>
                      <a:ea typeface="+mn-ea"/>
                      <a:cs typeface="+mn-cs"/>
                    </a:rPr>
                    <a:t>Operating </a:t>
                  </a:r>
                  <a:br>
                    <a:rPr kumimoji="0" lang="en-GB" sz="1600" b="1" i="0" u="none" strike="noStrike" kern="1200" cap="none" spc="0" normalizeH="0" baseline="0" noProof="0" dirty="0">
                      <a:ln>
                        <a:noFill/>
                      </a:ln>
                      <a:solidFill>
                        <a:schemeClr val="tx1"/>
                      </a:solidFill>
                      <a:effectLst/>
                      <a:uLnTx/>
                      <a:uFillTx/>
                      <a:latin typeface="+mj-lt"/>
                      <a:ea typeface="+mn-ea"/>
                      <a:cs typeface="+mn-cs"/>
                    </a:rPr>
                  </a:br>
                  <a:r>
                    <a:rPr kumimoji="0" lang="en-GB" sz="1600" b="1" i="0" u="none" strike="noStrike" kern="1200" cap="none" spc="0" normalizeH="0" baseline="0" noProof="0" dirty="0">
                      <a:ln>
                        <a:noFill/>
                      </a:ln>
                      <a:solidFill>
                        <a:schemeClr val="tx1"/>
                      </a:solidFill>
                      <a:effectLst/>
                      <a:uLnTx/>
                      <a:uFillTx/>
                      <a:latin typeface="+mj-lt"/>
                      <a:ea typeface="+mn-ea"/>
                      <a:cs typeface="+mn-cs"/>
                    </a:rPr>
                    <a:t>Space </a:t>
                  </a:r>
                </a:p>
              </p:txBody>
            </p:sp>
            <p:sp>
              <p:nvSpPr>
                <p:cNvPr id="20" name="TextBox 62">
                  <a:extLst>
                    <a:ext uri="{FF2B5EF4-FFF2-40B4-BE49-F238E27FC236}">
                      <a16:creationId xmlns:a16="http://schemas.microsoft.com/office/drawing/2014/main" id="{DAC4C272-165A-24C4-6F1F-DF007C604173}"/>
                    </a:ext>
                  </a:extLst>
                </p:cNvPr>
                <p:cNvSpPr txBox="1"/>
                <p:nvPr/>
              </p:nvSpPr>
              <p:spPr>
                <a:xfrm>
                  <a:off x="8964861" y="3373833"/>
                  <a:ext cx="2339857" cy="350101"/>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6CB690">
                          <a:lumMod val="75000"/>
                        </a:srgbClr>
                      </a:solidFill>
                      <a:effectLst/>
                      <a:uLnTx/>
                      <a:uFillTx/>
                      <a:latin typeface="+mj-lt"/>
                      <a:ea typeface="+mn-ea"/>
                      <a:cs typeface="+mn-cs"/>
                    </a:rPr>
                    <a:t>Atmospheric aerosol loading</a:t>
                  </a:r>
                </a:p>
              </p:txBody>
            </p:sp>
            <p:sp>
              <p:nvSpPr>
                <p:cNvPr id="21" name="TextBox 62">
                  <a:extLst>
                    <a:ext uri="{FF2B5EF4-FFF2-40B4-BE49-F238E27FC236}">
                      <a16:creationId xmlns:a16="http://schemas.microsoft.com/office/drawing/2014/main" id="{B17A4DD7-0732-E065-245C-A5C8B1BB2AA5}"/>
                    </a:ext>
                  </a:extLst>
                </p:cNvPr>
                <p:cNvSpPr txBox="1"/>
                <p:nvPr/>
              </p:nvSpPr>
              <p:spPr>
                <a:xfrm>
                  <a:off x="8555377" y="4567526"/>
                  <a:ext cx="1360124" cy="823350"/>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6CB690">
                          <a:lumMod val="75000"/>
                        </a:srgbClr>
                      </a:solidFill>
                      <a:effectLst/>
                      <a:uLnTx/>
                      <a:uFillTx/>
                      <a:latin typeface="+mj-lt"/>
                      <a:ea typeface="+mn-ea"/>
                      <a:cs typeface="+mn-cs"/>
                    </a:rPr>
                    <a:t>Ocean acidification</a:t>
                  </a:r>
                </a:p>
              </p:txBody>
            </p:sp>
            <p:sp>
              <p:nvSpPr>
                <p:cNvPr id="22" name="TextBox 62">
                  <a:extLst>
                    <a:ext uri="{FF2B5EF4-FFF2-40B4-BE49-F238E27FC236}">
                      <a16:creationId xmlns:a16="http://schemas.microsoft.com/office/drawing/2014/main" id="{1F7C7582-71B8-E5B5-E221-AB883E6A33E1}"/>
                    </a:ext>
                  </a:extLst>
                </p:cNvPr>
                <p:cNvSpPr txBox="1"/>
                <p:nvPr/>
              </p:nvSpPr>
              <p:spPr>
                <a:xfrm>
                  <a:off x="8753136" y="2254208"/>
                  <a:ext cx="3061811" cy="480982"/>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6CB690">
                          <a:lumMod val="75000"/>
                        </a:srgbClr>
                      </a:solidFill>
                      <a:effectLst/>
                      <a:uLnTx/>
                      <a:uFillTx/>
                      <a:latin typeface="+mj-lt"/>
                      <a:ea typeface="+mn-ea"/>
                      <a:cs typeface="+mn-cs"/>
                    </a:rPr>
                    <a:t>Stratospheric ozone depletion</a:t>
                  </a:r>
                </a:p>
              </p:txBody>
            </p:sp>
            <p:sp>
              <p:nvSpPr>
                <p:cNvPr id="23" name="TextBox 62">
                  <a:extLst>
                    <a:ext uri="{FF2B5EF4-FFF2-40B4-BE49-F238E27FC236}">
                      <a16:creationId xmlns:a16="http://schemas.microsoft.com/office/drawing/2014/main" id="{D9C7861F-7024-9017-21DD-0062464EA6C5}"/>
                    </a:ext>
                  </a:extLst>
                </p:cNvPr>
                <p:cNvSpPr txBox="1"/>
                <p:nvPr/>
              </p:nvSpPr>
              <p:spPr>
                <a:xfrm>
                  <a:off x="8084578" y="1027995"/>
                  <a:ext cx="1360124" cy="823350"/>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AB334D"/>
                      </a:solidFill>
                      <a:effectLst/>
                      <a:uLnTx/>
                      <a:uFillTx/>
                      <a:latin typeface="+mj-lt"/>
                      <a:ea typeface="+mn-ea"/>
                      <a:cs typeface="+mn-cs"/>
                    </a:rPr>
                    <a:t>Novel entities</a:t>
                  </a:r>
                </a:p>
              </p:txBody>
            </p:sp>
            <p:sp>
              <p:nvSpPr>
                <p:cNvPr id="24" name="TextBox 23">
                  <a:extLst>
                    <a:ext uri="{FF2B5EF4-FFF2-40B4-BE49-F238E27FC236}">
                      <a16:creationId xmlns:a16="http://schemas.microsoft.com/office/drawing/2014/main" id="{AB26D0BB-C0E2-5BE0-8152-767A0C6D3CD6}"/>
                    </a:ext>
                  </a:extLst>
                </p:cNvPr>
                <p:cNvSpPr txBox="1"/>
                <p:nvPr/>
              </p:nvSpPr>
              <p:spPr>
                <a:xfrm>
                  <a:off x="6414921" y="1027995"/>
                  <a:ext cx="1360124" cy="823350"/>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AB334D"/>
                      </a:solidFill>
                      <a:effectLst/>
                      <a:uLnTx/>
                      <a:uFillTx/>
                      <a:latin typeface="+mj-lt"/>
                      <a:ea typeface="+mn-ea"/>
                      <a:cs typeface="+mn-cs"/>
                    </a:rPr>
                    <a:t>Climate change</a:t>
                  </a:r>
                </a:p>
              </p:txBody>
            </p:sp>
            <p:sp>
              <p:nvSpPr>
                <p:cNvPr id="25" name="TextBox 62">
                  <a:extLst>
                    <a:ext uri="{FF2B5EF4-FFF2-40B4-BE49-F238E27FC236}">
                      <a16:creationId xmlns:a16="http://schemas.microsoft.com/office/drawing/2014/main" id="{488771E5-6F06-1EE1-A180-D1E0BD8D0098}"/>
                    </a:ext>
                  </a:extLst>
                </p:cNvPr>
                <p:cNvSpPr txBox="1"/>
                <p:nvPr/>
              </p:nvSpPr>
              <p:spPr>
                <a:xfrm>
                  <a:off x="4123427" y="2061954"/>
                  <a:ext cx="2099938" cy="870985"/>
                </a:xfrm>
                <a:prstGeom prst="rect">
                  <a:avLst/>
                </a:prstGeom>
                <a:noFill/>
                <a:ln>
                  <a:noFill/>
                </a:ln>
              </p:spPr>
              <p:txBody>
                <a:bodyPr wrap="square" lIns="0" tIns="0" rIns="0" bIns="0" rtlCol="0" anchor="t">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342" rtl="0" eaLnBrk="1" fontAlgn="auto" latinLnBrk="0" hangingPunct="1">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72A31"/>
                    </a:solidFill>
                    <a:effectLst/>
                    <a:uLnTx/>
                    <a:uFillTx/>
                    <a:latin typeface="+mj-lt"/>
                    <a:ea typeface="+mn-ea"/>
                    <a:cs typeface="+mn-cs"/>
                  </a:endParaRPr>
                </a:p>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AB334D"/>
                      </a:solidFill>
                      <a:effectLst/>
                      <a:uLnTx/>
                      <a:uFillTx/>
                      <a:latin typeface="+mj-lt"/>
                      <a:ea typeface="+mn-ea"/>
                      <a:cs typeface="+mn-cs"/>
                    </a:rPr>
                    <a:t>Biodiversity integrity</a:t>
                  </a:r>
                </a:p>
              </p:txBody>
            </p:sp>
            <p:sp>
              <p:nvSpPr>
                <p:cNvPr id="26" name="TextBox 62">
                  <a:extLst>
                    <a:ext uri="{FF2B5EF4-FFF2-40B4-BE49-F238E27FC236}">
                      <a16:creationId xmlns:a16="http://schemas.microsoft.com/office/drawing/2014/main" id="{ABB35181-88CA-9193-C885-3571006123B0}"/>
                    </a:ext>
                  </a:extLst>
                </p:cNvPr>
                <p:cNvSpPr txBox="1"/>
                <p:nvPr/>
              </p:nvSpPr>
              <p:spPr>
                <a:xfrm>
                  <a:off x="3626639" y="3385435"/>
                  <a:ext cx="3141587" cy="365891"/>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effectLst/>
                      <a:uLnTx/>
                      <a:uFillTx/>
                      <a:latin typeface="+mj-lt"/>
                      <a:ea typeface="+mn-ea"/>
                      <a:cs typeface="+mn-cs"/>
                    </a:rPr>
                    <a:t>Land system change (Deforestation)</a:t>
                  </a:r>
                </a:p>
              </p:txBody>
            </p:sp>
          </p:grpSp>
          <p:sp>
            <p:nvSpPr>
              <p:cNvPr id="16" name="TextBox 62">
                <a:extLst>
                  <a:ext uri="{FF2B5EF4-FFF2-40B4-BE49-F238E27FC236}">
                    <a16:creationId xmlns:a16="http://schemas.microsoft.com/office/drawing/2014/main" id="{D76CA79E-FD9F-03D5-2CD5-BE55477AAA66}"/>
                  </a:ext>
                </a:extLst>
              </p:cNvPr>
              <p:cNvSpPr txBox="1"/>
              <p:nvPr/>
            </p:nvSpPr>
            <p:spPr>
              <a:xfrm>
                <a:off x="2894692" y="4694285"/>
                <a:ext cx="2751606" cy="407367"/>
              </a:xfrm>
              <a:prstGeom prst="rect">
                <a:avLst/>
              </a:prstGeom>
              <a:noFill/>
              <a:ln>
                <a:noFill/>
              </a:ln>
            </p:spPr>
            <p:txBody>
              <a:bodyPr wrap="square" lIns="0" tIns="0" rIns="0" bIns="0" rtlCol="0">
                <a:no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342" rtl="0" eaLnBrk="1" fontAlgn="auto" latinLnBrk="0" hangingPunct="1">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effectLst/>
                    <a:uLnTx/>
                    <a:uFillTx/>
                    <a:latin typeface="+mj-lt"/>
                    <a:ea typeface="+mn-ea"/>
                    <a:cs typeface="+mn-cs"/>
                  </a:rPr>
                  <a:t>Freshwater change</a:t>
                </a:r>
              </a:p>
            </p:txBody>
          </p:sp>
          <p:sp>
            <p:nvSpPr>
              <p:cNvPr id="17" name="Oval 16">
                <a:extLst>
                  <a:ext uri="{FF2B5EF4-FFF2-40B4-BE49-F238E27FC236}">
                    <a16:creationId xmlns:a16="http://schemas.microsoft.com/office/drawing/2014/main" id="{05B5E6B3-EEED-B7E4-D40F-49EC91CAD028}"/>
                  </a:ext>
                </a:extLst>
              </p:cNvPr>
              <p:cNvSpPr/>
              <p:nvPr/>
            </p:nvSpPr>
            <p:spPr>
              <a:xfrm>
                <a:off x="5172969" y="2563152"/>
                <a:ext cx="1440000" cy="1440000"/>
              </a:xfrm>
              <a:prstGeom prst="ellipse">
                <a:avLst/>
              </a:prstGeom>
              <a:noFill/>
              <a:ln w="12700" cap="flat" cmpd="sng" algn="ctr">
                <a:solidFill>
                  <a:srgbClr val="3E5C58">
                    <a:lumMod val="75000"/>
                  </a:srgbClr>
                </a:solidFill>
                <a:prstDash val="solid"/>
              </a:ln>
              <a:effectLst/>
            </p:spPr>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mj-lt"/>
                  <a:ea typeface="+mn-ea"/>
                  <a:cs typeface="+mn-cs"/>
                </a:endParaRPr>
              </a:p>
            </p:txBody>
          </p:sp>
        </p:grpSp>
      </p:grpSp>
      <p:sp>
        <p:nvSpPr>
          <p:cNvPr id="54" name="TextBox 53">
            <a:extLst>
              <a:ext uri="{FF2B5EF4-FFF2-40B4-BE49-F238E27FC236}">
                <a16:creationId xmlns:a16="http://schemas.microsoft.com/office/drawing/2014/main" id="{EAD5E99F-38AF-FF57-C467-EB47F973B856}"/>
              </a:ext>
            </a:extLst>
          </p:cNvPr>
          <p:cNvSpPr txBox="1"/>
          <p:nvPr/>
        </p:nvSpPr>
        <p:spPr>
          <a:xfrm>
            <a:off x="235106" y="6058442"/>
            <a:ext cx="9738233" cy="153888"/>
          </a:xfrm>
          <a:prstGeom prst="rect">
            <a:avLst/>
          </a:prstGeom>
          <a:noFill/>
        </p:spPr>
        <p:txBody>
          <a:bodyPr wrap="square" lIns="0" tIns="0" rIns="0" bIns="0" rtlCol="0">
            <a:spAutoFit/>
          </a:bodyPr>
          <a:lstStyle/>
          <a:p>
            <a:pPr marL="0" marR="0" lvl="0" indent="0" algn="l"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latin typeface="Aptos Display" panose="020B0004020202020204" pitchFamily="34" charset="0"/>
              </a:rPr>
              <a:t>Source: LOIM analysis; based on Richardson et al. 2023</a:t>
            </a:r>
            <a:r>
              <a:rPr kumimoji="0" lang="en-US" sz="1000" b="0" i="0" u="none" strike="noStrike" kern="1200" cap="none" spc="0" normalizeH="0" baseline="0" noProof="0" dirty="0">
                <a:ln>
                  <a:noFill/>
                </a:ln>
                <a:effectLst/>
                <a:uLnTx/>
                <a:uFillTx/>
                <a:latin typeface="Arial Narrow"/>
                <a:ea typeface="+mn-ea"/>
                <a:cs typeface="+mn-cs"/>
              </a:rPr>
              <a:t>.</a:t>
            </a:r>
          </a:p>
        </p:txBody>
      </p:sp>
      <p:sp>
        <p:nvSpPr>
          <p:cNvPr id="3" name="Rectangle 2">
            <a:extLst>
              <a:ext uri="{FF2B5EF4-FFF2-40B4-BE49-F238E27FC236}">
                <a16:creationId xmlns:a16="http://schemas.microsoft.com/office/drawing/2014/main" id="{729FEA12-41C0-75C6-046C-3A7AE45C555F}"/>
              </a:ext>
            </a:extLst>
          </p:cNvPr>
          <p:cNvSpPr/>
          <p:nvPr/>
        </p:nvSpPr>
        <p:spPr>
          <a:xfrm flipV="1">
            <a:off x="8243316" y="5624625"/>
            <a:ext cx="3552508" cy="273222"/>
          </a:xfrm>
          <a:prstGeom prst="rect">
            <a:avLst/>
          </a:prstGeom>
          <a:gradFill>
            <a:gsLst>
              <a:gs pos="0">
                <a:srgbClr val="6CB690">
                  <a:lumMod val="75000"/>
                </a:srgbClr>
              </a:gs>
              <a:gs pos="100000">
                <a:srgbClr val="AB334D"/>
              </a:gs>
              <a:gs pos="55000">
                <a:srgbClr val="BBA394"/>
              </a:gs>
            </a:gsLst>
            <a:lin ang="0" scaled="1"/>
          </a:gra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mj-lt"/>
              <a:ea typeface="+mn-ea"/>
              <a:cs typeface="+mn-cs"/>
            </a:endParaRPr>
          </a:p>
        </p:txBody>
      </p:sp>
      <p:sp>
        <p:nvSpPr>
          <p:cNvPr id="4" name="TextBox 59">
            <a:extLst>
              <a:ext uri="{FF2B5EF4-FFF2-40B4-BE49-F238E27FC236}">
                <a16:creationId xmlns:a16="http://schemas.microsoft.com/office/drawing/2014/main" id="{C905EA7F-1681-A465-A6E4-1D988D6A3B7C}"/>
              </a:ext>
            </a:extLst>
          </p:cNvPr>
          <p:cNvSpPr txBox="1"/>
          <p:nvPr/>
        </p:nvSpPr>
        <p:spPr>
          <a:xfrm>
            <a:off x="8234453" y="5390692"/>
            <a:ext cx="1508233" cy="215444"/>
          </a:xfrm>
          <a:prstGeom prst="rect">
            <a:avLst/>
          </a:prstGeom>
          <a:noFill/>
        </p:spPr>
        <p:txBody>
          <a:bodyPr wrap="none" lIns="0" tIns="0" rIns="0" bIns="0" anchor="b" anchorCtr="0">
            <a:sp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68575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effectLst/>
                <a:uLnTx/>
                <a:uFillTx/>
                <a:latin typeface="+mj-lt"/>
                <a:ea typeface="+mn-ea"/>
                <a:cs typeface="+mn-cs"/>
              </a:rPr>
              <a:t>Safe operating space</a:t>
            </a:r>
          </a:p>
        </p:txBody>
      </p:sp>
      <p:sp>
        <p:nvSpPr>
          <p:cNvPr id="5" name="TextBox 59">
            <a:extLst>
              <a:ext uri="{FF2B5EF4-FFF2-40B4-BE49-F238E27FC236}">
                <a16:creationId xmlns:a16="http://schemas.microsoft.com/office/drawing/2014/main" id="{79DBEB2C-D148-1C12-17DD-0C5EC64DED5E}"/>
              </a:ext>
            </a:extLst>
          </p:cNvPr>
          <p:cNvSpPr txBox="1"/>
          <p:nvPr/>
        </p:nvSpPr>
        <p:spPr>
          <a:xfrm>
            <a:off x="10776820" y="5380436"/>
            <a:ext cx="1000787" cy="215444"/>
          </a:xfrm>
          <a:prstGeom prst="rect">
            <a:avLst/>
          </a:prstGeom>
          <a:noFill/>
        </p:spPr>
        <p:txBody>
          <a:bodyPr wrap="none" lIns="0" tIns="0" rIns="0" bIns="0" anchor="b" anchorCtr="0">
            <a:sp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68575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effectLst/>
                <a:uLnTx/>
                <a:uFillTx/>
                <a:latin typeface="+mj-lt"/>
                <a:ea typeface="+mn-ea"/>
                <a:cs typeface="+mn-cs"/>
              </a:rPr>
              <a:t>High risk zone</a:t>
            </a:r>
          </a:p>
        </p:txBody>
      </p:sp>
      <p:sp>
        <p:nvSpPr>
          <p:cNvPr id="6" name="TextBox 59">
            <a:extLst>
              <a:ext uri="{FF2B5EF4-FFF2-40B4-BE49-F238E27FC236}">
                <a16:creationId xmlns:a16="http://schemas.microsoft.com/office/drawing/2014/main" id="{CE83FEA4-A555-A66D-00D3-A4318309B41C}"/>
              </a:ext>
            </a:extLst>
          </p:cNvPr>
          <p:cNvSpPr txBox="1"/>
          <p:nvPr/>
        </p:nvSpPr>
        <p:spPr>
          <a:xfrm>
            <a:off x="9406806" y="5933523"/>
            <a:ext cx="1610313" cy="215444"/>
          </a:xfrm>
          <a:prstGeom prst="rect">
            <a:avLst/>
          </a:prstGeom>
          <a:noFill/>
        </p:spPr>
        <p:txBody>
          <a:bodyPr wrap="none" lIns="0" tIns="0" rIns="0" bIns="0" anchor="b" anchorCtr="0">
            <a:spAutoFit/>
          </a:bodyPr>
          <a:lstStyle>
            <a:defPPr>
              <a:defRPr lang="en-GB"/>
            </a:defPPr>
            <a:lvl1pPr marL="0" indent="0" algn="l" defTabSz="914342" rtl="0" eaLnBrk="1" latinLnBrk="0" hangingPunct="1">
              <a:spcBef>
                <a:spcPts val="0"/>
              </a:spcBef>
              <a:buFont typeface="Arial" panose="020B0604020202020204" pitchFamily="34" charset="0"/>
              <a:buNone/>
              <a:defRPr sz="1400" kern="1200" baseline="0">
                <a:solidFill>
                  <a:schemeClr val="tx1"/>
                </a:solidFill>
                <a:latin typeface="+mn-lt"/>
                <a:ea typeface="+mn-ea"/>
                <a:cs typeface="+mn-cs"/>
              </a:defRPr>
            </a:lvl1pPr>
            <a:lvl2pPr marL="180975" indent="-180975" algn="l" defTabSz="914342" rtl="0" eaLnBrk="1" latinLnBrk="0" hangingPunct="1">
              <a:spcBef>
                <a:spcPts val="0"/>
              </a:spcBef>
              <a:buFont typeface="Wingdings" panose="05000000000000000000" pitchFamily="2" charset="2"/>
              <a:buChar char="§"/>
              <a:defRPr sz="1400" b="0" kern="1200" baseline="0">
                <a:solidFill>
                  <a:schemeClr val="tx1"/>
                </a:solidFill>
                <a:latin typeface="+mn-lt"/>
                <a:ea typeface="+mn-ea"/>
                <a:cs typeface="+mn-cs"/>
              </a:defRPr>
            </a:lvl2pPr>
            <a:lvl3pPr marL="361950" indent="-180975" algn="l" defTabSz="914342" rtl="0" eaLnBrk="1" latinLnBrk="0" hangingPunct="1">
              <a:spcBef>
                <a:spcPts val="0"/>
              </a:spcBef>
              <a:buFont typeface="Arial" panose="020B0604020202020204" pitchFamily="34" charset="0"/>
              <a:buChar char="•"/>
              <a:defRPr sz="1400" kern="1200">
                <a:solidFill>
                  <a:schemeClr val="tx1"/>
                </a:solidFill>
                <a:latin typeface="+mn-lt"/>
                <a:ea typeface="+mn-ea"/>
                <a:cs typeface="+mn-cs"/>
              </a:defRPr>
            </a:lvl3pPr>
            <a:lvl4pPr marL="5429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4pPr>
            <a:lvl5pPr marL="7239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5pPr>
            <a:lvl6pPr marL="90487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6pPr>
            <a:lvl7pPr marL="108585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7pPr>
            <a:lvl8pPr marL="1266825"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8pPr>
            <a:lvl9pPr marL="1447800" indent="-180975" algn="l" defTabSz="914342" rtl="0" eaLnBrk="1" latinLnBrk="0" hangingPunct="1">
              <a:spcBef>
                <a:spcPts val="0"/>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68575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dirty="0">
                <a:ln>
                  <a:noFill/>
                </a:ln>
                <a:effectLst/>
                <a:uLnTx/>
                <a:uFillTx/>
                <a:latin typeface="+mj-lt"/>
                <a:ea typeface="+mn-ea"/>
                <a:cs typeface="+mn-cs"/>
              </a:rPr>
              <a:t>Zone of increasing risk</a:t>
            </a:r>
          </a:p>
        </p:txBody>
      </p:sp>
    </p:spTree>
    <p:extLst>
      <p:ext uri="{BB962C8B-B14F-4D97-AF65-F5344CB8AC3E}">
        <p14:creationId xmlns:p14="http://schemas.microsoft.com/office/powerpoint/2010/main" val="3139146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C17E9-5811-6994-B371-1BD97B5453A1}"/>
              </a:ext>
            </a:extLst>
          </p:cNvPr>
          <p:cNvSpPr>
            <a:spLocks noGrp="1"/>
          </p:cNvSpPr>
          <p:nvPr>
            <p:ph type="title"/>
          </p:nvPr>
        </p:nvSpPr>
        <p:spPr/>
        <p:txBody>
          <a:bodyPr>
            <a:normAutofit/>
          </a:bodyPr>
          <a:lstStyle/>
          <a:p>
            <a:r>
              <a:rPr lang="en-US" cap="none" dirty="0">
                <a:latin typeface="AvenirNext LT Pro Bold" panose="020B0804020202020204" pitchFamily="34" charset="0"/>
              </a:rPr>
              <a:t>…with increasing consequences for our economic system</a:t>
            </a:r>
          </a:p>
        </p:txBody>
      </p:sp>
      <p:sp>
        <p:nvSpPr>
          <p:cNvPr id="5" name="TextBox 4">
            <a:extLst>
              <a:ext uri="{FF2B5EF4-FFF2-40B4-BE49-F238E27FC236}">
                <a16:creationId xmlns:a16="http://schemas.microsoft.com/office/drawing/2014/main" id="{6C4F4F1D-CDEC-4D8F-50EC-EDCE868B4DAF}"/>
              </a:ext>
            </a:extLst>
          </p:cNvPr>
          <p:cNvSpPr txBox="1"/>
          <p:nvPr/>
        </p:nvSpPr>
        <p:spPr>
          <a:xfrm>
            <a:off x="228018" y="6057899"/>
            <a:ext cx="9758819" cy="248719"/>
          </a:xfrm>
          <a:prstGeom prst="rect">
            <a:avLst/>
          </a:prstGeom>
          <a:noFill/>
        </p:spPr>
        <p:txBody>
          <a:bodyPr wrap="square" lIns="0" tIns="0" rIns="0" bIns="0" rtlCol="0" anchor="b" anchorCtr="0">
            <a:noAutofit/>
          </a:bodyPr>
          <a:lstStyle/>
          <a:p>
            <a:pPr defTabSz="806267">
              <a:defRPr/>
            </a:pPr>
            <a:r>
              <a:rPr lang="en-US" sz="1000" dirty="0">
                <a:latin typeface="Aptos Display" panose="020B0004020202020204" pitchFamily="34" charset="0"/>
              </a:rPr>
              <a:t>Source: LOIM analysis; based on Canadian Wildland Fire Information System/CBC, </a:t>
            </a:r>
            <a:r>
              <a:rPr lang="en-US" sz="1000" dirty="0" err="1">
                <a:latin typeface="Aptos Display" panose="020B0004020202020204" pitchFamily="34" charset="0"/>
              </a:rPr>
              <a:t>SwissRe</a:t>
            </a:r>
            <a:r>
              <a:rPr lang="en-US" sz="1000" dirty="0">
                <a:latin typeface="Aptos Display" panose="020B0004020202020204" pitchFamily="34" charset="0"/>
              </a:rPr>
              <a:t> (2022), In 5 charts: continued high losses from natural catastrophes in 2022 .</a:t>
            </a:r>
          </a:p>
        </p:txBody>
      </p:sp>
      <p:sp>
        <p:nvSpPr>
          <p:cNvPr id="6" name="Text Placeholder 4">
            <a:extLst>
              <a:ext uri="{FF2B5EF4-FFF2-40B4-BE49-F238E27FC236}">
                <a16:creationId xmlns:a16="http://schemas.microsoft.com/office/drawing/2014/main" id="{27A64ADA-6C8B-CF27-E2CE-0E94E512F47D}"/>
              </a:ext>
            </a:extLst>
          </p:cNvPr>
          <p:cNvSpPr txBox="1">
            <a:spLocks/>
          </p:cNvSpPr>
          <p:nvPr/>
        </p:nvSpPr>
        <p:spPr bwMode="gray">
          <a:xfrm>
            <a:off x="228019" y="1631718"/>
            <a:ext cx="5796544" cy="24622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600" b="1" i="0" u="none" strike="noStrike" kern="0" cap="none" spc="0" normalizeH="0" baseline="0" noProof="0" dirty="0">
                <a:ln>
                  <a:noFill/>
                </a:ln>
                <a:effectLst/>
                <a:uLnTx/>
                <a:uFillTx/>
                <a:latin typeface="+mj-lt"/>
                <a:ea typeface="SimHei"/>
                <a:cs typeface="+mn-cs"/>
              </a:rPr>
              <a:t>Climate-related risks are accelerating at an unprecedented pace</a:t>
            </a:r>
          </a:p>
        </p:txBody>
      </p:sp>
      <p:sp>
        <p:nvSpPr>
          <p:cNvPr id="8" name="TextBox 7">
            <a:extLst>
              <a:ext uri="{FF2B5EF4-FFF2-40B4-BE49-F238E27FC236}">
                <a16:creationId xmlns:a16="http://schemas.microsoft.com/office/drawing/2014/main" id="{551369FF-06B0-C151-18BB-86DC7D938409}"/>
              </a:ext>
            </a:extLst>
          </p:cNvPr>
          <p:cNvSpPr txBox="1"/>
          <p:nvPr/>
        </p:nvSpPr>
        <p:spPr>
          <a:xfrm>
            <a:off x="227012" y="5598038"/>
            <a:ext cx="5796543" cy="553998"/>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i="0" u="none" strike="noStrike" kern="1200" cap="none" spc="0" normalizeH="0" baseline="0" noProof="0" dirty="0">
                <a:ln>
                  <a:noFill/>
                </a:ln>
                <a:solidFill>
                  <a:srgbClr val="FFFFFF"/>
                </a:solidFill>
                <a:effectLst/>
                <a:uLnTx/>
                <a:uFillTx/>
                <a:latin typeface="+mj-lt"/>
              </a:rPr>
              <a:t>The</a:t>
            </a:r>
            <a:r>
              <a:rPr kumimoji="0" lang="en-GB" i="0" u="none" strike="noStrike" kern="1200" cap="none" spc="0" normalizeH="0" noProof="0" dirty="0">
                <a:ln>
                  <a:noFill/>
                </a:ln>
                <a:solidFill>
                  <a:srgbClr val="FFFFFF"/>
                </a:solidFill>
                <a:effectLst/>
                <a:uLnTx/>
                <a:uFillTx/>
                <a:latin typeface="+mj-lt"/>
              </a:rPr>
              <a:t>  </a:t>
            </a:r>
            <a:r>
              <a:rPr kumimoji="0" lang="en-GB" i="0" u="none" strike="noStrike" kern="1200" cap="none" spc="0" normalizeH="0" baseline="0" noProof="0" dirty="0">
                <a:ln>
                  <a:noFill/>
                </a:ln>
                <a:solidFill>
                  <a:srgbClr val="FFFFFF"/>
                </a:solidFill>
                <a:effectLst/>
                <a:uLnTx/>
                <a:uFillTx/>
                <a:latin typeface="+mj-lt"/>
              </a:rPr>
              <a:t>2017-2022</a:t>
            </a:r>
            <a:r>
              <a:rPr kumimoji="0" lang="en-GB" i="0" u="none" strike="noStrike" kern="1200" cap="none" spc="0" normalizeH="0" noProof="0" dirty="0">
                <a:ln>
                  <a:noFill/>
                </a:ln>
                <a:solidFill>
                  <a:srgbClr val="FFFFFF"/>
                </a:solidFill>
                <a:effectLst/>
                <a:uLnTx/>
                <a:uFillTx/>
                <a:latin typeface="+mj-lt"/>
              </a:rPr>
              <a:t> </a:t>
            </a:r>
            <a:r>
              <a:rPr kumimoji="0" lang="en-GB" i="0" u="none" strike="noStrike" kern="1200" cap="none" spc="0" normalizeH="0" baseline="0" noProof="0" dirty="0">
                <a:ln>
                  <a:noFill/>
                </a:ln>
                <a:solidFill>
                  <a:srgbClr val="FFFFFF"/>
                </a:solidFill>
                <a:effectLst/>
                <a:uLnTx/>
                <a:uFillTx/>
                <a:latin typeface="+mj-lt"/>
              </a:rPr>
              <a:t>average insured losses </a:t>
            </a:r>
            <a:r>
              <a:rPr lang="en-GB" dirty="0">
                <a:solidFill>
                  <a:srgbClr val="FFFFFF"/>
                </a:solidFill>
                <a:latin typeface="+mj-lt"/>
              </a:rPr>
              <a:t>due</a:t>
            </a:r>
            <a:r>
              <a:rPr kumimoji="0" lang="en-GB" i="0" u="none" strike="noStrike" kern="1200" cap="none" spc="0" normalizeH="0" baseline="0" noProof="0" dirty="0">
                <a:ln>
                  <a:noFill/>
                </a:ln>
                <a:solidFill>
                  <a:srgbClr val="FFFFFF"/>
                </a:solidFill>
                <a:effectLst/>
                <a:uLnTx/>
                <a:uFillTx/>
                <a:latin typeface="+mj-lt"/>
              </a:rPr>
              <a:t> to climate-related</a:t>
            </a:r>
            <a:r>
              <a:rPr kumimoji="0" lang="en-GB" i="0" u="none" strike="noStrike" kern="1200" cap="none" spc="0" normalizeH="0" noProof="0" dirty="0">
                <a:ln>
                  <a:noFill/>
                </a:ln>
                <a:solidFill>
                  <a:srgbClr val="FFFFFF"/>
                </a:solidFill>
                <a:effectLst/>
                <a:uLnTx/>
                <a:uFillTx/>
                <a:latin typeface="+mj-lt"/>
              </a:rPr>
              <a:t> disasters </a:t>
            </a:r>
            <a:r>
              <a:rPr kumimoji="0" lang="en-GB" i="0" u="none" strike="noStrike" kern="1200" cap="none" spc="0" normalizeH="0" baseline="0" noProof="0" dirty="0">
                <a:ln>
                  <a:noFill/>
                </a:ln>
                <a:solidFill>
                  <a:srgbClr val="FFFFFF"/>
                </a:solidFill>
                <a:effectLst/>
                <a:uLnTx/>
                <a:uFillTx/>
                <a:latin typeface="+mj-lt"/>
              </a:rPr>
              <a:t>exceeded USD $110 billion, more than doubling the</a:t>
            </a:r>
            <a:endParaRPr kumimoji="0" lang="en-US" i="0" u="none" strike="noStrike" kern="1200" cap="none" spc="0" normalizeH="0" baseline="0" noProof="0" dirty="0">
              <a:ln>
                <a:noFill/>
              </a:ln>
              <a:solidFill>
                <a:srgbClr val="FFFFFF"/>
              </a:solidFill>
              <a:effectLst/>
              <a:uLnTx/>
              <a:uFillTx/>
              <a:latin typeface="+mj-lt"/>
            </a:endParaRPr>
          </a:p>
        </p:txBody>
      </p:sp>
      <p:sp>
        <p:nvSpPr>
          <p:cNvPr id="9" name="TextBox 8">
            <a:extLst>
              <a:ext uri="{FF2B5EF4-FFF2-40B4-BE49-F238E27FC236}">
                <a16:creationId xmlns:a16="http://schemas.microsoft.com/office/drawing/2014/main" id="{5D5F6E76-31C3-E438-7DD9-E61EBB97686E}"/>
              </a:ext>
            </a:extLst>
          </p:cNvPr>
          <p:cNvSpPr txBox="1"/>
          <p:nvPr/>
        </p:nvSpPr>
        <p:spPr>
          <a:xfrm>
            <a:off x="6168735" y="5598038"/>
            <a:ext cx="5795284"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i="0" u="none" strike="noStrike" kern="1200" cap="none" spc="0" normalizeH="0" baseline="0" noProof="0" dirty="0">
                <a:ln>
                  <a:noFill/>
                </a:ln>
                <a:solidFill>
                  <a:srgbClr val="FFFFFF"/>
                </a:solidFill>
                <a:effectLst/>
                <a:uLnTx/>
                <a:uFillTx/>
                <a:latin typeface="+mj-lt"/>
              </a:rPr>
              <a:t>$720 million in insurance damages</a:t>
            </a:r>
            <a:r>
              <a:rPr lang="en-US" dirty="0">
                <a:solidFill>
                  <a:srgbClr val="FFFFFF"/>
                </a:solidFill>
                <a:latin typeface="+mj-lt"/>
              </a:rPr>
              <a:t>, </a:t>
            </a:r>
          </a:p>
          <a:p>
            <a:pPr marL="0" marR="0" lvl="0" indent="0" defTabSz="9143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i="0" u="none" strike="noStrike" kern="1200" cap="none" spc="0" normalizeH="0" baseline="0" noProof="0" dirty="0">
                <a:ln>
                  <a:noFill/>
                </a:ln>
                <a:solidFill>
                  <a:srgbClr val="FFFFFF"/>
                </a:solidFill>
                <a:effectLst/>
                <a:uLnTx/>
                <a:uFillTx/>
                <a:latin typeface="+mj-lt"/>
              </a:rPr>
              <a:t>the costliest event in the history of British Columbia</a:t>
            </a:r>
          </a:p>
        </p:txBody>
      </p:sp>
      <p:grpSp>
        <p:nvGrpSpPr>
          <p:cNvPr id="4" name="Group 3">
            <a:extLst>
              <a:ext uri="{FF2B5EF4-FFF2-40B4-BE49-F238E27FC236}">
                <a16:creationId xmlns:a16="http://schemas.microsoft.com/office/drawing/2014/main" id="{C6DD4106-9BE9-8F9F-3187-A51B7C3D56A9}"/>
              </a:ext>
            </a:extLst>
          </p:cNvPr>
          <p:cNvGrpSpPr/>
          <p:nvPr/>
        </p:nvGrpSpPr>
        <p:grpSpPr>
          <a:xfrm>
            <a:off x="228019" y="2044194"/>
            <a:ext cx="5796544" cy="3422956"/>
            <a:chOff x="228019" y="2044194"/>
            <a:chExt cx="5796544" cy="3422956"/>
          </a:xfrm>
        </p:grpSpPr>
        <p:graphicFrame>
          <p:nvGraphicFramePr>
            <p:cNvPr id="11" name="Chart 10">
              <a:extLst>
                <a:ext uri="{FF2B5EF4-FFF2-40B4-BE49-F238E27FC236}">
                  <a16:creationId xmlns:a16="http://schemas.microsoft.com/office/drawing/2014/main" id="{80755073-9244-EB0F-4FA2-9FA7E874460E}"/>
                </a:ext>
              </a:extLst>
            </p:cNvPr>
            <p:cNvGraphicFramePr/>
            <p:nvPr/>
          </p:nvGraphicFramePr>
          <p:xfrm>
            <a:off x="228019" y="2336800"/>
            <a:ext cx="5796544" cy="313035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4">
              <a:extLst>
                <a:ext uri="{FF2B5EF4-FFF2-40B4-BE49-F238E27FC236}">
                  <a16:creationId xmlns:a16="http://schemas.microsoft.com/office/drawing/2014/main" id="{3608917C-D3F0-18B5-2AAF-F618C8D786DC}"/>
                </a:ext>
              </a:extLst>
            </p:cNvPr>
            <p:cNvSpPr txBox="1">
              <a:spLocks/>
            </p:cNvSpPr>
            <p:nvPr/>
          </p:nvSpPr>
          <p:spPr bwMode="gray">
            <a:xfrm>
              <a:off x="723899" y="2044194"/>
              <a:ext cx="5300663" cy="215444"/>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i="0" u="none" strike="noStrike" kern="0" cap="none" spc="0" normalizeH="0" baseline="0" noProof="0" dirty="0">
                  <a:ln>
                    <a:noFill/>
                  </a:ln>
                  <a:effectLst/>
                  <a:uLnTx/>
                  <a:uFillTx/>
                  <a:latin typeface="+mj-lt"/>
                  <a:ea typeface="SimHei"/>
                  <a:cs typeface="+mn-cs"/>
                </a:rPr>
                <a:t>Weather-related insurance losses (2022 prices)</a:t>
              </a:r>
            </a:p>
          </p:txBody>
        </p:sp>
        <p:sp>
          <p:nvSpPr>
            <p:cNvPr id="20" name="Rectangle 19">
              <a:extLst>
                <a:ext uri="{FF2B5EF4-FFF2-40B4-BE49-F238E27FC236}">
                  <a16:creationId xmlns:a16="http://schemas.microsoft.com/office/drawing/2014/main" id="{DDAD1CED-CB13-9217-C946-D1715EA6670E}"/>
                </a:ext>
              </a:extLst>
            </p:cNvPr>
            <p:cNvSpPr/>
            <p:nvPr/>
          </p:nvSpPr>
          <p:spPr>
            <a:xfrm>
              <a:off x="797476" y="4359141"/>
              <a:ext cx="73152" cy="7529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1" name="Rectangle 20">
              <a:extLst>
                <a:ext uri="{FF2B5EF4-FFF2-40B4-BE49-F238E27FC236}">
                  <a16:creationId xmlns:a16="http://schemas.microsoft.com/office/drawing/2014/main" id="{734F2F5D-4F02-82BE-F3F4-2158BF739902}"/>
                </a:ext>
              </a:extLst>
            </p:cNvPr>
            <p:cNvSpPr/>
            <p:nvPr/>
          </p:nvSpPr>
          <p:spPr>
            <a:xfrm>
              <a:off x="967663" y="4831444"/>
              <a:ext cx="73152" cy="2806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2" name="Rectangle 21">
              <a:extLst>
                <a:ext uri="{FF2B5EF4-FFF2-40B4-BE49-F238E27FC236}">
                  <a16:creationId xmlns:a16="http://schemas.microsoft.com/office/drawing/2014/main" id="{031AB8BD-0F1B-C392-8DC0-78F1BC89E722}"/>
                </a:ext>
              </a:extLst>
            </p:cNvPr>
            <p:cNvSpPr/>
            <p:nvPr/>
          </p:nvSpPr>
          <p:spPr>
            <a:xfrm>
              <a:off x="1137850" y="4923973"/>
              <a:ext cx="73152" cy="1880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3" name="Rectangle 22">
              <a:extLst>
                <a:ext uri="{FF2B5EF4-FFF2-40B4-BE49-F238E27FC236}">
                  <a16:creationId xmlns:a16="http://schemas.microsoft.com/office/drawing/2014/main" id="{23102B0B-1CF0-1881-D0E0-C2EF4DE884F9}"/>
                </a:ext>
              </a:extLst>
            </p:cNvPr>
            <p:cNvSpPr/>
            <p:nvPr/>
          </p:nvSpPr>
          <p:spPr>
            <a:xfrm>
              <a:off x="1308037" y="4764316"/>
              <a:ext cx="73152" cy="3477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4" name="Rectangle 23">
              <a:extLst>
                <a:ext uri="{FF2B5EF4-FFF2-40B4-BE49-F238E27FC236}">
                  <a16:creationId xmlns:a16="http://schemas.microsoft.com/office/drawing/2014/main" id="{1C14A339-E9F6-D317-BD1A-32491C390452}"/>
                </a:ext>
              </a:extLst>
            </p:cNvPr>
            <p:cNvSpPr/>
            <p:nvPr/>
          </p:nvSpPr>
          <p:spPr>
            <a:xfrm>
              <a:off x="1478224" y="4838702"/>
              <a:ext cx="73152" cy="2733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5" name="Rectangle 24">
              <a:extLst>
                <a:ext uri="{FF2B5EF4-FFF2-40B4-BE49-F238E27FC236}">
                  <a16:creationId xmlns:a16="http://schemas.microsoft.com/office/drawing/2014/main" id="{8E418071-7A27-7B2B-E879-DE91C274644C}"/>
                </a:ext>
              </a:extLst>
            </p:cNvPr>
            <p:cNvSpPr/>
            <p:nvPr/>
          </p:nvSpPr>
          <p:spPr>
            <a:xfrm>
              <a:off x="1648411" y="4956631"/>
              <a:ext cx="73152" cy="155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6" name="Rectangle 25">
              <a:extLst>
                <a:ext uri="{FF2B5EF4-FFF2-40B4-BE49-F238E27FC236}">
                  <a16:creationId xmlns:a16="http://schemas.microsoft.com/office/drawing/2014/main" id="{A3860116-FD6F-D908-F435-DB365353D87F}"/>
                </a:ext>
              </a:extLst>
            </p:cNvPr>
            <p:cNvSpPr/>
            <p:nvPr/>
          </p:nvSpPr>
          <p:spPr>
            <a:xfrm>
              <a:off x="1818598" y="4669973"/>
              <a:ext cx="73152" cy="4420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7" name="Rectangle 26">
              <a:extLst>
                <a:ext uri="{FF2B5EF4-FFF2-40B4-BE49-F238E27FC236}">
                  <a16:creationId xmlns:a16="http://schemas.microsoft.com/office/drawing/2014/main" id="{F0B8485E-F3AF-917C-5FEB-91925A513E38}"/>
                </a:ext>
              </a:extLst>
            </p:cNvPr>
            <p:cNvSpPr/>
            <p:nvPr/>
          </p:nvSpPr>
          <p:spPr>
            <a:xfrm>
              <a:off x="1988785" y="4385131"/>
              <a:ext cx="73152" cy="7269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8" name="Rectangle 27">
              <a:extLst>
                <a:ext uri="{FF2B5EF4-FFF2-40B4-BE49-F238E27FC236}">
                  <a16:creationId xmlns:a16="http://schemas.microsoft.com/office/drawing/2014/main" id="{A86992AB-080A-AADF-34A0-DC7D269CFB95}"/>
                </a:ext>
              </a:extLst>
            </p:cNvPr>
            <p:cNvSpPr/>
            <p:nvPr/>
          </p:nvSpPr>
          <p:spPr>
            <a:xfrm>
              <a:off x="2158972" y="4889892"/>
              <a:ext cx="73152" cy="2221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29" name="Rectangle 28">
              <a:extLst>
                <a:ext uri="{FF2B5EF4-FFF2-40B4-BE49-F238E27FC236}">
                  <a16:creationId xmlns:a16="http://schemas.microsoft.com/office/drawing/2014/main" id="{A46B64FA-35C9-FA7B-EC42-4F694F3AF0CB}"/>
                </a:ext>
              </a:extLst>
            </p:cNvPr>
            <p:cNvSpPr/>
            <p:nvPr/>
          </p:nvSpPr>
          <p:spPr>
            <a:xfrm>
              <a:off x="2329159" y="4841274"/>
              <a:ext cx="73152" cy="2707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0" name="Rectangle 29">
              <a:extLst>
                <a:ext uri="{FF2B5EF4-FFF2-40B4-BE49-F238E27FC236}">
                  <a16:creationId xmlns:a16="http://schemas.microsoft.com/office/drawing/2014/main" id="{71471275-33D6-4D8C-D750-1D77ED7D564E}"/>
                </a:ext>
              </a:extLst>
            </p:cNvPr>
            <p:cNvSpPr/>
            <p:nvPr/>
          </p:nvSpPr>
          <p:spPr>
            <a:xfrm>
              <a:off x="2499346" y="4753387"/>
              <a:ext cx="73152" cy="3586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1" name="Rectangle 30">
              <a:extLst>
                <a:ext uri="{FF2B5EF4-FFF2-40B4-BE49-F238E27FC236}">
                  <a16:creationId xmlns:a16="http://schemas.microsoft.com/office/drawing/2014/main" id="{6484CF11-F102-D189-BE76-61639169F338}"/>
                </a:ext>
              </a:extLst>
            </p:cNvPr>
            <p:cNvSpPr/>
            <p:nvPr/>
          </p:nvSpPr>
          <p:spPr>
            <a:xfrm>
              <a:off x="2669533" y="4687938"/>
              <a:ext cx="73152" cy="424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2" name="Rectangle 31">
              <a:extLst>
                <a:ext uri="{FF2B5EF4-FFF2-40B4-BE49-F238E27FC236}">
                  <a16:creationId xmlns:a16="http://schemas.microsoft.com/office/drawing/2014/main" id="{88662F62-84DE-D82A-ADA6-E3ABA63EC483}"/>
                </a:ext>
              </a:extLst>
            </p:cNvPr>
            <p:cNvSpPr/>
            <p:nvPr/>
          </p:nvSpPr>
          <p:spPr>
            <a:xfrm>
              <a:off x="2839720" y="4078338"/>
              <a:ext cx="73152" cy="10337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3" name="Rectangle 32">
              <a:extLst>
                <a:ext uri="{FF2B5EF4-FFF2-40B4-BE49-F238E27FC236}">
                  <a16:creationId xmlns:a16="http://schemas.microsoft.com/office/drawing/2014/main" id="{D65A3B0D-CF05-CB10-8D1F-E60FE2136D32}"/>
                </a:ext>
              </a:extLst>
            </p:cNvPr>
            <p:cNvSpPr/>
            <p:nvPr/>
          </p:nvSpPr>
          <p:spPr>
            <a:xfrm>
              <a:off x="3009907" y="2788081"/>
              <a:ext cx="73152" cy="23239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4" name="Rectangle 33">
              <a:extLst>
                <a:ext uri="{FF2B5EF4-FFF2-40B4-BE49-F238E27FC236}">
                  <a16:creationId xmlns:a16="http://schemas.microsoft.com/office/drawing/2014/main" id="{44E8E771-7E2A-AA23-D6A2-C54583EE2055}"/>
                </a:ext>
              </a:extLst>
            </p:cNvPr>
            <p:cNvSpPr/>
            <p:nvPr/>
          </p:nvSpPr>
          <p:spPr>
            <a:xfrm>
              <a:off x="3180094" y="4830054"/>
              <a:ext cx="73152" cy="2820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5" name="Rectangle 34">
              <a:extLst>
                <a:ext uri="{FF2B5EF4-FFF2-40B4-BE49-F238E27FC236}">
                  <a16:creationId xmlns:a16="http://schemas.microsoft.com/office/drawing/2014/main" id="{3EC2A9B7-6A22-60B9-85BD-D6B2D1C73F2C}"/>
                </a:ext>
              </a:extLst>
            </p:cNvPr>
            <p:cNvSpPr/>
            <p:nvPr/>
          </p:nvSpPr>
          <p:spPr>
            <a:xfrm>
              <a:off x="3350281" y="4616881"/>
              <a:ext cx="73152" cy="4951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6" name="Rectangle 35">
              <a:extLst>
                <a:ext uri="{FF2B5EF4-FFF2-40B4-BE49-F238E27FC236}">
                  <a16:creationId xmlns:a16="http://schemas.microsoft.com/office/drawing/2014/main" id="{44CA31AD-0F4A-5033-C6DA-6B9AE361936D}"/>
                </a:ext>
              </a:extLst>
            </p:cNvPr>
            <p:cNvSpPr/>
            <p:nvPr/>
          </p:nvSpPr>
          <p:spPr>
            <a:xfrm>
              <a:off x="3520468" y="4214843"/>
              <a:ext cx="73152" cy="8972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7" name="Rectangle 36">
              <a:extLst>
                <a:ext uri="{FF2B5EF4-FFF2-40B4-BE49-F238E27FC236}">
                  <a16:creationId xmlns:a16="http://schemas.microsoft.com/office/drawing/2014/main" id="{75508FD9-11D1-4F3C-F02B-C372FCCFCE22}"/>
                </a:ext>
              </a:extLst>
            </p:cNvPr>
            <p:cNvSpPr/>
            <p:nvPr/>
          </p:nvSpPr>
          <p:spPr>
            <a:xfrm>
              <a:off x="3690655" y="4665498"/>
              <a:ext cx="73152" cy="4465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8" name="Rectangle 37">
              <a:extLst>
                <a:ext uri="{FF2B5EF4-FFF2-40B4-BE49-F238E27FC236}">
                  <a16:creationId xmlns:a16="http://schemas.microsoft.com/office/drawing/2014/main" id="{775B26EA-45D5-683F-C979-DF44DB6939AD}"/>
                </a:ext>
              </a:extLst>
            </p:cNvPr>
            <p:cNvSpPr/>
            <p:nvPr/>
          </p:nvSpPr>
          <p:spPr>
            <a:xfrm>
              <a:off x="3860842" y="4514034"/>
              <a:ext cx="73152" cy="5980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39" name="Rectangle 38">
              <a:extLst>
                <a:ext uri="{FF2B5EF4-FFF2-40B4-BE49-F238E27FC236}">
                  <a16:creationId xmlns:a16="http://schemas.microsoft.com/office/drawing/2014/main" id="{E8A45E55-057B-1DD2-8929-C0933704C019}"/>
                </a:ext>
              </a:extLst>
            </p:cNvPr>
            <p:cNvSpPr/>
            <p:nvPr/>
          </p:nvSpPr>
          <p:spPr>
            <a:xfrm>
              <a:off x="4031029" y="3794107"/>
              <a:ext cx="73152" cy="13179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0" name="Rectangle 39">
              <a:extLst>
                <a:ext uri="{FF2B5EF4-FFF2-40B4-BE49-F238E27FC236}">
                  <a16:creationId xmlns:a16="http://schemas.microsoft.com/office/drawing/2014/main" id="{9FF61CD7-6C93-99B2-7A00-FDC006C08514}"/>
                </a:ext>
              </a:extLst>
            </p:cNvPr>
            <p:cNvSpPr/>
            <p:nvPr/>
          </p:nvSpPr>
          <p:spPr>
            <a:xfrm>
              <a:off x="4201216" y="3885735"/>
              <a:ext cx="73152" cy="12263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1" name="Rectangle 40">
              <a:extLst>
                <a:ext uri="{FF2B5EF4-FFF2-40B4-BE49-F238E27FC236}">
                  <a16:creationId xmlns:a16="http://schemas.microsoft.com/office/drawing/2014/main" id="{C3F1A1D8-9D56-5289-34E4-03CE81AD2FAE}"/>
                </a:ext>
              </a:extLst>
            </p:cNvPr>
            <p:cNvSpPr/>
            <p:nvPr/>
          </p:nvSpPr>
          <p:spPr>
            <a:xfrm>
              <a:off x="4371403" y="4407447"/>
              <a:ext cx="73152" cy="7046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2" name="Rectangle 41">
              <a:extLst>
                <a:ext uri="{FF2B5EF4-FFF2-40B4-BE49-F238E27FC236}">
                  <a16:creationId xmlns:a16="http://schemas.microsoft.com/office/drawing/2014/main" id="{71831142-FDBE-4306-0583-235E4A527642}"/>
                </a:ext>
              </a:extLst>
            </p:cNvPr>
            <p:cNvSpPr/>
            <p:nvPr/>
          </p:nvSpPr>
          <p:spPr>
            <a:xfrm>
              <a:off x="4541590" y="4579481"/>
              <a:ext cx="73152" cy="5325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3" name="Rectangle 42">
              <a:extLst>
                <a:ext uri="{FF2B5EF4-FFF2-40B4-BE49-F238E27FC236}">
                  <a16:creationId xmlns:a16="http://schemas.microsoft.com/office/drawing/2014/main" id="{00B59464-FBA5-4148-F64A-1473C85582D0}"/>
                </a:ext>
              </a:extLst>
            </p:cNvPr>
            <p:cNvSpPr/>
            <p:nvPr/>
          </p:nvSpPr>
          <p:spPr>
            <a:xfrm>
              <a:off x="4711777" y="4601920"/>
              <a:ext cx="73152" cy="5101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4" name="Rectangle 43">
              <a:extLst>
                <a:ext uri="{FF2B5EF4-FFF2-40B4-BE49-F238E27FC236}">
                  <a16:creationId xmlns:a16="http://schemas.microsoft.com/office/drawing/2014/main" id="{3BBF3EAE-8A0D-1E40-A085-7C20181D978D}"/>
                </a:ext>
              </a:extLst>
            </p:cNvPr>
            <p:cNvSpPr/>
            <p:nvPr/>
          </p:nvSpPr>
          <p:spPr>
            <a:xfrm>
              <a:off x="4881964" y="4414927"/>
              <a:ext cx="73152" cy="6971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5" name="Rectangle 44">
              <a:extLst>
                <a:ext uri="{FF2B5EF4-FFF2-40B4-BE49-F238E27FC236}">
                  <a16:creationId xmlns:a16="http://schemas.microsoft.com/office/drawing/2014/main" id="{D1929251-D684-6BD0-1B56-76C6D1A3A502}"/>
                </a:ext>
              </a:extLst>
            </p:cNvPr>
            <p:cNvSpPr/>
            <p:nvPr/>
          </p:nvSpPr>
          <p:spPr>
            <a:xfrm>
              <a:off x="5052151" y="2539271"/>
              <a:ext cx="73152" cy="25727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6" name="Rectangle 45">
              <a:extLst>
                <a:ext uri="{FF2B5EF4-FFF2-40B4-BE49-F238E27FC236}">
                  <a16:creationId xmlns:a16="http://schemas.microsoft.com/office/drawing/2014/main" id="{3FFACA26-5360-4506-D15A-ADDDF288B362}"/>
                </a:ext>
              </a:extLst>
            </p:cNvPr>
            <p:cNvSpPr/>
            <p:nvPr/>
          </p:nvSpPr>
          <p:spPr>
            <a:xfrm>
              <a:off x="5222338" y="3672561"/>
              <a:ext cx="73152" cy="14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7" name="Rectangle 46">
              <a:extLst>
                <a:ext uri="{FF2B5EF4-FFF2-40B4-BE49-F238E27FC236}">
                  <a16:creationId xmlns:a16="http://schemas.microsoft.com/office/drawing/2014/main" id="{29C868DF-0D3D-593A-CF1D-828412946C61}"/>
                </a:ext>
              </a:extLst>
            </p:cNvPr>
            <p:cNvSpPr/>
            <p:nvPr/>
          </p:nvSpPr>
          <p:spPr>
            <a:xfrm>
              <a:off x="5392525" y="4177444"/>
              <a:ext cx="73152" cy="9346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8" name="Rectangle 47">
              <a:extLst>
                <a:ext uri="{FF2B5EF4-FFF2-40B4-BE49-F238E27FC236}">
                  <a16:creationId xmlns:a16="http://schemas.microsoft.com/office/drawing/2014/main" id="{FE4AD6C7-0B4C-968E-96AD-0BBC6E3E697A}"/>
                </a:ext>
              </a:extLst>
            </p:cNvPr>
            <p:cNvSpPr/>
            <p:nvPr/>
          </p:nvSpPr>
          <p:spPr>
            <a:xfrm>
              <a:off x="5562712" y="3672561"/>
              <a:ext cx="73152" cy="14395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49" name="Rectangle 48">
              <a:extLst>
                <a:ext uri="{FF2B5EF4-FFF2-40B4-BE49-F238E27FC236}">
                  <a16:creationId xmlns:a16="http://schemas.microsoft.com/office/drawing/2014/main" id="{5ECC793D-7283-A927-AA54-87733718987C}"/>
                </a:ext>
              </a:extLst>
            </p:cNvPr>
            <p:cNvSpPr/>
            <p:nvPr/>
          </p:nvSpPr>
          <p:spPr>
            <a:xfrm>
              <a:off x="5732899" y="3360281"/>
              <a:ext cx="73152" cy="175178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50" name="Rectangle 49">
              <a:extLst>
                <a:ext uri="{FF2B5EF4-FFF2-40B4-BE49-F238E27FC236}">
                  <a16:creationId xmlns:a16="http://schemas.microsoft.com/office/drawing/2014/main" id="{563BCED9-CB1F-FE81-284B-DAE66959EF7D}"/>
                </a:ext>
              </a:extLst>
            </p:cNvPr>
            <p:cNvSpPr/>
            <p:nvPr/>
          </p:nvSpPr>
          <p:spPr>
            <a:xfrm>
              <a:off x="5903100" y="3268654"/>
              <a:ext cx="73152" cy="18434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grpSp>
      <p:grpSp>
        <p:nvGrpSpPr>
          <p:cNvPr id="15" name="Group 14">
            <a:extLst>
              <a:ext uri="{FF2B5EF4-FFF2-40B4-BE49-F238E27FC236}">
                <a16:creationId xmlns:a16="http://schemas.microsoft.com/office/drawing/2014/main" id="{86271859-8B7D-1785-1FE5-FE0D519ED582}"/>
              </a:ext>
            </a:extLst>
          </p:cNvPr>
          <p:cNvGrpSpPr/>
          <p:nvPr/>
        </p:nvGrpSpPr>
        <p:grpSpPr>
          <a:xfrm>
            <a:off x="6166837" y="1631718"/>
            <a:ext cx="5849293" cy="3835432"/>
            <a:chOff x="6166837" y="1631718"/>
            <a:chExt cx="5849293" cy="3835432"/>
          </a:xfrm>
        </p:grpSpPr>
        <p:graphicFrame>
          <p:nvGraphicFramePr>
            <p:cNvPr id="54" name="Chart 53">
              <a:extLst>
                <a:ext uri="{FF2B5EF4-FFF2-40B4-BE49-F238E27FC236}">
                  <a16:creationId xmlns:a16="http://schemas.microsoft.com/office/drawing/2014/main" id="{198EC209-BFD4-57DF-A473-8D6A7E53E1AB}"/>
                </a:ext>
              </a:extLst>
            </p:cNvPr>
            <p:cNvGraphicFramePr/>
            <p:nvPr/>
          </p:nvGraphicFramePr>
          <p:xfrm>
            <a:off x="6166837" y="2336800"/>
            <a:ext cx="5500623" cy="313035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4">
              <a:extLst>
                <a:ext uri="{FF2B5EF4-FFF2-40B4-BE49-F238E27FC236}">
                  <a16:creationId xmlns:a16="http://schemas.microsoft.com/office/drawing/2014/main" id="{2B2BDC58-E7F5-3C77-2301-A3F29520C299}"/>
                </a:ext>
              </a:extLst>
            </p:cNvPr>
            <p:cNvSpPr txBox="1">
              <a:spLocks/>
            </p:cNvSpPr>
            <p:nvPr/>
          </p:nvSpPr>
          <p:spPr bwMode="gray">
            <a:xfrm>
              <a:off x="6168735" y="1631718"/>
              <a:ext cx="5796544" cy="518091"/>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600" b="1" i="0" u="none" strike="noStrike" kern="0" cap="none" spc="0" normalizeH="0" baseline="0" noProof="0" dirty="0">
                  <a:ln>
                    <a:noFill/>
                  </a:ln>
                  <a:effectLst/>
                  <a:uLnTx/>
                  <a:uFillTx/>
                  <a:latin typeface="+mj-lt"/>
                  <a:ea typeface="SimHei"/>
                  <a:cs typeface="+mn-cs"/>
                </a:rPr>
                <a:t>An example of this is the 2023 Canada's wildfire season </a:t>
              </a:r>
            </a:p>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endParaRPr kumimoji="0" lang="en-US" altLang="zh-TW" sz="1600" b="1" i="0" u="none" strike="noStrike" kern="0" cap="none" spc="0" normalizeH="0" baseline="0" noProof="0" dirty="0">
                <a:ln>
                  <a:noFill/>
                </a:ln>
                <a:effectLst/>
                <a:uLnTx/>
                <a:uFillTx/>
                <a:latin typeface="+mj-lt"/>
                <a:ea typeface="SimHei"/>
                <a:cs typeface="+mn-cs"/>
              </a:endParaRPr>
            </a:p>
          </p:txBody>
        </p:sp>
        <p:sp>
          <p:nvSpPr>
            <p:cNvPr id="55" name="Text Placeholder 4">
              <a:extLst>
                <a:ext uri="{FF2B5EF4-FFF2-40B4-BE49-F238E27FC236}">
                  <a16:creationId xmlns:a16="http://schemas.microsoft.com/office/drawing/2014/main" id="{3338AE93-82B9-FD26-6C8D-A6210C6F679C}"/>
                </a:ext>
              </a:extLst>
            </p:cNvPr>
            <p:cNvSpPr txBox="1">
              <a:spLocks/>
            </p:cNvSpPr>
            <p:nvPr/>
          </p:nvSpPr>
          <p:spPr bwMode="gray">
            <a:xfrm>
              <a:off x="6792318" y="5170899"/>
              <a:ext cx="218008"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May</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56" name="Text Placeholder 4">
              <a:extLst>
                <a:ext uri="{FF2B5EF4-FFF2-40B4-BE49-F238E27FC236}">
                  <a16:creationId xmlns:a16="http://schemas.microsoft.com/office/drawing/2014/main" id="{A0958214-2D47-D587-4872-B9473E93727F}"/>
                </a:ext>
              </a:extLst>
            </p:cNvPr>
            <p:cNvSpPr txBox="1">
              <a:spLocks/>
            </p:cNvSpPr>
            <p:nvPr/>
          </p:nvSpPr>
          <p:spPr bwMode="gray">
            <a:xfrm>
              <a:off x="7756826" y="5170899"/>
              <a:ext cx="185948"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Jun</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57" name="Text Placeholder 4">
              <a:extLst>
                <a:ext uri="{FF2B5EF4-FFF2-40B4-BE49-F238E27FC236}">
                  <a16:creationId xmlns:a16="http://schemas.microsoft.com/office/drawing/2014/main" id="{D4B991D9-239F-0790-092A-A8ECD05AB3DD}"/>
                </a:ext>
              </a:extLst>
            </p:cNvPr>
            <p:cNvSpPr txBox="1">
              <a:spLocks/>
            </p:cNvSpPr>
            <p:nvPr/>
          </p:nvSpPr>
          <p:spPr bwMode="gray">
            <a:xfrm>
              <a:off x="8689274" y="5170899"/>
              <a:ext cx="147476"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a:ln>
                    <a:noFill/>
                  </a:ln>
                  <a:effectLst/>
                  <a:uLnTx/>
                  <a:uFillTx/>
                  <a:latin typeface="+mj-lt"/>
                  <a:ea typeface="SimHei"/>
                  <a:cs typeface="+mn-cs"/>
                </a:rPr>
                <a:t>Jul</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58" name="Text Placeholder 4">
              <a:extLst>
                <a:ext uri="{FF2B5EF4-FFF2-40B4-BE49-F238E27FC236}">
                  <a16:creationId xmlns:a16="http://schemas.microsoft.com/office/drawing/2014/main" id="{20E64441-1B1F-81E0-5AB3-086B7F4DA0A5}"/>
                </a:ext>
              </a:extLst>
            </p:cNvPr>
            <p:cNvSpPr txBox="1">
              <a:spLocks/>
            </p:cNvSpPr>
            <p:nvPr/>
          </p:nvSpPr>
          <p:spPr bwMode="gray">
            <a:xfrm>
              <a:off x="9583250" y="5170899"/>
              <a:ext cx="205184"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Aug</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59" name="Text Placeholder 4">
              <a:extLst>
                <a:ext uri="{FF2B5EF4-FFF2-40B4-BE49-F238E27FC236}">
                  <a16:creationId xmlns:a16="http://schemas.microsoft.com/office/drawing/2014/main" id="{B9DAF993-47E2-9445-D6E7-DE671E0ABEAF}"/>
                </a:ext>
              </a:extLst>
            </p:cNvPr>
            <p:cNvSpPr txBox="1">
              <a:spLocks/>
            </p:cNvSpPr>
            <p:nvPr/>
          </p:nvSpPr>
          <p:spPr bwMode="gray">
            <a:xfrm>
              <a:off x="10534934" y="5170899"/>
              <a:ext cx="205184"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a:ln>
                    <a:noFill/>
                  </a:ln>
                  <a:effectLst/>
                  <a:uLnTx/>
                  <a:uFillTx/>
                  <a:latin typeface="+mj-lt"/>
                  <a:ea typeface="SimHei"/>
                  <a:cs typeface="+mn-cs"/>
                </a:rPr>
                <a:t>Sep</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60" name="Text Placeholder 4">
              <a:extLst>
                <a:ext uri="{FF2B5EF4-FFF2-40B4-BE49-F238E27FC236}">
                  <a16:creationId xmlns:a16="http://schemas.microsoft.com/office/drawing/2014/main" id="{9D201B48-FF3F-45A6-5606-3644E98BF649}"/>
                </a:ext>
              </a:extLst>
            </p:cNvPr>
            <p:cNvSpPr txBox="1">
              <a:spLocks/>
            </p:cNvSpPr>
            <p:nvPr/>
          </p:nvSpPr>
          <p:spPr bwMode="gray">
            <a:xfrm>
              <a:off x="11486620" y="5170899"/>
              <a:ext cx="179536"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Oct</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61" name="Freeform: Shape 60">
              <a:extLst>
                <a:ext uri="{FF2B5EF4-FFF2-40B4-BE49-F238E27FC236}">
                  <a16:creationId xmlns:a16="http://schemas.microsoft.com/office/drawing/2014/main" id="{943CA306-B39C-AB2A-3253-A5FDC884CD14}"/>
                </a:ext>
              </a:extLst>
            </p:cNvPr>
            <p:cNvSpPr/>
            <p:nvPr/>
          </p:nvSpPr>
          <p:spPr>
            <a:xfrm>
              <a:off x="6878472" y="2492991"/>
              <a:ext cx="3375546" cy="2602173"/>
            </a:xfrm>
            <a:custGeom>
              <a:avLst/>
              <a:gdLst>
                <a:gd name="connsiteX0" fmla="*/ 0 w 3375546"/>
                <a:gd name="connsiteY0" fmla="*/ 2602173 h 2602173"/>
                <a:gd name="connsiteX1" fmla="*/ 0 w 3375546"/>
                <a:gd name="connsiteY1" fmla="*/ 2602173 h 2602173"/>
                <a:gd name="connsiteX2" fmla="*/ 100083 w 3375546"/>
                <a:gd name="connsiteY2" fmla="*/ 2593075 h 2602173"/>
                <a:gd name="connsiteX3" fmla="*/ 159224 w 3375546"/>
                <a:gd name="connsiteY3" fmla="*/ 2533934 h 2602173"/>
                <a:gd name="connsiteX4" fmla="*/ 363940 w 3375546"/>
                <a:gd name="connsiteY4" fmla="*/ 2520287 h 2602173"/>
                <a:gd name="connsiteX5" fmla="*/ 482221 w 3375546"/>
                <a:gd name="connsiteY5" fmla="*/ 2379260 h 2602173"/>
                <a:gd name="connsiteX6" fmla="*/ 532262 w 3375546"/>
                <a:gd name="connsiteY6" fmla="*/ 2361063 h 2602173"/>
                <a:gd name="connsiteX7" fmla="*/ 609600 w 3375546"/>
                <a:gd name="connsiteY7" fmla="*/ 2238233 h 2602173"/>
                <a:gd name="connsiteX8" fmla="*/ 741528 w 3375546"/>
                <a:gd name="connsiteY8" fmla="*/ 2238233 h 2602173"/>
                <a:gd name="connsiteX9" fmla="*/ 796119 w 3375546"/>
                <a:gd name="connsiteY9" fmla="*/ 2210937 h 2602173"/>
                <a:gd name="connsiteX10" fmla="*/ 923498 w 3375546"/>
                <a:gd name="connsiteY10" fmla="*/ 2115403 h 2602173"/>
                <a:gd name="connsiteX11" fmla="*/ 1014483 w 3375546"/>
                <a:gd name="connsiteY11" fmla="*/ 2047164 h 2602173"/>
                <a:gd name="connsiteX12" fmla="*/ 1059976 w 3375546"/>
                <a:gd name="connsiteY12" fmla="*/ 1969827 h 2602173"/>
                <a:gd name="connsiteX13" fmla="*/ 1187355 w 3375546"/>
                <a:gd name="connsiteY13" fmla="*/ 1851546 h 2602173"/>
                <a:gd name="connsiteX14" fmla="*/ 1287438 w 3375546"/>
                <a:gd name="connsiteY14" fmla="*/ 1751463 h 2602173"/>
                <a:gd name="connsiteX15" fmla="*/ 1369325 w 3375546"/>
                <a:gd name="connsiteY15" fmla="*/ 1619534 h 2602173"/>
                <a:gd name="connsiteX16" fmla="*/ 1537647 w 3375546"/>
                <a:gd name="connsiteY16" fmla="*/ 1596788 h 2602173"/>
                <a:gd name="connsiteX17" fmla="*/ 1583140 w 3375546"/>
                <a:gd name="connsiteY17" fmla="*/ 1555845 h 2602173"/>
                <a:gd name="connsiteX18" fmla="*/ 1665027 w 3375546"/>
                <a:gd name="connsiteY18" fmla="*/ 1360227 h 2602173"/>
                <a:gd name="connsiteX19" fmla="*/ 1769659 w 3375546"/>
                <a:gd name="connsiteY19" fmla="*/ 1210102 h 2602173"/>
                <a:gd name="connsiteX20" fmla="*/ 1865194 w 3375546"/>
                <a:gd name="connsiteY20" fmla="*/ 1182806 h 2602173"/>
                <a:gd name="connsiteX21" fmla="*/ 1924334 w 3375546"/>
                <a:gd name="connsiteY21" fmla="*/ 1105469 h 2602173"/>
                <a:gd name="connsiteX22" fmla="*/ 2024418 w 3375546"/>
                <a:gd name="connsiteY22" fmla="*/ 1064525 h 2602173"/>
                <a:gd name="connsiteX23" fmla="*/ 2065361 w 3375546"/>
                <a:gd name="connsiteY23" fmla="*/ 996287 h 2602173"/>
                <a:gd name="connsiteX24" fmla="*/ 2119952 w 3375546"/>
                <a:gd name="connsiteY24" fmla="*/ 946245 h 2602173"/>
                <a:gd name="connsiteX25" fmla="*/ 2283725 w 3375546"/>
                <a:gd name="connsiteY25" fmla="*/ 809767 h 2602173"/>
                <a:gd name="connsiteX26" fmla="*/ 2374710 w 3375546"/>
                <a:gd name="connsiteY26" fmla="*/ 650543 h 2602173"/>
                <a:gd name="connsiteX27" fmla="*/ 2411104 w 3375546"/>
                <a:gd name="connsiteY27" fmla="*/ 609600 h 2602173"/>
                <a:gd name="connsiteX28" fmla="*/ 2556680 w 3375546"/>
                <a:gd name="connsiteY28" fmla="*/ 568657 h 2602173"/>
                <a:gd name="connsiteX29" fmla="*/ 2638567 w 3375546"/>
                <a:gd name="connsiteY29" fmla="*/ 504967 h 2602173"/>
                <a:gd name="connsiteX30" fmla="*/ 2747749 w 3375546"/>
                <a:gd name="connsiteY30" fmla="*/ 427630 h 2602173"/>
                <a:gd name="connsiteX31" fmla="*/ 2806889 w 3375546"/>
                <a:gd name="connsiteY31" fmla="*/ 400334 h 2602173"/>
                <a:gd name="connsiteX32" fmla="*/ 2856931 w 3375546"/>
                <a:gd name="connsiteY32" fmla="*/ 350293 h 2602173"/>
                <a:gd name="connsiteX33" fmla="*/ 2984310 w 3375546"/>
                <a:gd name="connsiteY33" fmla="*/ 309349 h 2602173"/>
                <a:gd name="connsiteX34" fmla="*/ 3098041 w 3375546"/>
                <a:gd name="connsiteY34" fmla="*/ 232012 h 2602173"/>
                <a:gd name="connsiteX35" fmla="*/ 3129886 w 3375546"/>
                <a:gd name="connsiteY35" fmla="*/ 154675 h 2602173"/>
                <a:gd name="connsiteX36" fmla="*/ 3220871 w 3375546"/>
                <a:gd name="connsiteY36" fmla="*/ 145576 h 2602173"/>
                <a:gd name="connsiteX37" fmla="*/ 3275462 w 3375546"/>
                <a:gd name="connsiteY37" fmla="*/ 109182 h 2602173"/>
                <a:gd name="connsiteX38" fmla="*/ 3320955 w 3375546"/>
                <a:gd name="connsiteY38" fmla="*/ 31845 h 2602173"/>
                <a:gd name="connsiteX39" fmla="*/ 3375546 w 3375546"/>
                <a:gd name="connsiteY39" fmla="*/ 0 h 260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75546" h="2602173">
                  <a:moveTo>
                    <a:pt x="0" y="2602173"/>
                  </a:moveTo>
                  <a:lnTo>
                    <a:pt x="0" y="2602173"/>
                  </a:lnTo>
                  <a:lnTo>
                    <a:pt x="100083" y="2593075"/>
                  </a:lnTo>
                  <a:lnTo>
                    <a:pt x="159224" y="2533934"/>
                  </a:lnTo>
                  <a:lnTo>
                    <a:pt x="363940" y="2520287"/>
                  </a:lnTo>
                  <a:lnTo>
                    <a:pt x="482221" y="2379260"/>
                  </a:lnTo>
                  <a:lnTo>
                    <a:pt x="532262" y="2361063"/>
                  </a:lnTo>
                  <a:lnTo>
                    <a:pt x="609600" y="2238233"/>
                  </a:lnTo>
                  <a:lnTo>
                    <a:pt x="741528" y="2238233"/>
                  </a:lnTo>
                  <a:lnTo>
                    <a:pt x="796119" y="2210937"/>
                  </a:lnTo>
                  <a:lnTo>
                    <a:pt x="923498" y="2115403"/>
                  </a:lnTo>
                  <a:lnTo>
                    <a:pt x="1014483" y="2047164"/>
                  </a:lnTo>
                  <a:lnTo>
                    <a:pt x="1059976" y="1969827"/>
                  </a:lnTo>
                  <a:lnTo>
                    <a:pt x="1187355" y="1851546"/>
                  </a:lnTo>
                  <a:lnTo>
                    <a:pt x="1287438" y="1751463"/>
                  </a:lnTo>
                  <a:lnTo>
                    <a:pt x="1369325" y="1619534"/>
                  </a:lnTo>
                  <a:lnTo>
                    <a:pt x="1537647" y="1596788"/>
                  </a:lnTo>
                  <a:lnTo>
                    <a:pt x="1583140" y="1555845"/>
                  </a:lnTo>
                  <a:lnTo>
                    <a:pt x="1665027" y="1360227"/>
                  </a:lnTo>
                  <a:lnTo>
                    <a:pt x="1769659" y="1210102"/>
                  </a:lnTo>
                  <a:lnTo>
                    <a:pt x="1865194" y="1182806"/>
                  </a:lnTo>
                  <a:lnTo>
                    <a:pt x="1924334" y="1105469"/>
                  </a:lnTo>
                  <a:lnTo>
                    <a:pt x="2024418" y="1064525"/>
                  </a:lnTo>
                  <a:lnTo>
                    <a:pt x="2065361" y="996287"/>
                  </a:lnTo>
                  <a:lnTo>
                    <a:pt x="2119952" y="946245"/>
                  </a:lnTo>
                  <a:lnTo>
                    <a:pt x="2283725" y="809767"/>
                  </a:lnTo>
                  <a:lnTo>
                    <a:pt x="2374710" y="650543"/>
                  </a:lnTo>
                  <a:lnTo>
                    <a:pt x="2411104" y="609600"/>
                  </a:lnTo>
                  <a:lnTo>
                    <a:pt x="2556680" y="568657"/>
                  </a:lnTo>
                  <a:lnTo>
                    <a:pt x="2638567" y="504967"/>
                  </a:lnTo>
                  <a:lnTo>
                    <a:pt x="2747749" y="427630"/>
                  </a:lnTo>
                  <a:lnTo>
                    <a:pt x="2806889" y="400334"/>
                  </a:lnTo>
                  <a:lnTo>
                    <a:pt x="2856931" y="350293"/>
                  </a:lnTo>
                  <a:lnTo>
                    <a:pt x="2984310" y="309349"/>
                  </a:lnTo>
                  <a:lnTo>
                    <a:pt x="3098041" y="232012"/>
                  </a:lnTo>
                  <a:lnTo>
                    <a:pt x="3129886" y="154675"/>
                  </a:lnTo>
                  <a:lnTo>
                    <a:pt x="3220871" y="145576"/>
                  </a:lnTo>
                  <a:lnTo>
                    <a:pt x="3275462" y="109182"/>
                  </a:lnTo>
                  <a:lnTo>
                    <a:pt x="3320955" y="31845"/>
                  </a:lnTo>
                  <a:lnTo>
                    <a:pt x="3375546" y="0"/>
                  </a:lnTo>
                </a:path>
              </a:pathLst>
            </a:cu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Shape 61">
              <a:extLst>
                <a:ext uri="{FF2B5EF4-FFF2-40B4-BE49-F238E27FC236}">
                  <a16:creationId xmlns:a16="http://schemas.microsoft.com/office/drawing/2014/main" id="{95A4CF11-97FB-D90B-581C-0D9E9B0FB347}"/>
                </a:ext>
              </a:extLst>
            </p:cNvPr>
            <p:cNvSpPr/>
            <p:nvPr/>
          </p:nvSpPr>
          <p:spPr>
            <a:xfrm>
              <a:off x="6919415" y="4840406"/>
              <a:ext cx="4733398" cy="277504"/>
            </a:xfrm>
            <a:custGeom>
              <a:avLst/>
              <a:gdLst>
                <a:gd name="connsiteX0" fmla="*/ 0 w 4753970"/>
                <a:gd name="connsiteY0" fmla="*/ 277504 h 277504"/>
                <a:gd name="connsiteX1" fmla="*/ 127379 w 4753970"/>
                <a:gd name="connsiteY1" fmla="*/ 204716 h 277504"/>
                <a:gd name="connsiteX2" fmla="*/ 322997 w 4753970"/>
                <a:gd name="connsiteY2" fmla="*/ 200167 h 277504"/>
                <a:gd name="connsiteX3" fmla="*/ 413982 w 4753970"/>
                <a:gd name="connsiteY3" fmla="*/ 186519 h 277504"/>
                <a:gd name="connsiteX4" fmla="*/ 473122 w 4753970"/>
                <a:gd name="connsiteY4" fmla="*/ 136478 h 277504"/>
                <a:gd name="connsiteX5" fmla="*/ 659642 w 4753970"/>
                <a:gd name="connsiteY5" fmla="*/ 136478 h 277504"/>
                <a:gd name="connsiteX6" fmla="*/ 841612 w 4753970"/>
                <a:gd name="connsiteY6" fmla="*/ 109182 h 277504"/>
                <a:gd name="connsiteX7" fmla="*/ 1019033 w 4753970"/>
                <a:gd name="connsiteY7" fmla="*/ 122830 h 277504"/>
                <a:gd name="connsiteX8" fmla="*/ 1264692 w 4753970"/>
                <a:gd name="connsiteY8" fmla="*/ 100084 h 277504"/>
                <a:gd name="connsiteX9" fmla="*/ 1473958 w 4753970"/>
                <a:gd name="connsiteY9" fmla="*/ 113731 h 277504"/>
                <a:gd name="connsiteX10" fmla="*/ 1742364 w 4753970"/>
                <a:gd name="connsiteY10" fmla="*/ 90985 h 277504"/>
                <a:gd name="connsiteX11" fmla="*/ 1869743 w 4753970"/>
                <a:gd name="connsiteY11" fmla="*/ 104633 h 277504"/>
                <a:gd name="connsiteX12" fmla="*/ 1906137 w 4753970"/>
                <a:gd name="connsiteY12" fmla="*/ 68239 h 277504"/>
                <a:gd name="connsiteX13" fmla="*/ 2101755 w 4753970"/>
                <a:gd name="connsiteY13" fmla="*/ 54591 h 277504"/>
                <a:gd name="connsiteX14" fmla="*/ 2311021 w 4753970"/>
                <a:gd name="connsiteY14" fmla="*/ 59140 h 277504"/>
                <a:gd name="connsiteX15" fmla="*/ 2447498 w 4753970"/>
                <a:gd name="connsiteY15" fmla="*/ 9098 h 277504"/>
                <a:gd name="connsiteX16" fmla="*/ 2611272 w 4753970"/>
                <a:gd name="connsiteY16" fmla="*/ 9098 h 277504"/>
                <a:gd name="connsiteX17" fmla="*/ 2902424 w 4753970"/>
                <a:gd name="connsiteY17" fmla="*/ 22746 h 277504"/>
                <a:gd name="connsiteX18" fmla="*/ 3211773 w 4753970"/>
                <a:gd name="connsiteY18" fmla="*/ 13648 h 277504"/>
                <a:gd name="connsiteX19" fmla="*/ 3525672 w 4753970"/>
                <a:gd name="connsiteY19" fmla="*/ 4549 h 277504"/>
                <a:gd name="connsiteX20" fmla="*/ 3966949 w 4753970"/>
                <a:gd name="connsiteY20" fmla="*/ 18197 h 277504"/>
                <a:gd name="connsiteX21" fmla="*/ 4271749 w 4753970"/>
                <a:gd name="connsiteY21" fmla="*/ 4549 h 277504"/>
                <a:gd name="connsiteX22" fmla="*/ 4753970 w 4753970"/>
                <a:gd name="connsiteY22" fmla="*/ 0 h 27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53970" h="277504">
                  <a:moveTo>
                    <a:pt x="0" y="277504"/>
                  </a:moveTo>
                  <a:lnTo>
                    <a:pt x="127379" y="204716"/>
                  </a:lnTo>
                  <a:lnTo>
                    <a:pt x="322997" y="200167"/>
                  </a:lnTo>
                  <a:lnTo>
                    <a:pt x="413982" y="186519"/>
                  </a:lnTo>
                  <a:lnTo>
                    <a:pt x="473122" y="136478"/>
                  </a:lnTo>
                  <a:lnTo>
                    <a:pt x="659642" y="136478"/>
                  </a:lnTo>
                  <a:lnTo>
                    <a:pt x="841612" y="109182"/>
                  </a:lnTo>
                  <a:lnTo>
                    <a:pt x="1019033" y="122830"/>
                  </a:lnTo>
                  <a:lnTo>
                    <a:pt x="1264692" y="100084"/>
                  </a:lnTo>
                  <a:lnTo>
                    <a:pt x="1473958" y="113731"/>
                  </a:lnTo>
                  <a:lnTo>
                    <a:pt x="1742364" y="90985"/>
                  </a:lnTo>
                  <a:lnTo>
                    <a:pt x="1869743" y="104633"/>
                  </a:lnTo>
                  <a:lnTo>
                    <a:pt x="1906137" y="68239"/>
                  </a:lnTo>
                  <a:lnTo>
                    <a:pt x="2101755" y="54591"/>
                  </a:lnTo>
                  <a:lnTo>
                    <a:pt x="2311021" y="59140"/>
                  </a:lnTo>
                  <a:lnTo>
                    <a:pt x="2447498" y="9098"/>
                  </a:lnTo>
                  <a:lnTo>
                    <a:pt x="2611272" y="9098"/>
                  </a:lnTo>
                  <a:lnTo>
                    <a:pt x="2902424" y="22746"/>
                  </a:lnTo>
                  <a:lnTo>
                    <a:pt x="3211773" y="13648"/>
                  </a:lnTo>
                  <a:lnTo>
                    <a:pt x="3525672" y="4549"/>
                  </a:lnTo>
                  <a:lnTo>
                    <a:pt x="3966949" y="18197"/>
                  </a:lnTo>
                  <a:lnTo>
                    <a:pt x="4271749" y="4549"/>
                  </a:lnTo>
                  <a:lnTo>
                    <a:pt x="4753970"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Freeform: Shape 62">
              <a:extLst>
                <a:ext uri="{FF2B5EF4-FFF2-40B4-BE49-F238E27FC236}">
                  <a16:creationId xmlns:a16="http://schemas.microsoft.com/office/drawing/2014/main" id="{0DC3ED04-723E-5CD5-F77C-BDA686D44B07}"/>
                </a:ext>
              </a:extLst>
            </p:cNvPr>
            <p:cNvSpPr/>
            <p:nvPr/>
          </p:nvSpPr>
          <p:spPr>
            <a:xfrm>
              <a:off x="7369791" y="4758519"/>
              <a:ext cx="4285397" cy="341194"/>
            </a:xfrm>
            <a:custGeom>
              <a:avLst/>
              <a:gdLst>
                <a:gd name="connsiteX0" fmla="*/ 0 w 4285397"/>
                <a:gd name="connsiteY0" fmla="*/ 341194 h 341194"/>
                <a:gd name="connsiteX1" fmla="*/ 81887 w 4285397"/>
                <a:gd name="connsiteY1" fmla="*/ 318448 h 341194"/>
                <a:gd name="connsiteX2" fmla="*/ 382137 w 4285397"/>
                <a:gd name="connsiteY2" fmla="*/ 295702 h 341194"/>
                <a:gd name="connsiteX3" fmla="*/ 427630 w 4285397"/>
                <a:gd name="connsiteY3" fmla="*/ 232012 h 341194"/>
                <a:gd name="connsiteX4" fmla="*/ 846161 w 4285397"/>
                <a:gd name="connsiteY4" fmla="*/ 200168 h 341194"/>
                <a:gd name="connsiteX5" fmla="*/ 1223749 w 4285397"/>
                <a:gd name="connsiteY5" fmla="*/ 209266 h 341194"/>
                <a:gd name="connsiteX6" fmla="*/ 1382973 w 4285397"/>
                <a:gd name="connsiteY6" fmla="*/ 168323 h 341194"/>
                <a:gd name="connsiteX7" fmla="*/ 1587690 w 4285397"/>
                <a:gd name="connsiteY7" fmla="*/ 127380 h 341194"/>
                <a:gd name="connsiteX8" fmla="*/ 1687773 w 4285397"/>
                <a:gd name="connsiteY8" fmla="*/ 77338 h 341194"/>
                <a:gd name="connsiteX9" fmla="*/ 1851546 w 4285397"/>
                <a:gd name="connsiteY9" fmla="*/ 68239 h 341194"/>
                <a:gd name="connsiteX10" fmla="*/ 2015319 w 4285397"/>
                <a:gd name="connsiteY10" fmla="*/ 63690 h 341194"/>
                <a:gd name="connsiteX11" fmla="*/ 2051713 w 4285397"/>
                <a:gd name="connsiteY11" fmla="*/ 50042 h 341194"/>
                <a:gd name="connsiteX12" fmla="*/ 2179093 w 4285397"/>
                <a:gd name="connsiteY12" fmla="*/ 31845 h 341194"/>
                <a:gd name="connsiteX13" fmla="*/ 2465696 w 4285397"/>
                <a:gd name="connsiteY13" fmla="*/ 0 h 341194"/>
                <a:gd name="connsiteX14" fmla="*/ 2775045 w 4285397"/>
                <a:gd name="connsiteY14" fmla="*/ 9099 h 341194"/>
                <a:gd name="connsiteX15" fmla="*/ 4285397 w 4285397"/>
                <a:gd name="connsiteY15" fmla="*/ 0 h 34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85397" h="341194">
                  <a:moveTo>
                    <a:pt x="0" y="341194"/>
                  </a:moveTo>
                  <a:lnTo>
                    <a:pt x="81887" y="318448"/>
                  </a:lnTo>
                  <a:lnTo>
                    <a:pt x="382137" y="295702"/>
                  </a:lnTo>
                  <a:lnTo>
                    <a:pt x="427630" y="232012"/>
                  </a:lnTo>
                  <a:lnTo>
                    <a:pt x="846161" y="200168"/>
                  </a:lnTo>
                  <a:lnTo>
                    <a:pt x="1223749" y="209266"/>
                  </a:lnTo>
                  <a:lnTo>
                    <a:pt x="1382973" y="168323"/>
                  </a:lnTo>
                  <a:lnTo>
                    <a:pt x="1587690" y="127380"/>
                  </a:lnTo>
                  <a:lnTo>
                    <a:pt x="1687773" y="77338"/>
                  </a:lnTo>
                  <a:lnTo>
                    <a:pt x="1851546" y="68239"/>
                  </a:lnTo>
                  <a:lnTo>
                    <a:pt x="2015319" y="63690"/>
                  </a:lnTo>
                  <a:lnTo>
                    <a:pt x="2051713" y="50042"/>
                  </a:lnTo>
                  <a:lnTo>
                    <a:pt x="2179093" y="31845"/>
                  </a:lnTo>
                  <a:lnTo>
                    <a:pt x="2465696" y="0"/>
                  </a:lnTo>
                  <a:lnTo>
                    <a:pt x="2775045" y="9099"/>
                  </a:lnTo>
                  <a:lnTo>
                    <a:pt x="4285397"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Freeform: Shape 63">
              <a:extLst>
                <a:ext uri="{FF2B5EF4-FFF2-40B4-BE49-F238E27FC236}">
                  <a16:creationId xmlns:a16="http://schemas.microsoft.com/office/drawing/2014/main" id="{FCD8EF6C-1D27-9C3D-E443-CAC2236E5EC6}"/>
                </a:ext>
              </a:extLst>
            </p:cNvPr>
            <p:cNvSpPr/>
            <p:nvPr/>
          </p:nvSpPr>
          <p:spPr>
            <a:xfrm>
              <a:off x="7392537" y="4380931"/>
              <a:ext cx="4276299" cy="741529"/>
            </a:xfrm>
            <a:custGeom>
              <a:avLst/>
              <a:gdLst>
                <a:gd name="connsiteX0" fmla="*/ 0 w 4276299"/>
                <a:gd name="connsiteY0" fmla="*/ 741529 h 741529"/>
                <a:gd name="connsiteX1" fmla="*/ 122830 w 4276299"/>
                <a:gd name="connsiteY1" fmla="*/ 696036 h 741529"/>
                <a:gd name="connsiteX2" fmla="*/ 1182806 w 4276299"/>
                <a:gd name="connsiteY2" fmla="*/ 673290 h 741529"/>
                <a:gd name="connsiteX3" fmla="*/ 1414818 w 4276299"/>
                <a:gd name="connsiteY3" fmla="*/ 664191 h 741529"/>
                <a:gd name="connsiteX4" fmla="*/ 1478508 w 4276299"/>
                <a:gd name="connsiteY4" fmla="*/ 618699 h 741529"/>
                <a:gd name="connsiteX5" fmla="*/ 1533099 w 4276299"/>
                <a:gd name="connsiteY5" fmla="*/ 605051 h 741529"/>
                <a:gd name="connsiteX6" fmla="*/ 1678675 w 4276299"/>
                <a:gd name="connsiteY6" fmla="*/ 586854 h 741529"/>
                <a:gd name="connsiteX7" fmla="*/ 1742364 w 4276299"/>
                <a:gd name="connsiteY7" fmla="*/ 482221 h 741529"/>
                <a:gd name="connsiteX8" fmla="*/ 1842448 w 4276299"/>
                <a:gd name="connsiteY8" fmla="*/ 441278 h 741529"/>
                <a:gd name="connsiteX9" fmla="*/ 1887941 w 4276299"/>
                <a:gd name="connsiteY9" fmla="*/ 336645 h 741529"/>
                <a:gd name="connsiteX10" fmla="*/ 1988024 w 4276299"/>
                <a:gd name="connsiteY10" fmla="*/ 300251 h 741529"/>
                <a:gd name="connsiteX11" fmla="*/ 2074460 w 4276299"/>
                <a:gd name="connsiteY11" fmla="*/ 268406 h 741529"/>
                <a:gd name="connsiteX12" fmla="*/ 2119953 w 4276299"/>
                <a:gd name="connsiteY12" fmla="*/ 254759 h 741529"/>
                <a:gd name="connsiteX13" fmla="*/ 2151797 w 4276299"/>
                <a:gd name="connsiteY13" fmla="*/ 209266 h 741529"/>
                <a:gd name="connsiteX14" fmla="*/ 2233684 w 4276299"/>
                <a:gd name="connsiteY14" fmla="*/ 204717 h 741529"/>
                <a:gd name="connsiteX15" fmla="*/ 2270078 w 4276299"/>
                <a:gd name="connsiteY15" fmla="*/ 168323 h 741529"/>
                <a:gd name="connsiteX16" fmla="*/ 2292824 w 4276299"/>
                <a:gd name="connsiteY16" fmla="*/ 168323 h 741529"/>
                <a:gd name="connsiteX17" fmla="*/ 2333767 w 4276299"/>
                <a:gd name="connsiteY17" fmla="*/ 136478 h 741529"/>
                <a:gd name="connsiteX18" fmla="*/ 2470245 w 4276299"/>
                <a:gd name="connsiteY18" fmla="*/ 141027 h 741529"/>
                <a:gd name="connsiteX19" fmla="*/ 2524836 w 4276299"/>
                <a:gd name="connsiteY19" fmla="*/ 118281 h 741529"/>
                <a:gd name="connsiteX20" fmla="*/ 2556681 w 4276299"/>
                <a:gd name="connsiteY20" fmla="*/ 86436 h 741529"/>
                <a:gd name="connsiteX21" fmla="*/ 2679511 w 4276299"/>
                <a:gd name="connsiteY21" fmla="*/ 72788 h 741529"/>
                <a:gd name="connsiteX22" fmla="*/ 2879678 w 4276299"/>
                <a:gd name="connsiteY22" fmla="*/ 27296 h 741529"/>
                <a:gd name="connsiteX23" fmla="*/ 3248167 w 4276299"/>
                <a:gd name="connsiteY23" fmla="*/ 13648 h 741529"/>
                <a:gd name="connsiteX24" fmla="*/ 3721290 w 4276299"/>
                <a:gd name="connsiteY24" fmla="*/ 4550 h 741529"/>
                <a:gd name="connsiteX25" fmla="*/ 4276299 w 4276299"/>
                <a:gd name="connsiteY25" fmla="*/ 0 h 7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76299" h="741529">
                  <a:moveTo>
                    <a:pt x="0" y="741529"/>
                  </a:moveTo>
                  <a:lnTo>
                    <a:pt x="122830" y="696036"/>
                  </a:lnTo>
                  <a:lnTo>
                    <a:pt x="1182806" y="673290"/>
                  </a:lnTo>
                  <a:lnTo>
                    <a:pt x="1414818" y="664191"/>
                  </a:lnTo>
                  <a:lnTo>
                    <a:pt x="1478508" y="618699"/>
                  </a:lnTo>
                  <a:lnTo>
                    <a:pt x="1533099" y="605051"/>
                  </a:lnTo>
                  <a:lnTo>
                    <a:pt x="1678675" y="586854"/>
                  </a:lnTo>
                  <a:lnTo>
                    <a:pt x="1742364" y="482221"/>
                  </a:lnTo>
                  <a:lnTo>
                    <a:pt x="1842448" y="441278"/>
                  </a:lnTo>
                  <a:lnTo>
                    <a:pt x="1887941" y="336645"/>
                  </a:lnTo>
                  <a:lnTo>
                    <a:pt x="1988024" y="300251"/>
                  </a:lnTo>
                  <a:lnTo>
                    <a:pt x="2074460" y="268406"/>
                  </a:lnTo>
                  <a:lnTo>
                    <a:pt x="2119953" y="254759"/>
                  </a:lnTo>
                  <a:lnTo>
                    <a:pt x="2151797" y="209266"/>
                  </a:lnTo>
                  <a:lnTo>
                    <a:pt x="2233684" y="204717"/>
                  </a:lnTo>
                  <a:lnTo>
                    <a:pt x="2270078" y="168323"/>
                  </a:lnTo>
                  <a:lnTo>
                    <a:pt x="2292824" y="168323"/>
                  </a:lnTo>
                  <a:lnTo>
                    <a:pt x="2333767" y="136478"/>
                  </a:lnTo>
                  <a:lnTo>
                    <a:pt x="2470245" y="141027"/>
                  </a:lnTo>
                  <a:lnTo>
                    <a:pt x="2524836" y="118281"/>
                  </a:lnTo>
                  <a:lnTo>
                    <a:pt x="2556681" y="86436"/>
                  </a:lnTo>
                  <a:lnTo>
                    <a:pt x="2679511" y="72788"/>
                  </a:lnTo>
                  <a:lnTo>
                    <a:pt x="2879678" y="27296"/>
                  </a:lnTo>
                  <a:lnTo>
                    <a:pt x="3248167" y="13648"/>
                  </a:lnTo>
                  <a:lnTo>
                    <a:pt x="3721290" y="4550"/>
                  </a:lnTo>
                  <a:lnTo>
                    <a:pt x="4276299"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Shape 64">
              <a:extLst>
                <a:ext uri="{FF2B5EF4-FFF2-40B4-BE49-F238E27FC236}">
                  <a16:creationId xmlns:a16="http://schemas.microsoft.com/office/drawing/2014/main" id="{6A8FD310-449C-668F-D8B4-8DA9B3A9F548}"/>
                </a:ext>
              </a:extLst>
            </p:cNvPr>
            <p:cNvSpPr/>
            <p:nvPr/>
          </p:nvSpPr>
          <p:spPr>
            <a:xfrm>
              <a:off x="7424382" y="4408227"/>
              <a:ext cx="4244454" cy="700585"/>
            </a:xfrm>
            <a:custGeom>
              <a:avLst/>
              <a:gdLst>
                <a:gd name="connsiteX0" fmla="*/ 0 w 4244454"/>
                <a:gd name="connsiteY0" fmla="*/ 700585 h 700585"/>
                <a:gd name="connsiteX1" fmla="*/ 272955 w 4244454"/>
                <a:gd name="connsiteY1" fmla="*/ 673289 h 700585"/>
                <a:gd name="connsiteX2" fmla="*/ 1351128 w 4244454"/>
                <a:gd name="connsiteY2" fmla="*/ 668740 h 700585"/>
                <a:gd name="connsiteX3" fmla="*/ 1492155 w 4244454"/>
                <a:gd name="connsiteY3" fmla="*/ 641445 h 700585"/>
                <a:gd name="connsiteX4" fmla="*/ 1587690 w 4244454"/>
                <a:gd name="connsiteY4" fmla="*/ 586854 h 700585"/>
                <a:gd name="connsiteX5" fmla="*/ 1765111 w 4244454"/>
                <a:gd name="connsiteY5" fmla="*/ 568657 h 700585"/>
                <a:gd name="connsiteX6" fmla="*/ 1883391 w 4244454"/>
                <a:gd name="connsiteY6" fmla="*/ 514066 h 700585"/>
                <a:gd name="connsiteX7" fmla="*/ 2115403 w 4244454"/>
                <a:gd name="connsiteY7" fmla="*/ 482221 h 700585"/>
                <a:gd name="connsiteX8" fmla="*/ 2156346 w 4244454"/>
                <a:gd name="connsiteY8" fmla="*/ 464024 h 700585"/>
                <a:gd name="connsiteX9" fmla="*/ 2306472 w 4244454"/>
                <a:gd name="connsiteY9" fmla="*/ 464024 h 700585"/>
                <a:gd name="connsiteX10" fmla="*/ 2433851 w 4244454"/>
                <a:gd name="connsiteY10" fmla="*/ 423080 h 700585"/>
                <a:gd name="connsiteX11" fmla="*/ 2506639 w 4244454"/>
                <a:gd name="connsiteY11" fmla="*/ 373039 h 700585"/>
                <a:gd name="connsiteX12" fmla="*/ 2629469 w 4244454"/>
                <a:gd name="connsiteY12" fmla="*/ 363940 h 700585"/>
                <a:gd name="connsiteX13" fmla="*/ 2693158 w 4244454"/>
                <a:gd name="connsiteY13" fmla="*/ 336645 h 700585"/>
                <a:gd name="connsiteX14" fmla="*/ 2756848 w 4244454"/>
                <a:gd name="connsiteY14" fmla="*/ 213815 h 700585"/>
                <a:gd name="connsiteX15" fmla="*/ 2897875 w 4244454"/>
                <a:gd name="connsiteY15" fmla="*/ 150125 h 700585"/>
                <a:gd name="connsiteX16" fmla="*/ 3225421 w 4244454"/>
                <a:gd name="connsiteY16" fmla="*/ 145576 h 700585"/>
                <a:gd name="connsiteX17" fmla="*/ 3366448 w 4244454"/>
                <a:gd name="connsiteY17" fmla="*/ 68239 h 700585"/>
                <a:gd name="connsiteX18" fmla="*/ 3512024 w 4244454"/>
                <a:gd name="connsiteY18" fmla="*/ 68239 h 700585"/>
                <a:gd name="connsiteX19" fmla="*/ 3603009 w 4244454"/>
                <a:gd name="connsiteY19" fmla="*/ 45492 h 700585"/>
                <a:gd name="connsiteX20" fmla="*/ 3693994 w 4244454"/>
                <a:gd name="connsiteY20" fmla="*/ 13648 h 700585"/>
                <a:gd name="connsiteX21" fmla="*/ 4244454 w 4244454"/>
                <a:gd name="connsiteY21" fmla="*/ 0 h 70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44454" h="700585">
                  <a:moveTo>
                    <a:pt x="0" y="700585"/>
                  </a:moveTo>
                  <a:lnTo>
                    <a:pt x="272955" y="673289"/>
                  </a:lnTo>
                  <a:lnTo>
                    <a:pt x="1351128" y="668740"/>
                  </a:lnTo>
                  <a:lnTo>
                    <a:pt x="1492155" y="641445"/>
                  </a:lnTo>
                  <a:lnTo>
                    <a:pt x="1587690" y="586854"/>
                  </a:lnTo>
                  <a:lnTo>
                    <a:pt x="1765111" y="568657"/>
                  </a:lnTo>
                  <a:lnTo>
                    <a:pt x="1883391" y="514066"/>
                  </a:lnTo>
                  <a:lnTo>
                    <a:pt x="2115403" y="482221"/>
                  </a:lnTo>
                  <a:lnTo>
                    <a:pt x="2156346" y="464024"/>
                  </a:lnTo>
                  <a:lnTo>
                    <a:pt x="2306472" y="464024"/>
                  </a:lnTo>
                  <a:lnTo>
                    <a:pt x="2433851" y="423080"/>
                  </a:lnTo>
                  <a:lnTo>
                    <a:pt x="2506639" y="373039"/>
                  </a:lnTo>
                  <a:lnTo>
                    <a:pt x="2629469" y="363940"/>
                  </a:lnTo>
                  <a:lnTo>
                    <a:pt x="2693158" y="336645"/>
                  </a:lnTo>
                  <a:lnTo>
                    <a:pt x="2756848" y="213815"/>
                  </a:lnTo>
                  <a:lnTo>
                    <a:pt x="2897875" y="150125"/>
                  </a:lnTo>
                  <a:lnTo>
                    <a:pt x="3225421" y="145576"/>
                  </a:lnTo>
                  <a:lnTo>
                    <a:pt x="3366448" y="68239"/>
                  </a:lnTo>
                  <a:lnTo>
                    <a:pt x="3512024" y="68239"/>
                  </a:lnTo>
                  <a:lnTo>
                    <a:pt x="3603009" y="45492"/>
                  </a:lnTo>
                  <a:lnTo>
                    <a:pt x="3693994" y="13648"/>
                  </a:lnTo>
                  <a:lnTo>
                    <a:pt x="4244454"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Freeform: Shape 65">
              <a:extLst>
                <a:ext uri="{FF2B5EF4-FFF2-40B4-BE49-F238E27FC236}">
                  <a16:creationId xmlns:a16="http://schemas.microsoft.com/office/drawing/2014/main" id="{2B07CD37-1001-19DE-140B-D177CD5B4141}"/>
                </a:ext>
              </a:extLst>
            </p:cNvPr>
            <p:cNvSpPr/>
            <p:nvPr/>
          </p:nvSpPr>
          <p:spPr>
            <a:xfrm>
              <a:off x="8807355" y="5076966"/>
              <a:ext cx="2852382" cy="36394"/>
            </a:xfrm>
            <a:custGeom>
              <a:avLst/>
              <a:gdLst>
                <a:gd name="connsiteX0" fmla="*/ 0 w 2852382"/>
                <a:gd name="connsiteY0" fmla="*/ 36394 h 36394"/>
                <a:gd name="connsiteX1" fmla="*/ 113732 w 2852382"/>
                <a:gd name="connsiteY1" fmla="*/ 0 h 36394"/>
                <a:gd name="connsiteX2" fmla="*/ 2852382 w 2852382"/>
                <a:gd name="connsiteY2" fmla="*/ 0 h 36394"/>
              </a:gdLst>
              <a:ahLst/>
              <a:cxnLst>
                <a:cxn ang="0">
                  <a:pos x="connsiteX0" y="connsiteY0"/>
                </a:cxn>
                <a:cxn ang="0">
                  <a:pos x="connsiteX1" y="connsiteY1"/>
                </a:cxn>
                <a:cxn ang="0">
                  <a:pos x="connsiteX2" y="connsiteY2"/>
                </a:cxn>
              </a:cxnLst>
              <a:rect l="l" t="t" r="r" b="b"/>
              <a:pathLst>
                <a:path w="2852382" h="36394">
                  <a:moveTo>
                    <a:pt x="0" y="36394"/>
                  </a:moveTo>
                  <a:lnTo>
                    <a:pt x="113732" y="0"/>
                  </a:lnTo>
                  <a:lnTo>
                    <a:pt x="2852382"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Freeform: Shape 66">
              <a:extLst>
                <a:ext uri="{FF2B5EF4-FFF2-40B4-BE49-F238E27FC236}">
                  <a16:creationId xmlns:a16="http://schemas.microsoft.com/office/drawing/2014/main" id="{4079F6D4-93E4-E94C-B5D4-69FDF91B21EC}"/>
                </a:ext>
              </a:extLst>
            </p:cNvPr>
            <p:cNvSpPr/>
            <p:nvPr/>
          </p:nvSpPr>
          <p:spPr>
            <a:xfrm>
              <a:off x="8875594" y="4667534"/>
              <a:ext cx="2784143" cy="413982"/>
            </a:xfrm>
            <a:custGeom>
              <a:avLst/>
              <a:gdLst>
                <a:gd name="connsiteX0" fmla="*/ 0 w 2784143"/>
                <a:gd name="connsiteY0" fmla="*/ 413982 h 413982"/>
                <a:gd name="connsiteX1" fmla="*/ 100084 w 2784143"/>
                <a:gd name="connsiteY1" fmla="*/ 368490 h 413982"/>
                <a:gd name="connsiteX2" fmla="*/ 227463 w 2784143"/>
                <a:gd name="connsiteY2" fmla="*/ 354842 h 413982"/>
                <a:gd name="connsiteX3" fmla="*/ 354842 w 2784143"/>
                <a:gd name="connsiteY3" fmla="*/ 341194 h 413982"/>
                <a:gd name="connsiteX4" fmla="*/ 545910 w 2784143"/>
                <a:gd name="connsiteY4" fmla="*/ 318448 h 413982"/>
                <a:gd name="connsiteX5" fmla="*/ 841612 w 2784143"/>
                <a:gd name="connsiteY5" fmla="*/ 304800 h 413982"/>
                <a:gd name="connsiteX6" fmla="*/ 1000836 w 2784143"/>
                <a:gd name="connsiteY6" fmla="*/ 277505 h 413982"/>
                <a:gd name="connsiteX7" fmla="*/ 1100919 w 2784143"/>
                <a:gd name="connsiteY7" fmla="*/ 268406 h 413982"/>
                <a:gd name="connsiteX8" fmla="*/ 1169158 w 2784143"/>
                <a:gd name="connsiteY8" fmla="*/ 259308 h 413982"/>
                <a:gd name="connsiteX9" fmla="*/ 1232848 w 2784143"/>
                <a:gd name="connsiteY9" fmla="*/ 209266 h 413982"/>
                <a:gd name="connsiteX10" fmla="*/ 1342030 w 2784143"/>
                <a:gd name="connsiteY10" fmla="*/ 168323 h 413982"/>
                <a:gd name="connsiteX11" fmla="*/ 1464860 w 2784143"/>
                <a:gd name="connsiteY11" fmla="*/ 104633 h 413982"/>
                <a:gd name="connsiteX12" fmla="*/ 1542197 w 2784143"/>
                <a:gd name="connsiteY12" fmla="*/ 90985 h 413982"/>
                <a:gd name="connsiteX13" fmla="*/ 1614985 w 2784143"/>
                <a:gd name="connsiteY13" fmla="*/ 31845 h 413982"/>
                <a:gd name="connsiteX14" fmla="*/ 1992573 w 2784143"/>
                <a:gd name="connsiteY14" fmla="*/ 0 h 413982"/>
                <a:gd name="connsiteX15" fmla="*/ 2784143 w 2784143"/>
                <a:gd name="connsiteY15" fmla="*/ 4550 h 41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84143" h="413982">
                  <a:moveTo>
                    <a:pt x="0" y="413982"/>
                  </a:moveTo>
                  <a:lnTo>
                    <a:pt x="100084" y="368490"/>
                  </a:lnTo>
                  <a:lnTo>
                    <a:pt x="227463" y="354842"/>
                  </a:lnTo>
                  <a:lnTo>
                    <a:pt x="354842" y="341194"/>
                  </a:lnTo>
                  <a:lnTo>
                    <a:pt x="545910" y="318448"/>
                  </a:lnTo>
                  <a:lnTo>
                    <a:pt x="841612" y="304800"/>
                  </a:lnTo>
                  <a:lnTo>
                    <a:pt x="1000836" y="277505"/>
                  </a:lnTo>
                  <a:lnTo>
                    <a:pt x="1100919" y="268406"/>
                  </a:lnTo>
                  <a:lnTo>
                    <a:pt x="1169158" y="259308"/>
                  </a:lnTo>
                  <a:lnTo>
                    <a:pt x="1232848" y="209266"/>
                  </a:lnTo>
                  <a:lnTo>
                    <a:pt x="1342030" y="168323"/>
                  </a:lnTo>
                  <a:lnTo>
                    <a:pt x="1464860" y="104633"/>
                  </a:lnTo>
                  <a:lnTo>
                    <a:pt x="1542197" y="90985"/>
                  </a:lnTo>
                  <a:lnTo>
                    <a:pt x="1614985" y="31845"/>
                  </a:lnTo>
                  <a:lnTo>
                    <a:pt x="1992573" y="0"/>
                  </a:lnTo>
                  <a:lnTo>
                    <a:pt x="2784143" y="455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Shape 67">
              <a:extLst>
                <a:ext uri="{FF2B5EF4-FFF2-40B4-BE49-F238E27FC236}">
                  <a16:creationId xmlns:a16="http://schemas.microsoft.com/office/drawing/2014/main" id="{D03AE30F-03FE-FDE0-1A53-C38346FD3BB8}"/>
                </a:ext>
              </a:extLst>
            </p:cNvPr>
            <p:cNvSpPr/>
            <p:nvPr/>
          </p:nvSpPr>
          <p:spPr>
            <a:xfrm>
              <a:off x="9212239" y="4858603"/>
              <a:ext cx="2442949" cy="127379"/>
            </a:xfrm>
            <a:custGeom>
              <a:avLst/>
              <a:gdLst>
                <a:gd name="connsiteX0" fmla="*/ 0 w 2442949"/>
                <a:gd name="connsiteY0" fmla="*/ 127379 h 127379"/>
                <a:gd name="connsiteX1" fmla="*/ 131928 w 2442949"/>
                <a:gd name="connsiteY1" fmla="*/ 95534 h 127379"/>
                <a:gd name="connsiteX2" fmla="*/ 259307 w 2442949"/>
                <a:gd name="connsiteY2" fmla="*/ 59140 h 127379"/>
                <a:gd name="connsiteX3" fmla="*/ 655092 w 2442949"/>
                <a:gd name="connsiteY3" fmla="*/ 59140 h 127379"/>
                <a:gd name="connsiteX4" fmla="*/ 868907 w 2442949"/>
                <a:gd name="connsiteY4" fmla="*/ 59140 h 127379"/>
                <a:gd name="connsiteX5" fmla="*/ 991737 w 2442949"/>
                <a:gd name="connsiteY5" fmla="*/ 50042 h 127379"/>
                <a:gd name="connsiteX6" fmla="*/ 1073624 w 2442949"/>
                <a:gd name="connsiteY6" fmla="*/ 59140 h 127379"/>
                <a:gd name="connsiteX7" fmla="*/ 1182806 w 2442949"/>
                <a:gd name="connsiteY7" fmla="*/ 31845 h 127379"/>
                <a:gd name="connsiteX8" fmla="*/ 1469409 w 2442949"/>
                <a:gd name="connsiteY8" fmla="*/ 13648 h 127379"/>
                <a:gd name="connsiteX9" fmla="*/ 1592239 w 2442949"/>
                <a:gd name="connsiteY9" fmla="*/ 4549 h 127379"/>
                <a:gd name="connsiteX10" fmla="*/ 2442949 w 2442949"/>
                <a:gd name="connsiteY10" fmla="*/ 0 h 12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2949" h="127379">
                  <a:moveTo>
                    <a:pt x="0" y="127379"/>
                  </a:moveTo>
                  <a:lnTo>
                    <a:pt x="131928" y="95534"/>
                  </a:lnTo>
                  <a:lnTo>
                    <a:pt x="259307" y="59140"/>
                  </a:lnTo>
                  <a:lnTo>
                    <a:pt x="655092" y="59140"/>
                  </a:lnTo>
                  <a:lnTo>
                    <a:pt x="868907" y="59140"/>
                  </a:lnTo>
                  <a:lnTo>
                    <a:pt x="991737" y="50042"/>
                  </a:lnTo>
                  <a:lnTo>
                    <a:pt x="1073624" y="59140"/>
                  </a:lnTo>
                  <a:lnTo>
                    <a:pt x="1182806" y="31845"/>
                  </a:lnTo>
                  <a:lnTo>
                    <a:pt x="1469409" y="13648"/>
                  </a:lnTo>
                  <a:lnTo>
                    <a:pt x="1592239" y="4549"/>
                  </a:lnTo>
                  <a:lnTo>
                    <a:pt x="2442949"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4">
              <a:extLst>
                <a:ext uri="{FF2B5EF4-FFF2-40B4-BE49-F238E27FC236}">
                  <a16:creationId xmlns:a16="http://schemas.microsoft.com/office/drawing/2014/main" id="{495690F0-3E9C-A0CD-6F7B-16952EE9B38A}"/>
                </a:ext>
              </a:extLst>
            </p:cNvPr>
            <p:cNvSpPr txBox="1">
              <a:spLocks/>
            </p:cNvSpPr>
            <p:nvPr/>
          </p:nvSpPr>
          <p:spPr bwMode="gray">
            <a:xfrm>
              <a:off x="11759649" y="4957414"/>
              <a:ext cx="256481"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2020</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70" name="Text Placeholder 4">
              <a:extLst>
                <a:ext uri="{FF2B5EF4-FFF2-40B4-BE49-F238E27FC236}">
                  <a16:creationId xmlns:a16="http://schemas.microsoft.com/office/drawing/2014/main" id="{83FE366A-C6EB-EF0C-DCA2-BB73098834AD}"/>
                </a:ext>
              </a:extLst>
            </p:cNvPr>
            <p:cNvSpPr txBox="1">
              <a:spLocks/>
            </p:cNvSpPr>
            <p:nvPr/>
          </p:nvSpPr>
          <p:spPr bwMode="gray">
            <a:xfrm>
              <a:off x="11759649" y="4839134"/>
              <a:ext cx="256481"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2016</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71" name="Text Placeholder 4">
              <a:extLst>
                <a:ext uri="{FF2B5EF4-FFF2-40B4-BE49-F238E27FC236}">
                  <a16:creationId xmlns:a16="http://schemas.microsoft.com/office/drawing/2014/main" id="{004F38E8-AC44-B312-127C-CE4B39200FC8}"/>
                </a:ext>
              </a:extLst>
            </p:cNvPr>
            <p:cNvSpPr txBox="1">
              <a:spLocks/>
            </p:cNvSpPr>
            <p:nvPr/>
          </p:nvSpPr>
          <p:spPr bwMode="gray">
            <a:xfrm>
              <a:off x="11759649" y="4679910"/>
              <a:ext cx="256481"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2022</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72" name="Text Placeholder 4">
              <a:extLst>
                <a:ext uri="{FF2B5EF4-FFF2-40B4-BE49-F238E27FC236}">
                  <a16:creationId xmlns:a16="http://schemas.microsoft.com/office/drawing/2014/main" id="{20A4D6D9-8089-C06E-4828-073E2DEB8612}"/>
                </a:ext>
              </a:extLst>
            </p:cNvPr>
            <p:cNvSpPr txBox="1">
              <a:spLocks/>
            </p:cNvSpPr>
            <p:nvPr/>
          </p:nvSpPr>
          <p:spPr bwMode="gray">
            <a:xfrm>
              <a:off x="11759649" y="4547982"/>
              <a:ext cx="256481"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2019</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73" name="Text Placeholder 4">
              <a:extLst>
                <a:ext uri="{FF2B5EF4-FFF2-40B4-BE49-F238E27FC236}">
                  <a16:creationId xmlns:a16="http://schemas.microsoft.com/office/drawing/2014/main" id="{AB0308B5-9C40-A3FA-FCA3-549C99FD13E3}"/>
                </a:ext>
              </a:extLst>
            </p:cNvPr>
            <p:cNvSpPr txBox="1">
              <a:spLocks/>
            </p:cNvSpPr>
            <p:nvPr/>
          </p:nvSpPr>
          <p:spPr bwMode="gray">
            <a:xfrm>
              <a:off x="11759649" y="4384209"/>
              <a:ext cx="256481"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2018</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75" name="Text Placeholder 4">
              <a:extLst>
                <a:ext uri="{FF2B5EF4-FFF2-40B4-BE49-F238E27FC236}">
                  <a16:creationId xmlns:a16="http://schemas.microsoft.com/office/drawing/2014/main" id="{6E01F117-E109-445F-CF7D-9EC68D44F333}"/>
                </a:ext>
              </a:extLst>
            </p:cNvPr>
            <p:cNvSpPr txBox="1">
              <a:spLocks/>
            </p:cNvSpPr>
            <p:nvPr/>
          </p:nvSpPr>
          <p:spPr bwMode="gray">
            <a:xfrm>
              <a:off x="11759649" y="4270478"/>
              <a:ext cx="256481"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a:ln>
                    <a:noFill/>
                  </a:ln>
                  <a:effectLst/>
                  <a:uLnTx/>
                  <a:uFillTx/>
                  <a:latin typeface="+mj-lt"/>
                  <a:ea typeface="SimHei"/>
                  <a:cs typeface="+mn-cs"/>
                </a:rPr>
                <a:t>2017</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76" name="Text Placeholder 4">
              <a:extLst>
                <a:ext uri="{FF2B5EF4-FFF2-40B4-BE49-F238E27FC236}">
                  <a16:creationId xmlns:a16="http://schemas.microsoft.com/office/drawing/2014/main" id="{80E502B8-2CCD-6713-9055-C6616A96BFDE}"/>
                </a:ext>
              </a:extLst>
            </p:cNvPr>
            <p:cNvSpPr txBox="1">
              <a:spLocks/>
            </p:cNvSpPr>
            <p:nvPr/>
          </p:nvSpPr>
          <p:spPr bwMode="gray">
            <a:xfrm>
              <a:off x="11759649" y="4106705"/>
              <a:ext cx="256481"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i="0" u="none" strike="noStrike" kern="0" cap="none" spc="0" normalizeH="0" baseline="0" noProof="0" dirty="0">
                  <a:ln>
                    <a:noFill/>
                  </a:ln>
                  <a:effectLst/>
                  <a:uLnTx/>
                  <a:uFillTx/>
                  <a:latin typeface="+mj-lt"/>
                  <a:ea typeface="SimHei"/>
                  <a:cs typeface="+mn-cs"/>
                </a:rPr>
                <a:t>2021</a:t>
              </a:r>
              <a:endParaRPr kumimoji="0" lang="en-US" altLang="zh-TW" sz="1100" i="0" u="none" strike="noStrike" kern="0" cap="none" spc="0" normalizeH="0" baseline="30000" noProof="0" dirty="0">
                <a:ln>
                  <a:noFill/>
                </a:ln>
                <a:effectLst/>
                <a:uLnTx/>
                <a:uFillTx/>
                <a:latin typeface="+mj-lt"/>
                <a:ea typeface="SimHei"/>
                <a:cs typeface="+mn-cs"/>
              </a:endParaRPr>
            </a:p>
          </p:txBody>
        </p:sp>
        <p:sp>
          <p:nvSpPr>
            <p:cNvPr id="77" name="Text Placeholder 4">
              <a:extLst>
                <a:ext uri="{FF2B5EF4-FFF2-40B4-BE49-F238E27FC236}">
                  <a16:creationId xmlns:a16="http://schemas.microsoft.com/office/drawing/2014/main" id="{F83567BA-A451-7175-D88E-B69198B25026}"/>
                </a:ext>
              </a:extLst>
            </p:cNvPr>
            <p:cNvSpPr txBox="1">
              <a:spLocks/>
            </p:cNvSpPr>
            <p:nvPr/>
          </p:nvSpPr>
          <p:spPr bwMode="gray">
            <a:xfrm>
              <a:off x="10290542" y="2414383"/>
              <a:ext cx="301366" cy="169277"/>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100" b="1" i="0" u="none" strike="noStrike" kern="0" cap="none" spc="0" normalizeH="0" baseline="0" noProof="0" dirty="0">
                  <a:ln>
                    <a:noFill/>
                  </a:ln>
                  <a:solidFill>
                    <a:schemeClr val="accent4"/>
                  </a:solidFill>
                  <a:effectLst/>
                  <a:uLnTx/>
                  <a:uFillTx/>
                  <a:latin typeface="+mj-lt"/>
                  <a:ea typeface="SimHei"/>
                  <a:cs typeface="+mn-cs"/>
                </a:rPr>
                <a:t>2023*</a:t>
              </a:r>
              <a:endParaRPr kumimoji="0" lang="en-US" altLang="zh-TW" sz="1100" b="1" i="0" u="none" strike="noStrike" kern="0" cap="none" spc="0" normalizeH="0" baseline="30000" noProof="0" dirty="0">
                <a:ln>
                  <a:noFill/>
                </a:ln>
                <a:solidFill>
                  <a:schemeClr val="accent4"/>
                </a:solidFill>
                <a:effectLst/>
                <a:uLnTx/>
                <a:uFillTx/>
                <a:latin typeface="+mj-lt"/>
                <a:ea typeface="SimHei"/>
                <a:cs typeface="+mn-cs"/>
              </a:endParaRPr>
            </a:p>
          </p:txBody>
        </p:sp>
        <p:cxnSp>
          <p:nvCxnSpPr>
            <p:cNvPr id="79" name="Straight Connector 78">
              <a:extLst>
                <a:ext uri="{FF2B5EF4-FFF2-40B4-BE49-F238E27FC236}">
                  <a16:creationId xmlns:a16="http://schemas.microsoft.com/office/drawing/2014/main" id="{DC0477AD-1F42-D6B1-2C33-9D80B50A09D0}"/>
                </a:ext>
              </a:extLst>
            </p:cNvPr>
            <p:cNvCxnSpPr>
              <a:cxnSpLocks/>
            </p:cNvCxnSpPr>
            <p:nvPr/>
          </p:nvCxnSpPr>
          <p:spPr>
            <a:xfrm flipV="1">
              <a:off x="11675962" y="4204504"/>
              <a:ext cx="78129" cy="167833"/>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42F3E88-45DC-F101-E01F-9708750AF3D9}"/>
                </a:ext>
              </a:extLst>
            </p:cNvPr>
            <p:cNvCxnSpPr>
              <a:cxnSpLocks/>
            </p:cNvCxnSpPr>
            <p:nvPr/>
          </p:nvCxnSpPr>
          <p:spPr>
            <a:xfrm flipV="1">
              <a:off x="11675962" y="4360762"/>
              <a:ext cx="72342" cy="4051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9DCF93D-84AC-48DC-746C-413B9F97DDE0}"/>
                </a:ext>
              </a:extLst>
            </p:cNvPr>
            <p:cNvCxnSpPr>
              <a:cxnSpLocks/>
            </p:cNvCxnSpPr>
            <p:nvPr/>
          </p:nvCxnSpPr>
          <p:spPr>
            <a:xfrm flipV="1">
              <a:off x="11667281" y="4658810"/>
              <a:ext cx="83916" cy="9259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9358EA66-4DCD-4378-2355-94EAF06D883E}"/>
                </a:ext>
              </a:extLst>
            </p:cNvPr>
            <p:cNvCxnSpPr>
              <a:cxnSpLocks/>
            </p:cNvCxnSpPr>
            <p:nvPr/>
          </p:nvCxnSpPr>
          <p:spPr>
            <a:xfrm>
              <a:off x="11655706" y="4861367"/>
              <a:ext cx="92598" cy="20256"/>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129F03B-E21F-FA4A-6C89-7416FA346D01}"/>
                </a:ext>
              </a:extLst>
            </p:cNvPr>
            <p:cNvCxnSpPr>
              <a:cxnSpLocks/>
            </p:cNvCxnSpPr>
            <p:nvPr/>
          </p:nvCxnSpPr>
          <p:spPr>
            <a:xfrm flipV="1">
              <a:off x="11667281" y="5029200"/>
              <a:ext cx="104172" cy="4919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403D221-46E2-B8BC-C83D-0837B0C07247}"/>
                </a:ext>
              </a:extLst>
            </p:cNvPr>
            <p:cNvCxnSpPr>
              <a:cxnSpLocks/>
            </p:cNvCxnSpPr>
            <p:nvPr/>
          </p:nvCxnSpPr>
          <p:spPr>
            <a:xfrm flipV="1">
              <a:off x="11664387" y="4783238"/>
              <a:ext cx="98385" cy="5498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053A92-1572-73F2-0EA9-7C3A367D2436}"/>
                </a:ext>
              </a:extLst>
            </p:cNvPr>
            <p:cNvCxnSpPr>
              <a:cxnSpLocks/>
              <a:endCxn id="73" idx="1"/>
            </p:cNvCxnSpPr>
            <p:nvPr/>
          </p:nvCxnSpPr>
          <p:spPr>
            <a:xfrm flipV="1">
              <a:off x="11658600" y="4468848"/>
              <a:ext cx="101049" cy="20443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FC194D6D-ED04-AD81-41F1-0FAF84CDFB34}"/>
              </a:ext>
            </a:extLst>
          </p:cNvPr>
          <p:cNvGrpSpPr/>
          <p:nvPr/>
        </p:nvGrpSpPr>
        <p:grpSpPr>
          <a:xfrm>
            <a:off x="3972094" y="2476500"/>
            <a:ext cx="2079456" cy="3067050"/>
            <a:chOff x="3972094" y="2476500"/>
            <a:chExt cx="2079456" cy="3067050"/>
          </a:xfrm>
        </p:grpSpPr>
        <p:sp>
          <p:nvSpPr>
            <p:cNvPr id="12" name="Rectangle 11">
              <a:extLst>
                <a:ext uri="{FF2B5EF4-FFF2-40B4-BE49-F238E27FC236}">
                  <a16:creationId xmlns:a16="http://schemas.microsoft.com/office/drawing/2014/main" id="{0806292F-4025-E10E-7E6D-2AE7C833D3B9}"/>
                </a:ext>
              </a:extLst>
            </p:cNvPr>
            <p:cNvSpPr/>
            <p:nvPr/>
          </p:nvSpPr>
          <p:spPr>
            <a:xfrm>
              <a:off x="3972094" y="3416300"/>
              <a:ext cx="1019006" cy="2127250"/>
            </a:xfrm>
            <a:prstGeom prst="rect">
              <a:avLst/>
            </a:prstGeom>
            <a:noFill/>
            <a:ln w="1905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sp>
          <p:nvSpPr>
            <p:cNvPr id="13" name="Rectangle 12">
              <a:extLst>
                <a:ext uri="{FF2B5EF4-FFF2-40B4-BE49-F238E27FC236}">
                  <a16:creationId xmlns:a16="http://schemas.microsoft.com/office/drawing/2014/main" id="{9ED59022-04C8-504D-3453-4168E810DC04}"/>
                </a:ext>
              </a:extLst>
            </p:cNvPr>
            <p:cNvSpPr/>
            <p:nvPr/>
          </p:nvSpPr>
          <p:spPr>
            <a:xfrm>
              <a:off x="5019844" y="2476500"/>
              <a:ext cx="1031706" cy="3067050"/>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US" sz="1600" dirty="0" err="1"/>
            </a:p>
          </p:txBody>
        </p:sp>
      </p:grpSp>
    </p:spTree>
    <p:extLst>
      <p:ext uri="{BB962C8B-B14F-4D97-AF65-F5344CB8AC3E}">
        <p14:creationId xmlns:p14="http://schemas.microsoft.com/office/powerpoint/2010/main" val="2024813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C17E9-5811-6994-B371-1BD97B5453A1}"/>
              </a:ext>
            </a:extLst>
          </p:cNvPr>
          <p:cNvSpPr>
            <a:spLocks noGrp="1"/>
          </p:cNvSpPr>
          <p:nvPr>
            <p:ph type="title"/>
          </p:nvPr>
        </p:nvSpPr>
        <p:spPr>
          <a:xfrm>
            <a:off x="228018" y="527713"/>
            <a:ext cx="11736000" cy="648245"/>
          </a:xfrm>
        </p:spPr>
        <p:txBody>
          <a:bodyPr>
            <a:normAutofit fontScale="90000"/>
          </a:bodyPr>
          <a:lstStyle/>
          <a:p>
            <a:r>
              <a:rPr lang="en-US" cap="none" dirty="0">
                <a:latin typeface="AvenirNext LT Pro Bold" panose="020B0804020202020204" pitchFamily="34" charset="0"/>
              </a:rPr>
              <a:t>Food systems facing the perfect storm: </a:t>
            </a:r>
            <a:br>
              <a:rPr lang="en-US" cap="none" dirty="0">
                <a:latin typeface="AvenirNext LT Pro Bold" panose="020B0804020202020204" pitchFamily="34" charset="0"/>
              </a:rPr>
            </a:br>
            <a:r>
              <a:rPr lang="en-US" sz="1800" b="0" cap="none" dirty="0">
                <a:latin typeface="AvenirNext LT Pro Bold" panose="020B0804020202020204" pitchFamily="34" charset="0"/>
              </a:rPr>
              <a:t>climate change, nature degradation and inefficient value chains</a:t>
            </a:r>
            <a:endParaRPr lang="en-US" b="0" cap="none" dirty="0">
              <a:latin typeface="AvenirNext LT Pro Bold" panose="020B0804020202020204" pitchFamily="34" charset="0"/>
            </a:endParaRPr>
          </a:p>
        </p:txBody>
      </p:sp>
      <p:sp>
        <p:nvSpPr>
          <p:cNvPr id="5" name="TextBox 4">
            <a:extLst>
              <a:ext uri="{FF2B5EF4-FFF2-40B4-BE49-F238E27FC236}">
                <a16:creationId xmlns:a16="http://schemas.microsoft.com/office/drawing/2014/main" id="{6C4F4F1D-CDEC-4D8F-50EC-EDCE868B4DAF}"/>
              </a:ext>
            </a:extLst>
          </p:cNvPr>
          <p:cNvSpPr txBox="1"/>
          <p:nvPr/>
        </p:nvSpPr>
        <p:spPr>
          <a:xfrm>
            <a:off x="228018" y="6137088"/>
            <a:ext cx="9758819" cy="248719"/>
          </a:xfrm>
          <a:prstGeom prst="rect">
            <a:avLst/>
          </a:prstGeom>
          <a:noFill/>
        </p:spPr>
        <p:txBody>
          <a:bodyPr wrap="square" lIns="0" tIns="0" rIns="0" bIns="0" rtlCol="0" anchor="b" anchorCtr="0">
            <a:noAutofit/>
          </a:bodyPr>
          <a:lstStyle/>
          <a:p>
            <a:pPr defTabSz="806267">
              <a:defRPr/>
            </a:pPr>
            <a:r>
              <a:rPr lang="en-US" sz="1000" dirty="0">
                <a:latin typeface="Aptos Display" panose="020B0004020202020204" pitchFamily="34" charset="0"/>
              </a:rPr>
              <a:t>Source: Intercontinental Exchange Inc; and Bloomberg. For illustrative purposes only.</a:t>
            </a:r>
          </a:p>
        </p:txBody>
      </p:sp>
      <p:sp>
        <p:nvSpPr>
          <p:cNvPr id="6" name="Text Placeholder 4">
            <a:extLst>
              <a:ext uri="{FF2B5EF4-FFF2-40B4-BE49-F238E27FC236}">
                <a16:creationId xmlns:a16="http://schemas.microsoft.com/office/drawing/2014/main" id="{27A64ADA-6C8B-CF27-E2CE-0E94E512F47D}"/>
              </a:ext>
            </a:extLst>
          </p:cNvPr>
          <p:cNvSpPr txBox="1">
            <a:spLocks/>
          </p:cNvSpPr>
          <p:nvPr/>
        </p:nvSpPr>
        <p:spPr bwMode="gray">
          <a:xfrm>
            <a:off x="228019" y="1631718"/>
            <a:ext cx="11735962" cy="487313"/>
          </a:xfrm>
          <a:prstGeom prst="rect">
            <a:avLst/>
          </a:prstGeom>
        </p:spPr>
        <p:txBody>
          <a:bodyPr wrap="square" lIns="0" tIns="0" rIns="0" bIns="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600" b="1" i="0" u="none" strike="noStrike" kern="0" cap="none" spc="0" normalizeH="0" baseline="0" noProof="0" dirty="0">
                <a:ln>
                  <a:noFill/>
                </a:ln>
                <a:effectLst/>
                <a:uLnTx/>
                <a:uFillTx/>
                <a:latin typeface="+mj-lt"/>
                <a:ea typeface="SimHei"/>
                <a:cs typeface="+mn-cs"/>
              </a:rPr>
              <a:t>Chocolate crisis</a:t>
            </a:r>
          </a:p>
          <a:p>
            <a:pPr marL="0" marR="0" lvl="0" indent="0" algn="l"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kern="0" dirty="0">
                <a:latin typeface="+mj-lt"/>
              </a:rPr>
              <a:t>Cocoa prices have surged more than 250% over the last year, surging to $10,000 per metric ton – nearly double the record high set 46 year ago</a:t>
            </a:r>
            <a:endParaRPr kumimoji="0" lang="en-US" altLang="zh-TW" i="0" u="none" strike="noStrike" kern="0" cap="none" spc="0" normalizeH="0" baseline="0" noProof="0" dirty="0">
              <a:ln>
                <a:noFill/>
              </a:ln>
              <a:effectLst/>
              <a:uLnTx/>
              <a:uFillTx/>
              <a:latin typeface="+mj-lt"/>
              <a:ea typeface="SimHei"/>
              <a:cs typeface="+mn-cs"/>
            </a:endParaRPr>
          </a:p>
        </p:txBody>
      </p:sp>
      <p:graphicFrame>
        <p:nvGraphicFramePr>
          <p:cNvPr id="11" name="Chart 10">
            <a:extLst>
              <a:ext uri="{FF2B5EF4-FFF2-40B4-BE49-F238E27FC236}">
                <a16:creationId xmlns:a16="http://schemas.microsoft.com/office/drawing/2014/main" id="{80755073-9244-EB0F-4FA2-9FA7E874460E}"/>
              </a:ext>
            </a:extLst>
          </p:cNvPr>
          <p:cNvGraphicFramePr/>
          <p:nvPr/>
        </p:nvGraphicFramePr>
        <p:xfrm>
          <a:off x="228019" y="2336800"/>
          <a:ext cx="11735962" cy="3669364"/>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Shape 9">
            <a:extLst>
              <a:ext uri="{FF2B5EF4-FFF2-40B4-BE49-F238E27FC236}">
                <a16:creationId xmlns:a16="http://schemas.microsoft.com/office/drawing/2014/main" id="{BB0EAEF4-7F0C-686E-6D4F-56F6CF1EC943}"/>
              </a:ext>
            </a:extLst>
          </p:cNvPr>
          <p:cNvSpPr/>
          <p:nvPr/>
        </p:nvSpPr>
        <p:spPr>
          <a:xfrm>
            <a:off x="859536" y="2400300"/>
            <a:ext cx="11078464" cy="3257550"/>
          </a:xfrm>
          <a:custGeom>
            <a:avLst/>
            <a:gdLst>
              <a:gd name="connsiteX0" fmla="*/ 0 w 10763250"/>
              <a:gd name="connsiteY0" fmla="*/ 3092450 h 3257550"/>
              <a:gd name="connsiteX1" fmla="*/ 44450 w 10763250"/>
              <a:gd name="connsiteY1" fmla="*/ 3130550 h 3257550"/>
              <a:gd name="connsiteX2" fmla="*/ 120650 w 10763250"/>
              <a:gd name="connsiteY2" fmla="*/ 3086100 h 3257550"/>
              <a:gd name="connsiteX3" fmla="*/ 196850 w 10763250"/>
              <a:gd name="connsiteY3" fmla="*/ 3136900 h 3257550"/>
              <a:gd name="connsiteX4" fmla="*/ 196850 w 10763250"/>
              <a:gd name="connsiteY4" fmla="*/ 3136900 h 3257550"/>
              <a:gd name="connsiteX5" fmla="*/ 260350 w 10763250"/>
              <a:gd name="connsiteY5" fmla="*/ 3155950 h 3257550"/>
              <a:gd name="connsiteX6" fmla="*/ 298450 w 10763250"/>
              <a:gd name="connsiteY6" fmla="*/ 3168650 h 3257550"/>
              <a:gd name="connsiteX7" fmla="*/ 336550 w 10763250"/>
              <a:gd name="connsiteY7" fmla="*/ 3130550 h 3257550"/>
              <a:gd name="connsiteX8" fmla="*/ 374650 w 10763250"/>
              <a:gd name="connsiteY8" fmla="*/ 3168650 h 3257550"/>
              <a:gd name="connsiteX9" fmla="*/ 457200 w 10763250"/>
              <a:gd name="connsiteY9" fmla="*/ 3181350 h 3257550"/>
              <a:gd name="connsiteX10" fmla="*/ 533400 w 10763250"/>
              <a:gd name="connsiteY10" fmla="*/ 3143250 h 3257550"/>
              <a:gd name="connsiteX11" fmla="*/ 577850 w 10763250"/>
              <a:gd name="connsiteY11" fmla="*/ 3111500 h 3257550"/>
              <a:gd name="connsiteX12" fmla="*/ 641350 w 10763250"/>
              <a:gd name="connsiteY12" fmla="*/ 3162300 h 3257550"/>
              <a:gd name="connsiteX13" fmla="*/ 641350 w 10763250"/>
              <a:gd name="connsiteY13" fmla="*/ 3162300 h 3257550"/>
              <a:gd name="connsiteX14" fmla="*/ 800100 w 10763250"/>
              <a:gd name="connsiteY14" fmla="*/ 3168650 h 3257550"/>
              <a:gd name="connsiteX15" fmla="*/ 876300 w 10763250"/>
              <a:gd name="connsiteY15" fmla="*/ 3136900 h 3257550"/>
              <a:gd name="connsiteX16" fmla="*/ 914400 w 10763250"/>
              <a:gd name="connsiteY16" fmla="*/ 3238500 h 3257550"/>
              <a:gd name="connsiteX17" fmla="*/ 952500 w 10763250"/>
              <a:gd name="connsiteY17" fmla="*/ 3257550 h 3257550"/>
              <a:gd name="connsiteX18" fmla="*/ 1016000 w 10763250"/>
              <a:gd name="connsiteY18" fmla="*/ 3181350 h 3257550"/>
              <a:gd name="connsiteX19" fmla="*/ 1104900 w 10763250"/>
              <a:gd name="connsiteY19" fmla="*/ 3124200 h 3257550"/>
              <a:gd name="connsiteX20" fmla="*/ 1181100 w 10763250"/>
              <a:gd name="connsiteY20" fmla="*/ 3149600 h 3257550"/>
              <a:gd name="connsiteX21" fmla="*/ 1219200 w 10763250"/>
              <a:gd name="connsiteY21" fmla="*/ 3098800 h 3257550"/>
              <a:gd name="connsiteX22" fmla="*/ 1263650 w 10763250"/>
              <a:gd name="connsiteY22" fmla="*/ 3136900 h 3257550"/>
              <a:gd name="connsiteX23" fmla="*/ 1320800 w 10763250"/>
              <a:gd name="connsiteY23" fmla="*/ 3105150 h 3257550"/>
              <a:gd name="connsiteX24" fmla="*/ 1466850 w 10763250"/>
              <a:gd name="connsiteY24" fmla="*/ 3117850 h 3257550"/>
              <a:gd name="connsiteX25" fmla="*/ 1485900 w 10763250"/>
              <a:gd name="connsiteY25" fmla="*/ 3041650 h 3257550"/>
              <a:gd name="connsiteX26" fmla="*/ 1530350 w 10763250"/>
              <a:gd name="connsiteY26" fmla="*/ 3003550 h 3257550"/>
              <a:gd name="connsiteX27" fmla="*/ 1555750 w 10763250"/>
              <a:gd name="connsiteY27" fmla="*/ 3041650 h 3257550"/>
              <a:gd name="connsiteX28" fmla="*/ 1606550 w 10763250"/>
              <a:gd name="connsiteY28" fmla="*/ 2990850 h 3257550"/>
              <a:gd name="connsiteX29" fmla="*/ 1676400 w 10763250"/>
              <a:gd name="connsiteY29" fmla="*/ 2990850 h 3257550"/>
              <a:gd name="connsiteX30" fmla="*/ 1701800 w 10763250"/>
              <a:gd name="connsiteY30" fmla="*/ 3092450 h 3257550"/>
              <a:gd name="connsiteX31" fmla="*/ 1758950 w 10763250"/>
              <a:gd name="connsiteY31" fmla="*/ 3136900 h 3257550"/>
              <a:gd name="connsiteX32" fmla="*/ 1784350 w 10763250"/>
              <a:gd name="connsiteY32" fmla="*/ 3009900 h 3257550"/>
              <a:gd name="connsiteX33" fmla="*/ 1860550 w 10763250"/>
              <a:gd name="connsiteY33" fmla="*/ 3130550 h 3257550"/>
              <a:gd name="connsiteX34" fmla="*/ 1968500 w 10763250"/>
              <a:gd name="connsiteY34" fmla="*/ 3117850 h 3257550"/>
              <a:gd name="connsiteX35" fmla="*/ 2012950 w 10763250"/>
              <a:gd name="connsiteY35" fmla="*/ 3168650 h 3257550"/>
              <a:gd name="connsiteX36" fmla="*/ 2082800 w 10763250"/>
              <a:gd name="connsiteY36" fmla="*/ 3124200 h 3257550"/>
              <a:gd name="connsiteX37" fmla="*/ 2133600 w 10763250"/>
              <a:gd name="connsiteY37" fmla="*/ 3060700 h 3257550"/>
              <a:gd name="connsiteX38" fmla="*/ 2222500 w 10763250"/>
              <a:gd name="connsiteY38" fmla="*/ 3041650 h 3257550"/>
              <a:gd name="connsiteX39" fmla="*/ 2266950 w 10763250"/>
              <a:gd name="connsiteY39" fmla="*/ 2952750 h 3257550"/>
              <a:gd name="connsiteX40" fmla="*/ 2247900 w 10763250"/>
              <a:gd name="connsiteY40" fmla="*/ 2863850 h 3257550"/>
              <a:gd name="connsiteX41" fmla="*/ 2286000 w 10763250"/>
              <a:gd name="connsiteY41" fmla="*/ 2755900 h 3257550"/>
              <a:gd name="connsiteX42" fmla="*/ 2286000 w 10763250"/>
              <a:gd name="connsiteY42" fmla="*/ 2705100 h 3257550"/>
              <a:gd name="connsiteX43" fmla="*/ 2343150 w 10763250"/>
              <a:gd name="connsiteY43" fmla="*/ 2838450 h 3257550"/>
              <a:gd name="connsiteX44" fmla="*/ 2343150 w 10763250"/>
              <a:gd name="connsiteY44" fmla="*/ 2990850 h 3257550"/>
              <a:gd name="connsiteX45" fmla="*/ 2381250 w 10763250"/>
              <a:gd name="connsiteY45" fmla="*/ 2901950 h 3257550"/>
              <a:gd name="connsiteX46" fmla="*/ 2368550 w 10763250"/>
              <a:gd name="connsiteY46" fmla="*/ 2825750 h 3257550"/>
              <a:gd name="connsiteX47" fmla="*/ 2413000 w 10763250"/>
              <a:gd name="connsiteY47" fmla="*/ 2667000 h 3257550"/>
              <a:gd name="connsiteX48" fmla="*/ 2425700 w 10763250"/>
              <a:gd name="connsiteY48" fmla="*/ 2489200 h 3257550"/>
              <a:gd name="connsiteX49" fmla="*/ 2451100 w 10763250"/>
              <a:gd name="connsiteY49" fmla="*/ 2673350 h 3257550"/>
              <a:gd name="connsiteX50" fmla="*/ 2495550 w 10763250"/>
              <a:gd name="connsiteY50" fmla="*/ 2736850 h 3257550"/>
              <a:gd name="connsiteX51" fmla="*/ 2527300 w 10763250"/>
              <a:gd name="connsiteY51" fmla="*/ 2794000 h 3257550"/>
              <a:gd name="connsiteX52" fmla="*/ 2533650 w 10763250"/>
              <a:gd name="connsiteY52" fmla="*/ 2832100 h 3257550"/>
              <a:gd name="connsiteX53" fmla="*/ 2578100 w 10763250"/>
              <a:gd name="connsiteY53" fmla="*/ 2882900 h 3257550"/>
              <a:gd name="connsiteX54" fmla="*/ 2603500 w 10763250"/>
              <a:gd name="connsiteY54" fmla="*/ 2990850 h 3257550"/>
              <a:gd name="connsiteX55" fmla="*/ 2654300 w 10763250"/>
              <a:gd name="connsiteY55" fmla="*/ 2851150 h 3257550"/>
              <a:gd name="connsiteX56" fmla="*/ 2755900 w 10763250"/>
              <a:gd name="connsiteY56" fmla="*/ 2755900 h 3257550"/>
              <a:gd name="connsiteX57" fmla="*/ 2755900 w 10763250"/>
              <a:gd name="connsiteY57" fmla="*/ 2641600 h 3257550"/>
              <a:gd name="connsiteX58" fmla="*/ 2794000 w 10763250"/>
              <a:gd name="connsiteY58" fmla="*/ 2533650 h 3257550"/>
              <a:gd name="connsiteX59" fmla="*/ 2806700 w 10763250"/>
              <a:gd name="connsiteY59" fmla="*/ 2438400 h 3257550"/>
              <a:gd name="connsiteX60" fmla="*/ 2800350 w 10763250"/>
              <a:gd name="connsiteY60" fmla="*/ 2324100 h 3257550"/>
              <a:gd name="connsiteX61" fmla="*/ 2851150 w 10763250"/>
              <a:gd name="connsiteY61" fmla="*/ 2254250 h 3257550"/>
              <a:gd name="connsiteX62" fmla="*/ 2908300 w 10763250"/>
              <a:gd name="connsiteY62" fmla="*/ 2216150 h 3257550"/>
              <a:gd name="connsiteX63" fmla="*/ 2870200 w 10763250"/>
              <a:gd name="connsiteY63" fmla="*/ 2082800 h 3257550"/>
              <a:gd name="connsiteX64" fmla="*/ 2870200 w 10763250"/>
              <a:gd name="connsiteY64" fmla="*/ 2032000 h 3257550"/>
              <a:gd name="connsiteX65" fmla="*/ 2876550 w 10763250"/>
              <a:gd name="connsiteY65" fmla="*/ 1879600 h 3257550"/>
              <a:gd name="connsiteX66" fmla="*/ 2908300 w 10763250"/>
              <a:gd name="connsiteY66" fmla="*/ 1822450 h 3257550"/>
              <a:gd name="connsiteX67" fmla="*/ 2921000 w 10763250"/>
              <a:gd name="connsiteY67" fmla="*/ 1752600 h 3257550"/>
              <a:gd name="connsiteX68" fmla="*/ 2940050 w 10763250"/>
              <a:gd name="connsiteY68" fmla="*/ 1549400 h 3257550"/>
              <a:gd name="connsiteX69" fmla="*/ 2984500 w 10763250"/>
              <a:gd name="connsiteY69" fmla="*/ 1816100 h 3257550"/>
              <a:gd name="connsiteX70" fmla="*/ 2997200 w 10763250"/>
              <a:gd name="connsiteY70" fmla="*/ 1968500 h 3257550"/>
              <a:gd name="connsiteX71" fmla="*/ 2990850 w 10763250"/>
              <a:gd name="connsiteY71" fmla="*/ 2063750 h 3257550"/>
              <a:gd name="connsiteX72" fmla="*/ 3054350 w 10763250"/>
              <a:gd name="connsiteY72" fmla="*/ 2063750 h 3257550"/>
              <a:gd name="connsiteX73" fmla="*/ 3048000 w 10763250"/>
              <a:gd name="connsiteY73" fmla="*/ 2235200 h 3257550"/>
              <a:gd name="connsiteX74" fmla="*/ 3054350 w 10763250"/>
              <a:gd name="connsiteY74" fmla="*/ 2362200 h 3257550"/>
              <a:gd name="connsiteX75" fmla="*/ 3079750 w 10763250"/>
              <a:gd name="connsiteY75" fmla="*/ 2317750 h 3257550"/>
              <a:gd name="connsiteX76" fmla="*/ 3111500 w 10763250"/>
              <a:gd name="connsiteY76" fmla="*/ 2203450 h 3257550"/>
              <a:gd name="connsiteX77" fmla="*/ 3111500 w 10763250"/>
              <a:gd name="connsiteY77" fmla="*/ 2127250 h 3257550"/>
              <a:gd name="connsiteX78" fmla="*/ 3143250 w 10763250"/>
              <a:gd name="connsiteY78" fmla="*/ 2000250 h 3257550"/>
              <a:gd name="connsiteX79" fmla="*/ 3143250 w 10763250"/>
              <a:gd name="connsiteY79" fmla="*/ 2000250 h 3257550"/>
              <a:gd name="connsiteX80" fmla="*/ 3206750 w 10763250"/>
              <a:gd name="connsiteY80" fmla="*/ 2152650 h 3257550"/>
              <a:gd name="connsiteX81" fmla="*/ 3225800 w 10763250"/>
              <a:gd name="connsiteY81" fmla="*/ 2254250 h 3257550"/>
              <a:gd name="connsiteX82" fmla="*/ 3276600 w 10763250"/>
              <a:gd name="connsiteY82" fmla="*/ 2324100 h 3257550"/>
              <a:gd name="connsiteX83" fmla="*/ 3302000 w 10763250"/>
              <a:gd name="connsiteY83" fmla="*/ 2381250 h 3257550"/>
              <a:gd name="connsiteX84" fmla="*/ 3378200 w 10763250"/>
              <a:gd name="connsiteY84" fmla="*/ 2317750 h 3257550"/>
              <a:gd name="connsiteX85" fmla="*/ 3352800 w 10763250"/>
              <a:gd name="connsiteY85" fmla="*/ 2260600 h 3257550"/>
              <a:gd name="connsiteX86" fmla="*/ 3390900 w 10763250"/>
              <a:gd name="connsiteY86" fmla="*/ 2228850 h 3257550"/>
              <a:gd name="connsiteX87" fmla="*/ 3429000 w 10763250"/>
              <a:gd name="connsiteY87" fmla="*/ 2381250 h 3257550"/>
              <a:gd name="connsiteX88" fmla="*/ 3435350 w 10763250"/>
              <a:gd name="connsiteY88" fmla="*/ 2520950 h 3257550"/>
              <a:gd name="connsiteX89" fmla="*/ 3460750 w 10763250"/>
              <a:gd name="connsiteY89" fmla="*/ 2609850 h 3257550"/>
              <a:gd name="connsiteX90" fmla="*/ 3511550 w 10763250"/>
              <a:gd name="connsiteY90" fmla="*/ 2679700 h 3257550"/>
              <a:gd name="connsiteX91" fmla="*/ 3562350 w 10763250"/>
              <a:gd name="connsiteY91" fmla="*/ 2673350 h 3257550"/>
              <a:gd name="connsiteX92" fmla="*/ 3600450 w 10763250"/>
              <a:gd name="connsiteY92" fmla="*/ 2857500 h 3257550"/>
              <a:gd name="connsiteX93" fmla="*/ 3619500 w 10763250"/>
              <a:gd name="connsiteY93" fmla="*/ 2724150 h 3257550"/>
              <a:gd name="connsiteX94" fmla="*/ 3594100 w 10763250"/>
              <a:gd name="connsiteY94" fmla="*/ 2603500 h 3257550"/>
              <a:gd name="connsiteX95" fmla="*/ 3644900 w 10763250"/>
              <a:gd name="connsiteY95" fmla="*/ 2597150 h 3257550"/>
              <a:gd name="connsiteX96" fmla="*/ 3708400 w 10763250"/>
              <a:gd name="connsiteY96" fmla="*/ 2667000 h 3257550"/>
              <a:gd name="connsiteX97" fmla="*/ 3746500 w 10763250"/>
              <a:gd name="connsiteY97" fmla="*/ 2794000 h 3257550"/>
              <a:gd name="connsiteX98" fmla="*/ 3803650 w 10763250"/>
              <a:gd name="connsiteY98" fmla="*/ 2870200 h 3257550"/>
              <a:gd name="connsiteX99" fmla="*/ 3829050 w 10763250"/>
              <a:gd name="connsiteY99" fmla="*/ 2870200 h 3257550"/>
              <a:gd name="connsiteX100" fmla="*/ 3835400 w 10763250"/>
              <a:gd name="connsiteY100" fmla="*/ 2736850 h 3257550"/>
              <a:gd name="connsiteX101" fmla="*/ 3867150 w 10763250"/>
              <a:gd name="connsiteY101" fmla="*/ 2705100 h 3257550"/>
              <a:gd name="connsiteX102" fmla="*/ 3911600 w 10763250"/>
              <a:gd name="connsiteY102" fmla="*/ 2755900 h 3257550"/>
              <a:gd name="connsiteX103" fmla="*/ 3956050 w 10763250"/>
              <a:gd name="connsiteY103" fmla="*/ 2673350 h 3257550"/>
              <a:gd name="connsiteX104" fmla="*/ 3930650 w 10763250"/>
              <a:gd name="connsiteY104" fmla="*/ 2597150 h 3257550"/>
              <a:gd name="connsiteX105" fmla="*/ 3943350 w 10763250"/>
              <a:gd name="connsiteY105" fmla="*/ 2546350 h 3257550"/>
              <a:gd name="connsiteX106" fmla="*/ 4000500 w 10763250"/>
              <a:gd name="connsiteY106" fmla="*/ 2635250 h 3257550"/>
              <a:gd name="connsiteX107" fmla="*/ 3994150 w 10763250"/>
              <a:gd name="connsiteY107" fmla="*/ 2590800 h 3257550"/>
              <a:gd name="connsiteX108" fmla="*/ 4019550 w 10763250"/>
              <a:gd name="connsiteY108" fmla="*/ 2438400 h 3257550"/>
              <a:gd name="connsiteX109" fmla="*/ 4070350 w 10763250"/>
              <a:gd name="connsiteY109" fmla="*/ 2444750 h 3257550"/>
              <a:gd name="connsiteX110" fmla="*/ 4083050 w 10763250"/>
              <a:gd name="connsiteY110" fmla="*/ 2508250 h 3257550"/>
              <a:gd name="connsiteX111" fmla="*/ 4127500 w 10763250"/>
              <a:gd name="connsiteY111" fmla="*/ 2476500 h 3257550"/>
              <a:gd name="connsiteX112" fmla="*/ 4127500 w 10763250"/>
              <a:gd name="connsiteY112" fmla="*/ 2603500 h 3257550"/>
              <a:gd name="connsiteX113" fmla="*/ 4127500 w 10763250"/>
              <a:gd name="connsiteY113" fmla="*/ 2603500 h 3257550"/>
              <a:gd name="connsiteX114" fmla="*/ 4178300 w 10763250"/>
              <a:gd name="connsiteY114" fmla="*/ 2628900 h 3257550"/>
              <a:gd name="connsiteX115" fmla="*/ 4203700 w 10763250"/>
              <a:gd name="connsiteY115" fmla="*/ 2546350 h 3257550"/>
              <a:gd name="connsiteX116" fmla="*/ 4248150 w 10763250"/>
              <a:gd name="connsiteY116" fmla="*/ 2501900 h 3257550"/>
              <a:gd name="connsiteX117" fmla="*/ 4273550 w 10763250"/>
              <a:gd name="connsiteY117" fmla="*/ 2616200 h 3257550"/>
              <a:gd name="connsiteX118" fmla="*/ 4298950 w 10763250"/>
              <a:gd name="connsiteY118" fmla="*/ 2635250 h 3257550"/>
              <a:gd name="connsiteX119" fmla="*/ 4324350 w 10763250"/>
              <a:gd name="connsiteY119" fmla="*/ 2584450 h 3257550"/>
              <a:gd name="connsiteX120" fmla="*/ 4394200 w 10763250"/>
              <a:gd name="connsiteY120" fmla="*/ 2647950 h 3257550"/>
              <a:gd name="connsiteX121" fmla="*/ 4406900 w 10763250"/>
              <a:gd name="connsiteY121" fmla="*/ 2743200 h 3257550"/>
              <a:gd name="connsiteX122" fmla="*/ 4406900 w 10763250"/>
              <a:gd name="connsiteY122" fmla="*/ 2743200 h 3257550"/>
              <a:gd name="connsiteX123" fmla="*/ 4438650 w 10763250"/>
              <a:gd name="connsiteY123" fmla="*/ 2673350 h 3257550"/>
              <a:gd name="connsiteX124" fmla="*/ 4470400 w 10763250"/>
              <a:gd name="connsiteY124" fmla="*/ 2597150 h 3257550"/>
              <a:gd name="connsiteX125" fmla="*/ 4495800 w 10763250"/>
              <a:gd name="connsiteY125" fmla="*/ 2686050 h 3257550"/>
              <a:gd name="connsiteX126" fmla="*/ 4565650 w 10763250"/>
              <a:gd name="connsiteY126" fmla="*/ 2673350 h 3257550"/>
              <a:gd name="connsiteX127" fmla="*/ 4654550 w 10763250"/>
              <a:gd name="connsiteY127" fmla="*/ 2667000 h 3257550"/>
              <a:gd name="connsiteX128" fmla="*/ 4699000 w 10763250"/>
              <a:gd name="connsiteY128" fmla="*/ 2730500 h 3257550"/>
              <a:gd name="connsiteX129" fmla="*/ 4711700 w 10763250"/>
              <a:gd name="connsiteY129" fmla="*/ 2813050 h 3257550"/>
              <a:gd name="connsiteX130" fmla="*/ 4768850 w 10763250"/>
              <a:gd name="connsiteY130" fmla="*/ 2794000 h 3257550"/>
              <a:gd name="connsiteX131" fmla="*/ 4794250 w 10763250"/>
              <a:gd name="connsiteY131" fmla="*/ 2851150 h 3257550"/>
              <a:gd name="connsiteX132" fmla="*/ 4806950 w 10763250"/>
              <a:gd name="connsiteY132" fmla="*/ 2940050 h 3257550"/>
              <a:gd name="connsiteX133" fmla="*/ 4857750 w 10763250"/>
              <a:gd name="connsiteY133" fmla="*/ 2876550 h 3257550"/>
              <a:gd name="connsiteX134" fmla="*/ 4889500 w 10763250"/>
              <a:gd name="connsiteY134" fmla="*/ 2800350 h 3257550"/>
              <a:gd name="connsiteX135" fmla="*/ 4946650 w 10763250"/>
              <a:gd name="connsiteY135" fmla="*/ 2921000 h 3257550"/>
              <a:gd name="connsiteX136" fmla="*/ 4991100 w 10763250"/>
              <a:gd name="connsiteY136" fmla="*/ 2965450 h 3257550"/>
              <a:gd name="connsiteX137" fmla="*/ 5022850 w 10763250"/>
              <a:gd name="connsiteY137" fmla="*/ 3009900 h 3257550"/>
              <a:gd name="connsiteX138" fmla="*/ 5092700 w 10763250"/>
              <a:gd name="connsiteY138" fmla="*/ 2927350 h 3257550"/>
              <a:gd name="connsiteX139" fmla="*/ 5111750 w 10763250"/>
              <a:gd name="connsiteY139" fmla="*/ 2838450 h 3257550"/>
              <a:gd name="connsiteX140" fmla="*/ 5124450 w 10763250"/>
              <a:gd name="connsiteY140" fmla="*/ 2933700 h 3257550"/>
              <a:gd name="connsiteX141" fmla="*/ 5168900 w 10763250"/>
              <a:gd name="connsiteY141" fmla="*/ 2876550 h 3257550"/>
              <a:gd name="connsiteX142" fmla="*/ 5194300 w 10763250"/>
              <a:gd name="connsiteY142" fmla="*/ 2927350 h 3257550"/>
              <a:gd name="connsiteX143" fmla="*/ 5264150 w 10763250"/>
              <a:gd name="connsiteY143" fmla="*/ 3028950 h 3257550"/>
              <a:gd name="connsiteX144" fmla="*/ 5295900 w 10763250"/>
              <a:gd name="connsiteY144" fmla="*/ 2978150 h 3257550"/>
              <a:gd name="connsiteX145" fmla="*/ 5314950 w 10763250"/>
              <a:gd name="connsiteY145" fmla="*/ 2921000 h 3257550"/>
              <a:gd name="connsiteX146" fmla="*/ 5314950 w 10763250"/>
              <a:gd name="connsiteY146" fmla="*/ 2921000 h 3257550"/>
              <a:gd name="connsiteX147" fmla="*/ 5403850 w 10763250"/>
              <a:gd name="connsiteY147" fmla="*/ 2965450 h 3257550"/>
              <a:gd name="connsiteX148" fmla="*/ 5422900 w 10763250"/>
              <a:gd name="connsiteY148" fmla="*/ 3048000 h 3257550"/>
              <a:gd name="connsiteX149" fmla="*/ 5461000 w 10763250"/>
              <a:gd name="connsiteY149" fmla="*/ 2959100 h 3257550"/>
              <a:gd name="connsiteX150" fmla="*/ 5505450 w 10763250"/>
              <a:gd name="connsiteY150" fmla="*/ 2971800 h 3257550"/>
              <a:gd name="connsiteX151" fmla="*/ 5600700 w 10763250"/>
              <a:gd name="connsiteY151" fmla="*/ 3041650 h 3257550"/>
              <a:gd name="connsiteX152" fmla="*/ 5632450 w 10763250"/>
              <a:gd name="connsiteY152" fmla="*/ 2990850 h 3257550"/>
              <a:gd name="connsiteX153" fmla="*/ 5670550 w 10763250"/>
              <a:gd name="connsiteY153" fmla="*/ 2933700 h 3257550"/>
              <a:gd name="connsiteX154" fmla="*/ 5702300 w 10763250"/>
              <a:gd name="connsiteY154" fmla="*/ 2908300 h 3257550"/>
              <a:gd name="connsiteX155" fmla="*/ 5772150 w 10763250"/>
              <a:gd name="connsiteY155" fmla="*/ 2940050 h 3257550"/>
              <a:gd name="connsiteX156" fmla="*/ 5772150 w 10763250"/>
              <a:gd name="connsiteY156" fmla="*/ 2870200 h 3257550"/>
              <a:gd name="connsiteX157" fmla="*/ 5791200 w 10763250"/>
              <a:gd name="connsiteY157" fmla="*/ 2813050 h 3257550"/>
              <a:gd name="connsiteX158" fmla="*/ 5854700 w 10763250"/>
              <a:gd name="connsiteY158" fmla="*/ 2914650 h 3257550"/>
              <a:gd name="connsiteX159" fmla="*/ 5918200 w 10763250"/>
              <a:gd name="connsiteY159" fmla="*/ 2832100 h 3257550"/>
              <a:gd name="connsiteX160" fmla="*/ 5969000 w 10763250"/>
              <a:gd name="connsiteY160" fmla="*/ 2914650 h 3257550"/>
              <a:gd name="connsiteX161" fmla="*/ 6032500 w 10763250"/>
              <a:gd name="connsiteY161" fmla="*/ 2851150 h 3257550"/>
              <a:gd name="connsiteX162" fmla="*/ 6076950 w 10763250"/>
              <a:gd name="connsiteY162" fmla="*/ 2908300 h 3257550"/>
              <a:gd name="connsiteX163" fmla="*/ 6115050 w 10763250"/>
              <a:gd name="connsiteY163" fmla="*/ 2851150 h 3257550"/>
              <a:gd name="connsiteX164" fmla="*/ 6216650 w 10763250"/>
              <a:gd name="connsiteY164" fmla="*/ 2908300 h 3257550"/>
              <a:gd name="connsiteX165" fmla="*/ 6242050 w 10763250"/>
              <a:gd name="connsiteY165" fmla="*/ 2838450 h 3257550"/>
              <a:gd name="connsiteX166" fmla="*/ 6305550 w 10763250"/>
              <a:gd name="connsiteY166" fmla="*/ 2768600 h 3257550"/>
              <a:gd name="connsiteX167" fmla="*/ 6369050 w 10763250"/>
              <a:gd name="connsiteY167" fmla="*/ 2768600 h 3257550"/>
              <a:gd name="connsiteX168" fmla="*/ 6369050 w 10763250"/>
              <a:gd name="connsiteY168" fmla="*/ 2768600 h 3257550"/>
              <a:gd name="connsiteX169" fmla="*/ 6432550 w 10763250"/>
              <a:gd name="connsiteY169" fmla="*/ 2743200 h 3257550"/>
              <a:gd name="connsiteX170" fmla="*/ 6540500 w 10763250"/>
              <a:gd name="connsiteY170" fmla="*/ 2832100 h 3257550"/>
              <a:gd name="connsiteX171" fmla="*/ 6591300 w 10763250"/>
              <a:gd name="connsiteY171" fmla="*/ 2952750 h 3257550"/>
              <a:gd name="connsiteX172" fmla="*/ 6591300 w 10763250"/>
              <a:gd name="connsiteY172" fmla="*/ 2952750 h 3257550"/>
              <a:gd name="connsiteX173" fmla="*/ 6667500 w 10763250"/>
              <a:gd name="connsiteY173" fmla="*/ 2997200 h 3257550"/>
              <a:gd name="connsiteX174" fmla="*/ 6692900 w 10763250"/>
              <a:gd name="connsiteY174" fmla="*/ 3028950 h 3257550"/>
              <a:gd name="connsiteX175" fmla="*/ 6788150 w 10763250"/>
              <a:gd name="connsiteY175" fmla="*/ 3060700 h 3257550"/>
              <a:gd name="connsiteX176" fmla="*/ 6858000 w 10763250"/>
              <a:gd name="connsiteY176" fmla="*/ 3105150 h 3257550"/>
              <a:gd name="connsiteX177" fmla="*/ 6883400 w 10763250"/>
              <a:gd name="connsiteY177" fmla="*/ 3003550 h 3257550"/>
              <a:gd name="connsiteX178" fmla="*/ 6908800 w 10763250"/>
              <a:gd name="connsiteY178" fmla="*/ 2921000 h 3257550"/>
              <a:gd name="connsiteX179" fmla="*/ 6965950 w 10763250"/>
              <a:gd name="connsiteY179" fmla="*/ 3028950 h 3257550"/>
              <a:gd name="connsiteX180" fmla="*/ 7004050 w 10763250"/>
              <a:gd name="connsiteY180" fmla="*/ 3022600 h 3257550"/>
              <a:gd name="connsiteX181" fmla="*/ 7010400 w 10763250"/>
              <a:gd name="connsiteY181" fmla="*/ 2870200 h 3257550"/>
              <a:gd name="connsiteX182" fmla="*/ 7035800 w 10763250"/>
              <a:gd name="connsiteY182" fmla="*/ 2851150 h 3257550"/>
              <a:gd name="connsiteX183" fmla="*/ 7086600 w 10763250"/>
              <a:gd name="connsiteY183" fmla="*/ 2806700 h 3257550"/>
              <a:gd name="connsiteX184" fmla="*/ 7131050 w 10763250"/>
              <a:gd name="connsiteY184" fmla="*/ 2755900 h 3257550"/>
              <a:gd name="connsiteX185" fmla="*/ 7118350 w 10763250"/>
              <a:gd name="connsiteY185" fmla="*/ 2686050 h 3257550"/>
              <a:gd name="connsiteX186" fmla="*/ 7188200 w 10763250"/>
              <a:gd name="connsiteY186" fmla="*/ 2641600 h 3257550"/>
              <a:gd name="connsiteX187" fmla="*/ 7226300 w 10763250"/>
              <a:gd name="connsiteY187" fmla="*/ 2533650 h 3257550"/>
              <a:gd name="connsiteX188" fmla="*/ 7277100 w 10763250"/>
              <a:gd name="connsiteY188" fmla="*/ 2711450 h 3257550"/>
              <a:gd name="connsiteX189" fmla="*/ 7264400 w 10763250"/>
              <a:gd name="connsiteY189" fmla="*/ 2787650 h 3257550"/>
              <a:gd name="connsiteX190" fmla="*/ 7302500 w 10763250"/>
              <a:gd name="connsiteY190" fmla="*/ 2819400 h 3257550"/>
              <a:gd name="connsiteX191" fmla="*/ 7366000 w 10763250"/>
              <a:gd name="connsiteY191" fmla="*/ 2774950 h 3257550"/>
              <a:gd name="connsiteX192" fmla="*/ 7410450 w 10763250"/>
              <a:gd name="connsiteY192" fmla="*/ 2844800 h 3257550"/>
              <a:gd name="connsiteX193" fmla="*/ 7473950 w 10763250"/>
              <a:gd name="connsiteY193" fmla="*/ 2851150 h 3257550"/>
              <a:gd name="connsiteX194" fmla="*/ 7493000 w 10763250"/>
              <a:gd name="connsiteY194" fmla="*/ 2749550 h 3257550"/>
              <a:gd name="connsiteX195" fmla="*/ 7556500 w 10763250"/>
              <a:gd name="connsiteY195" fmla="*/ 2730500 h 3257550"/>
              <a:gd name="connsiteX196" fmla="*/ 7613650 w 10763250"/>
              <a:gd name="connsiteY196" fmla="*/ 2806700 h 3257550"/>
              <a:gd name="connsiteX197" fmla="*/ 7702550 w 10763250"/>
              <a:gd name="connsiteY197" fmla="*/ 2844800 h 3257550"/>
              <a:gd name="connsiteX198" fmla="*/ 7785100 w 10763250"/>
              <a:gd name="connsiteY198" fmla="*/ 2768600 h 3257550"/>
              <a:gd name="connsiteX199" fmla="*/ 7854950 w 10763250"/>
              <a:gd name="connsiteY199" fmla="*/ 2825750 h 3257550"/>
              <a:gd name="connsiteX200" fmla="*/ 7861300 w 10763250"/>
              <a:gd name="connsiteY200" fmla="*/ 2749550 h 3257550"/>
              <a:gd name="connsiteX201" fmla="*/ 7905750 w 10763250"/>
              <a:gd name="connsiteY201" fmla="*/ 2705100 h 3257550"/>
              <a:gd name="connsiteX202" fmla="*/ 7950200 w 10763250"/>
              <a:gd name="connsiteY202" fmla="*/ 2635250 h 3257550"/>
              <a:gd name="connsiteX203" fmla="*/ 8020050 w 10763250"/>
              <a:gd name="connsiteY203" fmla="*/ 2692400 h 3257550"/>
              <a:gd name="connsiteX204" fmla="*/ 8051800 w 10763250"/>
              <a:gd name="connsiteY204" fmla="*/ 2552700 h 3257550"/>
              <a:gd name="connsiteX205" fmla="*/ 8089900 w 10763250"/>
              <a:gd name="connsiteY205" fmla="*/ 2463800 h 3257550"/>
              <a:gd name="connsiteX206" fmla="*/ 8083550 w 10763250"/>
              <a:gd name="connsiteY206" fmla="*/ 2387600 h 3257550"/>
              <a:gd name="connsiteX207" fmla="*/ 8115300 w 10763250"/>
              <a:gd name="connsiteY207" fmla="*/ 2311400 h 3257550"/>
              <a:gd name="connsiteX208" fmla="*/ 8096250 w 10763250"/>
              <a:gd name="connsiteY208" fmla="*/ 2222500 h 3257550"/>
              <a:gd name="connsiteX209" fmla="*/ 8153400 w 10763250"/>
              <a:gd name="connsiteY209" fmla="*/ 2463800 h 3257550"/>
              <a:gd name="connsiteX210" fmla="*/ 8185150 w 10763250"/>
              <a:gd name="connsiteY210" fmla="*/ 2673350 h 3257550"/>
              <a:gd name="connsiteX211" fmla="*/ 8204200 w 10763250"/>
              <a:gd name="connsiteY211" fmla="*/ 2527300 h 3257550"/>
              <a:gd name="connsiteX212" fmla="*/ 8242300 w 10763250"/>
              <a:gd name="connsiteY212" fmla="*/ 2381250 h 3257550"/>
              <a:gd name="connsiteX213" fmla="*/ 8261350 w 10763250"/>
              <a:gd name="connsiteY213" fmla="*/ 2527300 h 3257550"/>
              <a:gd name="connsiteX214" fmla="*/ 8299450 w 10763250"/>
              <a:gd name="connsiteY214" fmla="*/ 2368550 h 3257550"/>
              <a:gd name="connsiteX215" fmla="*/ 8369300 w 10763250"/>
              <a:gd name="connsiteY215" fmla="*/ 2222500 h 3257550"/>
              <a:gd name="connsiteX216" fmla="*/ 8388350 w 10763250"/>
              <a:gd name="connsiteY216" fmla="*/ 2152650 h 3257550"/>
              <a:gd name="connsiteX217" fmla="*/ 8407400 w 10763250"/>
              <a:gd name="connsiteY217" fmla="*/ 2311400 h 3257550"/>
              <a:gd name="connsiteX218" fmla="*/ 8420100 w 10763250"/>
              <a:gd name="connsiteY218" fmla="*/ 2387600 h 3257550"/>
              <a:gd name="connsiteX219" fmla="*/ 8464550 w 10763250"/>
              <a:gd name="connsiteY219" fmla="*/ 2317750 h 3257550"/>
              <a:gd name="connsiteX220" fmla="*/ 8534400 w 10763250"/>
              <a:gd name="connsiteY220" fmla="*/ 2463800 h 3257550"/>
              <a:gd name="connsiteX221" fmla="*/ 8547100 w 10763250"/>
              <a:gd name="connsiteY221" fmla="*/ 2368550 h 3257550"/>
              <a:gd name="connsiteX222" fmla="*/ 8566150 w 10763250"/>
              <a:gd name="connsiteY222" fmla="*/ 2165350 h 3257550"/>
              <a:gd name="connsiteX223" fmla="*/ 8591550 w 10763250"/>
              <a:gd name="connsiteY223" fmla="*/ 2076450 h 3257550"/>
              <a:gd name="connsiteX224" fmla="*/ 8610600 w 10763250"/>
              <a:gd name="connsiteY224" fmla="*/ 2292350 h 3257550"/>
              <a:gd name="connsiteX225" fmla="*/ 8648700 w 10763250"/>
              <a:gd name="connsiteY225" fmla="*/ 2413000 h 3257550"/>
              <a:gd name="connsiteX226" fmla="*/ 8661400 w 10763250"/>
              <a:gd name="connsiteY226" fmla="*/ 2527300 h 3257550"/>
              <a:gd name="connsiteX227" fmla="*/ 8686800 w 10763250"/>
              <a:gd name="connsiteY227" fmla="*/ 2647950 h 3257550"/>
              <a:gd name="connsiteX228" fmla="*/ 8743950 w 10763250"/>
              <a:gd name="connsiteY228" fmla="*/ 2546350 h 3257550"/>
              <a:gd name="connsiteX229" fmla="*/ 8775700 w 10763250"/>
              <a:gd name="connsiteY229" fmla="*/ 2616200 h 3257550"/>
              <a:gd name="connsiteX230" fmla="*/ 8794750 w 10763250"/>
              <a:gd name="connsiteY230" fmla="*/ 2482850 h 3257550"/>
              <a:gd name="connsiteX231" fmla="*/ 8813800 w 10763250"/>
              <a:gd name="connsiteY231" fmla="*/ 2387600 h 3257550"/>
              <a:gd name="connsiteX232" fmla="*/ 8858250 w 10763250"/>
              <a:gd name="connsiteY232" fmla="*/ 2514600 h 3257550"/>
              <a:gd name="connsiteX233" fmla="*/ 8940800 w 10763250"/>
              <a:gd name="connsiteY233" fmla="*/ 2628900 h 3257550"/>
              <a:gd name="connsiteX234" fmla="*/ 8940800 w 10763250"/>
              <a:gd name="connsiteY234" fmla="*/ 2533650 h 3257550"/>
              <a:gd name="connsiteX235" fmla="*/ 9023350 w 10763250"/>
              <a:gd name="connsiteY235" fmla="*/ 2470150 h 3257550"/>
              <a:gd name="connsiteX236" fmla="*/ 9042400 w 10763250"/>
              <a:gd name="connsiteY236" fmla="*/ 2368550 h 3257550"/>
              <a:gd name="connsiteX237" fmla="*/ 9074150 w 10763250"/>
              <a:gd name="connsiteY237" fmla="*/ 2330450 h 3257550"/>
              <a:gd name="connsiteX238" fmla="*/ 9156700 w 10763250"/>
              <a:gd name="connsiteY238" fmla="*/ 2241550 h 3257550"/>
              <a:gd name="connsiteX239" fmla="*/ 9175750 w 10763250"/>
              <a:gd name="connsiteY239" fmla="*/ 2235200 h 3257550"/>
              <a:gd name="connsiteX240" fmla="*/ 9194800 w 10763250"/>
              <a:gd name="connsiteY240" fmla="*/ 2349500 h 3257550"/>
              <a:gd name="connsiteX241" fmla="*/ 9239250 w 10763250"/>
              <a:gd name="connsiteY241" fmla="*/ 2444750 h 3257550"/>
              <a:gd name="connsiteX242" fmla="*/ 9245600 w 10763250"/>
              <a:gd name="connsiteY242" fmla="*/ 2298700 h 3257550"/>
              <a:gd name="connsiteX243" fmla="*/ 9309100 w 10763250"/>
              <a:gd name="connsiteY243" fmla="*/ 2235200 h 3257550"/>
              <a:gd name="connsiteX244" fmla="*/ 9378950 w 10763250"/>
              <a:gd name="connsiteY244" fmla="*/ 2273300 h 3257550"/>
              <a:gd name="connsiteX245" fmla="*/ 9391650 w 10763250"/>
              <a:gd name="connsiteY245" fmla="*/ 2387600 h 3257550"/>
              <a:gd name="connsiteX246" fmla="*/ 9448800 w 10763250"/>
              <a:gd name="connsiteY246" fmla="*/ 2279650 h 3257550"/>
              <a:gd name="connsiteX247" fmla="*/ 9486900 w 10763250"/>
              <a:gd name="connsiteY247" fmla="*/ 2413000 h 3257550"/>
              <a:gd name="connsiteX248" fmla="*/ 9556750 w 10763250"/>
              <a:gd name="connsiteY248" fmla="*/ 2565400 h 3257550"/>
              <a:gd name="connsiteX249" fmla="*/ 9569450 w 10763250"/>
              <a:gd name="connsiteY249" fmla="*/ 2654300 h 3257550"/>
              <a:gd name="connsiteX250" fmla="*/ 9613900 w 10763250"/>
              <a:gd name="connsiteY250" fmla="*/ 2736850 h 3257550"/>
              <a:gd name="connsiteX251" fmla="*/ 9632950 w 10763250"/>
              <a:gd name="connsiteY251" fmla="*/ 2673350 h 3257550"/>
              <a:gd name="connsiteX252" fmla="*/ 9632950 w 10763250"/>
              <a:gd name="connsiteY252" fmla="*/ 2673350 h 3257550"/>
              <a:gd name="connsiteX253" fmla="*/ 9721850 w 10763250"/>
              <a:gd name="connsiteY253" fmla="*/ 2686050 h 3257550"/>
              <a:gd name="connsiteX254" fmla="*/ 9721850 w 10763250"/>
              <a:gd name="connsiteY254" fmla="*/ 2552700 h 3257550"/>
              <a:gd name="connsiteX255" fmla="*/ 9759950 w 10763250"/>
              <a:gd name="connsiteY255" fmla="*/ 2406650 h 3257550"/>
              <a:gd name="connsiteX256" fmla="*/ 9759950 w 10763250"/>
              <a:gd name="connsiteY256" fmla="*/ 2406650 h 3257550"/>
              <a:gd name="connsiteX257" fmla="*/ 9842500 w 10763250"/>
              <a:gd name="connsiteY257" fmla="*/ 2508250 h 3257550"/>
              <a:gd name="connsiteX258" fmla="*/ 9842500 w 10763250"/>
              <a:gd name="connsiteY258" fmla="*/ 2641600 h 3257550"/>
              <a:gd name="connsiteX259" fmla="*/ 9906000 w 10763250"/>
              <a:gd name="connsiteY259" fmla="*/ 2527300 h 3257550"/>
              <a:gd name="connsiteX260" fmla="*/ 9956800 w 10763250"/>
              <a:gd name="connsiteY260" fmla="*/ 2470150 h 3257550"/>
              <a:gd name="connsiteX261" fmla="*/ 9988550 w 10763250"/>
              <a:gd name="connsiteY261" fmla="*/ 2552700 h 3257550"/>
              <a:gd name="connsiteX262" fmla="*/ 10013950 w 10763250"/>
              <a:gd name="connsiteY262" fmla="*/ 2438400 h 3257550"/>
              <a:gd name="connsiteX263" fmla="*/ 10064750 w 10763250"/>
              <a:gd name="connsiteY263" fmla="*/ 2317750 h 3257550"/>
              <a:gd name="connsiteX264" fmla="*/ 10096500 w 10763250"/>
              <a:gd name="connsiteY264" fmla="*/ 2546350 h 3257550"/>
              <a:gd name="connsiteX265" fmla="*/ 10179050 w 10763250"/>
              <a:gd name="connsiteY265" fmla="*/ 2584450 h 3257550"/>
              <a:gd name="connsiteX266" fmla="*/ 10179050 w 10763250"/>
              <a:gd name="connsiteY266" fmla="*/ 2463800 h 3257550"/>
              <a:gd name="connsiteX267" fmla="*/ 10223500 w 10763250"/>
              <a:gd name="connsiteY267" fmla="*/ 2324100 h 3257550"/>
              <a:gd name="connsiteX268" fmla="*/ 10242550 w 10763250"/>
              <a:gd name="connsiteY268" fmla="*/ 2482850 h 3257550"/>
              <a:gd name="connsiteX269" fmla="*/ 10274300 w 10763250"/>
              <a:gd name="connsiteY269" fmla="*/ 2540000 h 3257550"/>
              <a:gd name="connsiteX270" fmla="*/ 10331450 w 10763250"/>
              <a:gd name="connsiteY270" fmla="*/ 2457450 h 3257550"/>
              <a:gd name="connsiteX271" fmla="*/ 10369550 w 10763250"/>
              <a:gd name="connsiteY271" fmla="*/ 2419350 h 3257550"/>
              <a:gd name="connsiteX272" fmla="*/ 10420350 w 10763250"/>
              <a:gd name="connsiteY272" fmla="*/ 2476500 h 3257550"/>
              <a:gd name="connsiteX273" fmla="*/ 10496550 w 10763250"/>
              <a:gd name="connsiteY273" fmla="*/ 2559050 h 3257550"/>
              <a:gd name="connsiteX274" fmla="*/ 10547350 w 10763250"/>
              <a:gd name="connsiteY274" fmla="*/ 2451100 h 3257550"/>
              <a:gd name="connsiteX275" fmla="*/ 10585450 w 10763250"/>
              <a:gd name="connsiteY275" fmla="*/ 2355850 h 3257550"/>
              <a:gd name="connsiteX276" fmla="*/ 10623550 w 10763250"/>
              <a:gd name="connsiteY276" fmla="*/ 2254250 h 3257550"/>
              <a:gd name="connsiteX277" fmla="*/ 10661650 w 10763250"/>
              <a:gd name="connsiteY277" fmla="*/ 2190750 h 3257550"/>
              <a:gd name="connsiteX278" fmla="*/ 10648950 w 10763250"/>
              <a:gd name="connsiteY278" fmla="*/ 2082800 h 3257550"/>
              <a:gd name="connsiteX279" fmla="*/ 10699750 w 10763250"/>
              <a:gd name="connsiteY279" fmla="*/ 2012950 h 3257550"/>
              <a:gd name="connsiteX280" fmla="*/ 10737850 w 10763250"/>
              <a:gd name="connsiteY280" fmla="*/ 1860550 h 3257550"/>
              <a:gd name="connsiteX281" fmla="*/ 10718800 w 10763250"/>
              <a:gd name="connsiteY281" fmla="*/ 1644650 h 3257550"/>
              <a:gd name="connsiteX282" fmla="*/ 10731500 w 10763250"/>
              <a:gd name="connsiteY282" fmla="*/ 1473200 h 3257550"/>
              <a:gd name="connsiteX283" fmla="*/ 10731500 w 10763250"/>
              <a:gd name="connsiteY283" fmla="*/ 1123950 h 3257550"/>
              <a:gd name="connsiteX284" fmla="*/ 10737850 w 10763250"/>
              <a:gd name="connsiteY284" fmla="*/ 717550 h 3257550"/>
              <a:gd name="connsiteX285" fmla="*/ 10763250 w 10763250"/>
              <a:gd name="connsiteY285" fmla="*/ 279400 h 3257550"/>
              <a:gd name="connsiteX286" fmla="*/ 10756900 w 10763250"/>
              <a:gd name="connsiteY286" fmla="*/ 0 h 325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0763250" h="3257550">
                <a:moveTo>
                  <a:pt x="0" y="3092450"/>
                </a:moveTo>
                <a:lnTo>
                  <a:pt x="44450" y="3130550"/>
                </a:lnTo>
                <a:lnTo>
                  <a:pt x="120650" y="3086100"/>
                </a:lnTo>
                <a:lnTo>
                  <a:pt x="196850" y="3136900"/>
                </a:lnTo>
                <a:lnTo>
                  <a:pt x="196850" y="3136900"/>
                </a:lnTo>
                <a:lnTo>
                  <a:pt x="260350" y="3155950"/>
                </a:lnTo>
                <a:lnTo>
                  <a:pt x="298450" y="3168650"/>
                </a:lnTo>
                <a:lnTo>
                  <a:pt x="336550" y="3130550"/>
                </a:lnTo>
                <a:lnTo>
                  <a:pt x="374650" y="3168650"/>
                </a:lnTo>
                <a:lnTo>
                  <a:pt x="457200" y="3181350"/>
                </a:lnTo>
                <a:lnTo>
                  <a:pt x="533400" y="3143250"/>
                </a:lnTo>
                <a:lnTo>
                  <a:pt x="577850" y="3111500"/>
                </a:lnTo>
                <a:lnTo>
                  <a:pt x="641350" y="3162300"/>
                </a:lnTo>
                <a:lnTo>
                  <a:pt x="641350" y="3162300"/>
                </a:lnTo>
                <a:lnTo>
                  <a:pt x="800100" y="3168650"/>
                </a:lnTo>
                <a:lnTo>
                  <a:pt x="876300" y="3136900"/>
                </a:lnTo>
                <a:lnTo>
                  <a:pt x="914400" y="3238500"/>
                </a:lnTo>
                <a:lnTo>
                  <a:pt x="952500" y="3257550"/>
                </a:lnTo>
                <a:lnTo>
                  <a:pt x="1016000" y="3181350"/>
                </a:lnTo>
                <a:lnTo>
                  <a:pt x="1104900" y="3124200"/>
                </a:lnTo>
                <a:lnTo>
                  <a:pt x="1181100" y="3149600"/>
                </a:lnTo>
                <a:lnTo>
                  <a:pt x="1219200" y="3098800"/>
                </a:lnTo>
                <a:lnTo>
                  <a:pt x="1263650" y="3136900"/>
                </a:lnTo>
                <a:lnTo>
                  <a:pt x="1320800" y="3105150"/>
                </a:lnTo>
                <a:lnTo>
                  <a:pt x="1466850" y="3117850"/>
                </a:lnTo>
                <a:lnTo>
                  <a:pt x="1485900" y="3041650"/>
                </a:lnTo>
                <a:lnTo>
                  <a:pt x="1530350" y="3003550"/>
                </a:lnTo>
                <a:lnTo>
                  <a:pt x="1555750" y="3041650"/>
                </a:lnTo>
                <a:lnTo>
                  <a:pt x="1606550" y="2990850"/>
                </a:lnTo>
                <a:lnTo>
                  <a:pt x="1676400" y="2990850"/>
                </a:lnTo>
                <a:lnTo>
                  <a:pt x="1701800" y="3092450"/>
                </a:lnTo>
                <a:lnTo>
                  <a:pt x="1758950" y="3136900"/>
                </a:lnTo>
                <a:lnTo>
                  <a:pt x="1784350" y="3009900"/>
                </a:lnTo>
                <a:lnTo>
                  <a:pt x="1860550" y="3130550"/>
                </a:lnTo>
                <a:lnTo>
                  <a:pt x="1968500" y="3117850"/>
                </a:lnTo>
                <a:lnTo>
                  <a:pt x="2012950" y="3168650"/>
                </a:lnTo>
                <a:lnTo>
                  <a:pt x="2082800" y="3124200"/>
                </a:lnTo>
                <a:lnTo>
                  <a:pt x="2133600" y="3060700"/>
                </a:lnTo>
                <a:lnTo>
                  <a:pt x="2222500" y="3041650"/>
                </a:lnTo>
                <a:lnTo>
                  <a:pt x="2266950" y="2952750"/>
                </a:lnTo>
                <a:lnTo>
                  <a:pt x="2247900" y="2863850"/>
                </a:lnTo>
                <a:lnTo>
                  <a:pt x="2286000" y="2755900"/>
                </a:lnTo>
                <a:lnTo>
                  <a:pt x="2286000" y="2705100"/>
                </a:lnTo>
                <a:lnTo>
                  <a:pt x="2343150" y="2838450"/>
                </a:lnTo>
                <a:lnTo>
                  <a:pt x="2343150" y="2990850"/>
                </a:lnTo>
                <a:lnTo>
                  <a:pt x="2381250" y="2901950"/>
                </a:lnTo>
                <a:lnTo>
                  <a:pt x="2368550" y="2825750"/>
                </a:lnTo>
                <a:lnTo>
                  <a:pt x="2413000" y="2667000"/>
                </a:lnTo>
                <a:lnTo>
                  <a:pt x="2425700" y="2489200"/>
                </a:lnTo>
                <a:lnTo>
                  <a:pt x="2451100" y="2673350"/>
                </a:lnTo>
                <a:lnTo>
                  <a:pt x="2495550" y="2736850"/>
                </a:lnTo>
                <a:lnTo>
                  <a:pt x="2527300" y="2794000"/>
                </a:lnTo>
                <a:lnTo>
                  <a:pt x="2533650" y="2832100"/>
                </a:lnTo>
                <a:lnTo>
                  <a:pt x="2578100" y="2882900"/>
                </a:lnTo>
                <a:lnTo>
                  <a:pt x="2603500" y="2990850"/>
                </a:lnTo>
                <a:lnTo>
                  <a:pt x="2654300" y="2851150"/>
                </a:lnTo>
                <a:lnTo>
                  <a:pt x="2755900" y="2755900"/>
                </a:lnTo>
                <a:lnTo>
                  <a:pt x="2755900" y="2641600"/>
                </a:lnTo>
                <a:lnTo>
                  <a:pt x="2794000" y="2533650"/>
                </a:lnTo>
                <a:lnTo>
                  <a:pt x="2806700" y="2438400"/>
                </a:lnTo>
                <a:lnTo>
                  <a:pt x="2800350" y="2324100"/>
                </a:lnTo>
                <a:lnTo>
                  <a:pt x="2851150" y="2254250"/>
                </a:lnTo>
                <a:lnTo>
                  <a:pt x="2908300" y="2216150"/>
                </a:lnTo>
                <a:lnTo>
                  <a:pt x="2870200" y="2082800"/>
                </a:lnTo>
                <a:lnTo>
                  <a:pt x="2870200" y="2032000"/>
                </a:lnTo>
                <a:lnTo>
                  <a:pt x="2876550" y="1879600"/>
                </a:lnTo>
                <a:lnTo>
                  <a:pt x="2908300" y="1822450"/>
                </a:lnTo>
                <a:lnTo>
                  <a:pt x="2921000" y="1752600"/>
                </a:lnTo>
                <a:lnTo>
                  <a:pt x="2940050" y="1549400"/>
                </a:lnTo>
                <a:lnTo>
                  <a:pt x="2984500" y="1816100"/>
                </a:lnTo>
                <a:lnTo>
                  <a:pt x="2997200" y="1968500"/>
                </a:lnTo>
                <a:lnTo>
                  <a:pt x="2990850" y="2063750"/>
                </a:lnTo>
                <a:lnTo>
                  <a:pt x="3054350" y="2063750"/>
                </a:lnTo>
                <a:lnTo>
                  <a:pt x="3048000" y="2235200"/>
                </a:lnTo>
                <a:lnTo>
                  <a:pt x="3054350" y="2362200"/>
                </a:lnTo>
                <a:lnTo>
                  <a:pt x="3079750" y="2317750"/>
                </a:lnTo>
                <a:lnTo>
                  <a:pt x="3111500" y="2203450"/>
                </a:lnTo>
                <a:lnTo>
                  <a:pt x="3111500" y="2127250"/>
                </a:lnTo>
                <a:lnTo>
                  <a:pt x="3143250" y="2000250"/>
                </a:lnTo>
                <a:lnTo>
                  <a:pt x="3143250" y="2000250"/>
                </a:lnTo>
                <a:lnTo>
                  <a:pt x="3206750" y="2152650"/>
                </a:lnTo>
                <a:lnTo>
                  <a:pt x="3225800" y="2254250"/>
                </a:lnTo>
                <a:lnTo>
                  <a:pt x="3276600" y="2324100"/>
                </a:lnTo>
                <a:lnTo>
                  <a:pt x="3302000" y="2381250"/>
                </a:lnTo>
                <a:lnTo>
                  <a:pt x="3378200" y="2317750"/>
                </a:lnTo>
                <a:lnTo>
                  <a:pt x="3352800" y="2260600"/>
                </a:lnTo>
                <a:lnTo>
                  <a:pt x="3390900" y="2228850"/>
                </a:lnTo>
                <a:lnTo>
                  <a:pt x="3429000" y="2381250"/>
                </a:lnTo>
                <a:lnTo>
                  <a:pt x="3435350" y="2520950"/>
                </a:lnTo>
                <a:lnTo>
                  <a:pt x="3460750" y="2609850"/>
                </a:lnTo>
                <a:lnTo>
                  <a:pt x="3511550" y="2679700"/>
                </a:lnTo>
                <a:lnTo>
                  <a:pt x="3562350" y="2673350"/>
                </a:lnTo>
                <a:lnTo>
                  <a:pt x="3600450" y="2857500"/>
                </a:lnTo>
                <a:lnTo>
                  <a:pt x="3619500" y="2724150"/>
                </a:lnTo>
                <a:lnTo>
                  <a:pt x="3594100" y="2603500"/>
                </a:lnTo>
                <a:lnTo>
                  <a:pt x="3644900" y="2597150"/>
                </a:lnTo>
                <a:lnTo>
                  <a:pt x="3708400" y="2667000"/>
                </a:lnTo>
                <a:lnTo>
                  <a:pt x="3746500" y="2794000"/>
                </a:lnTo>
                <a:lnTo>
                  <a:pt x="3803650" y="2870200"/>
                </a:lnTo>
                <a:lnTo>
                  <a:pt x="3829050" y="2870200"/>
                </a:lnTo>
                <a:lnTo>
                  <a:pt x="3835400" y="2736850"/>
                </a:lnTo>
                <a:lnTo>
                  <a:pt x="3867150" y="2705100"/>
                </a:lnTo>
                <a:lnTo>
                  <a:pt x="3911600" y="2755900"/>
                </a:lnTo>
                <a:lnTo>
                  <a:pt x="3956050" y="2673350"/>
                </a:lnTo>
                <a:lnTo>
                  <a:pt x="3930650" y="2597150"/>
                </a:lnTo>
                <a:lnTo>
                  <a:pt x="3943350" y="2546350"/>
                </a:lnTo>
                <a:lnTo>
                  <a:pt x="4000500" y="2635250"/>
                </a:lnTo>
                <a:lnTo>
                  <a:pt x="3994150" y="2590800"/>
                </a:lnTo>
                <a:lnTo>
                  <a:pt x="4019550" y="2438400"/>
                </a:lnTo>
                <a:lnTo>
                  <a:pt x="4070350" y="2444750"/>
                </a:lnTo>
                <a:lnTo>
                  <a:pt x="4083050" y="2508250"/>
                </a:lnTo>
                <a:lnTo>
                  <a:pt x="4127500" y="2476500"/>
                </a:lnTo>
                <a:lnTo>
                  <a:pt x="4127500" y="2603500"/>
                </a:lnTo>
                <a:lnTo>
                  <a:pt x="4127500" y="2603500"/>
                </a:lnTo>
                <a:lnTo>
                  <a:pt x="4178300" y="2628900"/>
                </a:lnTo>
                <a:lnTo>
                  <a:pt x="4203700" y="2546350"/>
                </a:lnTo>
                <a:lnTo>
                  <a:pt x="4248150" y="2501900"/>
                </a:lnTo>
                <a:lnTo>
                  <a:pt x="4273550" y="2616200"/>
                </a:lnTo>
                <a:lnTo>
                  <a:pt x="4298950" y="2635250"/>
                </a:lnTo>
                <a:lnTo>
                  <a:pt x="4324350" y="2584450"/>
                </a:lnTo>
                <a:lnTo>
                  <a:pt x="4394200" y="2647950"/>
                </a:lnTo>
                <a:lnTo>
                  <a:pt x="4406900" y="2743200"/>
                </a:lnTo>
                <a:lnTo>
                  <a:pt x="4406900" y="2743200"/>
                </a:lnTo>
                <a:lnTo>
                  <a:pt x="4438650" y="2673350"/>
                </a:lnTo>
                <a:lnTo>
                  <a:pt x="4470400" y="2597150"/>
                </a:lnTo>
                <a:lnTo>
                  <a:pt x="4495800" y="2686050"/>
                </a:lnTo>
                <a:lnTo>
                  <a:pt x="4565650" y="2673350"/>
                </a:lnTo>
                <a:lnTo>
                  <a:pt x="4654550" y="2667000"/>
                </a:lnTo>
                <a:lnTo>
                  <a:pt x="4699000" y="2730500"/>
                </a:lnTo>
                <a:lnTo>
                  <a:pt x="4711700" y="2813050"/>
                </a:lnTo>
                <a:lnTo>
                  <a:pt x="4768850" y="2794000"/>
                </a:lnTo>
                <a:lnTo>
                  <a:pt x="4794250" y="2851150"/>
                </a:lnTo>
                <a:lnTo>
                  <a:pt x="4806950" y="2940050"/>
                </a:lnTo>
                <a:lnTo>
                  <a:pt x="4857750" y="2876550"/>
                </a:lnTo>
                <a:lnTo>
                  <a:pt x="4889500" y="2800350"/>
                </a:lnTo>
                <a:lnTo>
                  <a:pt x="4946650" y="2921000"/>
                </a:lnTo>
                <a:lnTo>
                  <a:pt x="4991100" y="2965450"/>
                </a:lnTo>
                <a:lnTo>
                  <a:pt x="5022850" y="3009900"/>
                </a:lnTo>
                <a:lnTo>
                  <a:pt x="5092700" y="2927350"/>
                </a:lnTo>
                <a:lnTo>
                  <a:pt x="5111750" y="2838450"/>
                </a:lnTo>
                <a:lnTo>
                  <a:pt x="5124450" y="2933700"/>
                </a:lnTo>
                <a:lnTo>
                  <a:pt x="5168900" y="2876550"/>
                </a:lnTo>
                <a:lnTo>
                  <a:pt x="5194300" y="2927350"/>
                </a:lnTo>
                <a:lnTo>
                  <a:pt x="5264150" y="3028950"/>
                </a:lnTo>
                <a:lnTo>
                  <a:pt x="5295900" y="2978150"/>
                </a:lnTo>
                <a:lnTo>
                  <a:pt x="5314950" y="2921000"/>
                </a:lnTo>
                <a:lnTo>
                  <a:pt x="5314950" y="2921000"/>
                </a:lnTo>
                <a:lnTo>
                  <a:pt x="5403850" y="2965450"/>
                </a:lnTo>
                <a:lnTo>
                  <a:pt x="5422900" y="3048000"/>
                </a:lnTo>
                <a:lnTo>
                  <a:pt x="5461000" y="2959100"/>
                </a:lnTo>
                <a:lnTo>
                  <a:pt x="5505450" y="2971800"/>
                </a:lnTo>
                <a:lnTo>
                  <a:pt x="5600700" y="3041650"/>
                </a:lnTo>
                <a:lnTo>
                  <a:pt x="5632450" y="2990850"/>
                </a:lnTo>
                <a:lnTo>
                  <a:pt x="5670550" y="2933700"/>
                </a:lnTo>
                <a:lnTo>
                  <a:pt x="5702300" y="2908300"/>
                </a:lnTo>
                <a:lnTo>
                  <a:pt x="5772150" y="2940050"/>
                </a:lnTo>
                <a:lnTo>
                  <a:pt x="5772150" y="2870200"/>
                </a:lnTo>
                <a:lnTo>
                  <a:pt x="5791200" y="2813050"/>
                </a:lnTo>
                <a:lnTo>
                  <a:pt x="5854700" y="2914650"/>
                </a:lnTo>
                <a:lnTo>
                  <a:pt x="5918200" y="2832100"/>
                </a:lnTo>
                <a:lnTo>
                  <a:pt x="5969000" y="2914650"/>
                </a:lnTo>
                <a:lnTo>
                  <a:pt x="6032500" y="2851150"/>
                </a:lnTo>
                <a:lnTo>
                  <a:pt x="6076950" y="2908300"/>
                </a:lnTo>
                <a:lnTo>
                  <a:pt x="6115050" y="2851150"/>
                </a:lnTo>
                <a:lnTo>
                  <a:pt x="6216650" y="2908300"/>
                </a:lnTo>
                <a:lnTo>
                  <a:pt x="6242050" y="2838450"/>
                </a:lnTo>
                <a:lnTo>
                  <a:pt x="6305550" y="2768600"/>
                </a:lnTo>
                <a:lnTo>
                  <a:pt x="6369050" y="2768600"/>
                </a:lnTo>
                <a:lnTo>
                  <a:pt x="6369050" y="2768600"/>
                </a:lnTo>
                <a:lnTo>
                  <a:pt x="6432550" y="2743200"/>
                </a:lnTo>
                <a:lnTo>
                  <a:pt x="6540500" y="2832100"/>
                </a:lnTo>
                <a:lnTo>
                  <a:pt x="6591300" y="2952750"/>
                </a:lnTo>
                <a:lnTo>
                  <a:pt x="6591300" y="2952750"/>
                </a:lnTo>
                <a:lnTo>
                  <a:pt x="6667500" y="2997200"/>
                </a:lnTo>
                <a:lnTo>
                  <a:pt x="6692900" y="3028950"/>
                </a:lnTo>
                <a:lnTo>
                  <a:pt x="6788150" y="3060700"/>
                </a:lnTo>
                <a:lnTo>
                  <a:pt x="6858000" y="3105150"/>
                </a:lnTo>
                <a:lnTo>
                  <a:pt x="6883400" y="3003550"/>
                </a:lnTo>
                <a:lnTo>
                  <a:pt x="6908800" y="2921000"/>
                </a:lnTo>
                <a:lnTo>
                  <a:pt x="6965950" y="3028950"/>
                </a:lnTo>
                <a:lnTo>
                  <a:pt x="7004050" y="3022600"/>
                </a:lnTo>
                <a:lnTo>
                  <a:pt x="7010400" y="2870200"/>
                </a:lnTo>
                <a:lnTo>
                  <a:pt x="7035800" y="2851150"/>
                </a:lnTo>
                <a:lnTo>
                  <a:pt x="7086600" y="2806700"/>
                </a:lnTo>
                <a:lnTo>
                  <a:pt x="7131050" y="2755900"/>
                </a:lnTo>
                <a:lnTo>
                  <a:pt x="7118350" y="2686050"/>
                </a:lnTo>
                <a:lnTo>
                  <a:pt x="7188200" y="2641600"/>
                </a:lnTo>
                <a:lnTo>
                  <a:pt x="7226300" y="2533650"/>
                </a:lnTo>
                <a:lnTo>
                  <a:pt x="7277100" y="2711450"/>
                </a:lnTo>
                <a:lnTo>
                  <a:pt x="7264400" y="2787650"/>
                </a:lnTo>
                <a:lnTo>
                  <a:pt x="7302500" y="2819400"/>
                </a:lnTo>
                <a:lnTo>
                  <a:pt x="7366000" y="2774950"/>
                </a:lnTo>
                <a:lnTo>
                  <a:pt x="7410450" y="2844800"/>
                </a:lnTo>
                <a:lnTo>
                  <a:pt x="7473950" y="2851150"/>
                </a:lnTo>
                <a:lnTo>
                  <a:pt x="7493000" y="2749550"/>
                </a:lnTo>
                <a:lnTo>
                  <a:pt x="7556500" y="2730500"/>
                </a:lnTo>
                <a:lnTo>
                  <a:pt x="7613650" y="2806700"/>
                </a:lnTo>
                <a:lnTo>
                  <a:pt x="7702550" y="2844800"/>
                </a:lnTo>
                <a:lnTo>
                  <a:pt x="7785100" y="2768600"/>
                </a:lnTo>
                <a:lnTo>
                  <a:pt x="7854950" y="2825750"/>
                </a:lnTo>
                <a:lnTo>
                  <a:pt x="7861300" y="2749550"/>
                </a:lnTo>
                <a:lnTo>
                  <a:pt x="7905750" y="2705100"/>
                </a:lnTo>
                <a:lnTo>
                  <a:pt x="7950200" y="2635250"/>
                </a:lnTo>
                <a:lnTo>
                  <a:pt x="8020050" y="2692400"/>
                </a:lnTo>
                <a:lnTo>
                  <a:pt x="8051800" y="2552700"/>
                </a:lnTo>
                <a:lnTo>
                  <a:pt x="8089900" y="2463800"/>
                </a:lnTo>
                <a:lnTo>
                  <a:pt x="8083550" y="2387600"/>
                </a:lnTo>
                <a:lnTo>
                  <a:pt x="8115300" y="2311400"/>
                </a:lnTo>
                <a:lnTo>
                  <a:pt x="8096250" y="2222500"/>
                </a:lnTo>
                <a:lnTo>
                  <a:pt x="8153400" y="2463800"/>
                </a:lnTo>
                <a:lnTo>
                  <a:pt x="8185150" y="2673350"/>
                </a:lnTo>
                <a:lnTo>
                  <a:pt x="8204200" y="2527300"/>
                </a:lnTo>
                <a:lnTo>
                  <a:pt x="8242300" y="2381250"/>
                </a:lnTo>
                <a:lnTo>
                  <a:pt x="8261350" y="2527300"/>
                </a:lnTo>
                <a:lnTo>
                  <a:pt x="8299450" y="2368550"/>
                </a:lnTo>
                <a:lnTo>
                  <a:pt x="8369300" y="2222500"/>
                </a:lnTo>
                <a:lnTo>
                  <a:pt x="8388350" y="2152650"/>
                </a:lnTo>
                <a:lnTo>
                  <a:pt x="8407400" y="2311400"/>
                </a:lnTo>
                <a:lnTo>
                  <a:pt x="8420100" y="2387600"/>
                </a:lnTo>
                <a:lnTo>
                  <a:pt x="8464550" y="2317750"/>
                </a:lnTo>
                <a:lnTo>
                  <a:pt x="8534400" y="2463800"/>
                </a:lnTo>
                <a:lnTo>
                  <a:pt x="8547100" y="2368550"/>
                </a:lnTo>
                <a:lnTo>
                  <a:pt x="8566150" y="2165350"/>
                </a:lnTo>
                <a:lnTo>
                  <a:pt x="8591550" y="2076450"/>
                </a:lnTo>
                <a:lnTo>
                  <a:pt x="8610600" y="2292350"/>
                </a:lnTo>
                <a:lnTo>
                  <a:pt x="8648700" y="2413000"/>
                </a:lnTo>
                <a:lnTo>
                  <a:pt x="8661400" y="2527300"/>
                </a:lnTo>
                <a:lnTo>
                  <a:pt x="8686800" y="2647950"/>
                </a:lnTo>
                <a:lnTo>
                  <a:pt x="8743950" y="2546350"/>
                </a:lnTo>
                <a:lnTo>
                  <a:pt x="8775700" y="2616200"/>
                </a:lnTo>
                <a:lnTo>
                  <a:pt x="8794750" y="2482850"/>
                </a:lnTo>
                <a:lnTo>
                  <a:pt x="8813800" y="2387600"/>
                </a:lnTo>
                <a:lnTo>
                  <a:pt x="8858250" y="2514600"/>
                </a:lnTo>
                <a:lnTo>
                  <a:pt x="8940800" y="2628900"/>
                </a:lnTo>
                <a:lnTo>
                  <a:pt x="8940800" y="2533650"/>
                </a:lnTo>
                <a:lnTo>
                  <a:pt x="9023350" y="2470150"/>
                </a:lnTo>
                <a:lnTo>
                  <a:pt x="9042400" y="2368550"/>
                </a:lnTo>
                <a:lnTo>
                  <a:pt x="9074150" y="2330450"/>
                </a:lnTo>
                <a:lnTo>
                  <a:pt x="9156700" y="2241550"/>
                </a:lnTo>
                <a:lnTo>
                  <a:pt x="9175750" y="2235200"/>
                </a:lnTo>
                <a:lnTo>
                  <a:pt x="9194800" y="2349500"/>
                </a:lnTo>
                <a:lnTo>
                  <a:pt x="9239250" y="2444750"/>
                </a:lnTo>
                <a:lnTo>
                  <a:pt x="9245600" y="2298700"/>
                </a:lnTo>
                <a:lnTo>
                  <a:pt x="9309100" y="2235200"/>
                </a:lnTo>
                <a:lnTo>
                  <a:pt x="9378950" y="2273300"/>
                </a:lnTo>
                <a:lnTo>
                  <a:pt x="9391650" y="2387600"/>
                </a:lnTo>
                <a:lnTo>
                  <a:pt x="9448800" y="2279650"/>
                </a:lnTo>
                <a:lnTo>
                  <a:pt x="9486900" y="2413000"/>
                </a:lnTo>
                <a:lnTo>
                  <a:pt x="9556750" y="2565400"/>
                </a:lnTo>
                <a:lnTo>
                  <a:pt x="9569450" y="2654300"/>
                </a:lnTo>
                <a:lnTo>
                  <a:pt x="9613900" y="2736850"/>
                </a:lnTo>
                <a:lnTo>
                  <a:pt x="9632950" y="2673350"/>
                </a:lnTo>
                <a:lnTo>
                  <a:pt x="9632950" y="2673350"/>
                </a:lnTo>
                <a:lnTo>
                  <a:pt x="9721850" y="2686050"/>
                </a:lnTo>
                <a:lnTo>
                  <a:pt x="9721850" y="2552700"/>
                </a:lnTo>
                <a:lnTo>
                  <a:pt x="9759950" y="2406650"/>
                </a:lnTo>
                <a:lnTo>
                  <a:pt x="9759950" y="2406650"/>
                </a:lnTo>
                <a:lnTo>
                  <a:pt x="9842500" y="2508250"/>
                </a:lnTo>
                <a:lnTo>
                  <a:pt x="9842500" y="2641600"/>
                </a:lnTo>
                <a:lnTo>
                  <a:pt x="9906000" y="2527300"/>
                </a:lnTo>
                <a:lnTo>
                  <a:pt x="9956800" y="2470150"/>
                </a:lnTo>
                <a:lnTo>
                  <a:pt x="9988550" y="2552700"/>
                </a:lnTo>
                <a:lnTo>
                  <a:pt x="10013950" y="2438400"/>
                </a:lnTo>
                <a:lnTo>
                  <a:pt x="10064750" y="2317750"/>
                </a:lnTo>
                <a:lnTo>
                  <a:pt x="10096500" y="2546350"/>
                </a:lnTo>
                <a:lnTo>
                  <a:pt x="10179050" y="2584450"/>
                </a:lnTo>
                <a:lnTo>
                  <a:pt x="10179050" y="2463800"/>
                </a:lnTo>
                <a:lnTo>
                  <a:pt x="10223500" y="2324100"/>
                </a:lnTo>
                <a:lnTo>
                  <a:pt x="10242550" y="2482850"/>
                </a:lnTo>
                <a:lnTo>
                  <a:pt x="10274300" y="2540000"/>
                </a:lnTo>
                <a:lnTo>
                  <a:pt x="10331450" y="2457450"/>
                </a:lnTo>
                <a:lnTo>
                  <a:pt x="10369550" y="2419350"/>
                </a:lnTo>
                <a:lnTo>
                  <a:pt x="10420350" y="2476500"/>
                </a:lnTo>
                <a:lnTo>
                  <a:pt x="10496550" y="2559050"/>
                </a:lnTo>
                <a:lnTo>
                  <a:pt x="10547350" y="2451100"/>
                </a:lnTo>
                <a:lnTo>
                  <a:pt x="10585450" y="2355850"/>
                </a:lnTo>
                <a:lnTo>
                  <a:pt x="10623550" y="2254250"/>
                </a:lnTo>
                <a:lnTo>
                  <a:pt x="10661650" y="2190750"/>
                </a:lnTo>
                <a:lnTo>
                  <a:pt x="10648950" y="2082800"/>
                </a:lnTo>
                <a:lnTo>
                  <a:pt x="10699750" y="2012950"/>
                </a:lnTo>
                <a:lnTo>
                  <a:pt x="10737850" y="1860550"/>
                </a:lnTo>
                <a:lnTo>
                  <a:pt x="10718800" y="1644650"/>
                </a:lnTo>
                <a:lnTo>
                  <a:pt x="10731500" y="1473200"/>
                </a:lnTo>
                <a:lnTo>
                  <a:pt x="10731500" y="1123950"/>
                </a:lnTo>
                <a:lnTo>
                  <a:pt x="10737850" y="717550"/>
                </a:lnTo>
                <a:lnTo>
                  <a:pt x="10763250" y="279400"/>
                </a:lnTo>
                <a:lnTo>
                  <a:pt x="10756900"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0D61B600-0664-707F-3260-7C507DF68E49}"/>
              </a:ext>
            </a:extLst>
          </p:cNvPr>
          <p:cNvCxnSpPr>
            <a:cxnSpLocks/>
          </p:cNvCxnSpPr>
          <p:nvPr/>
        </p:nvCxnSpPr>
        <p:spPr>
          <a:xfrm>
            <a:off x="832104" y="3913632"/>
            <a:ext cx="11091672" cy="0"/>
          </a:xfrm>
          <a:prstGeom prst="line">
            <a:avLst/>
          </a:prstGeom>
          <a:ln w="19050">
            <a:solidFill>
              <a:srgbClr val="C0667A"/>
            </a:solidFill>
            <a:prstDash val="dash"/>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62DA3F45-EEAF-66F5-94B4-508FF00E0167}"/>
              </a:ext>
            </a:extLst>
          </p:cNvPr>
          <p:cNvSpPr txBox="1">
            <a:spLocks/>
          </p:cNvSpPr>
          <p:nvPr/>
        </p:nvSpPr>
        <p:spPr bwMode="gray">
          <a:xfrm>
            <a:off x="803025" y="3672733"/>
            <a:ext cx="711734" cy="184666"/>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b="1" i="0" u="none" strike="noStrike" kern="0" cap="none" spc="0" normalizeH="0" baseline="0" noProof="0" dirty="0">
                <a:ln>
                  <a:noFill/>
                </a:ln>
                <a:solidFill>
                  <a:srgbClr val="C0667A"/>
                </a:solidFill>
                <a:effectLst/>
                <a:uLnTx/>
                <a:uFillTx/>
                <a:latin typeface="+mj-lt"/>
                <a:ea typeface="SimHei"/>
                <a:cs typeface="+mn-cs"/>
              </a:rPr>
              <a:t>1977 record</a:t>
            </a:r>
            <a:endParaRPr kumimoji="0" lang="en-US" altLang="zh-TW" sz="1200" b="1" i="0" u="none" strike="noStrike" kern="0" cap="none" spc="0" normalizeH="0" baseline="30000" noProof="0" dirty="0">
              <a:ln>
                <a:noFill/>
              </a:ln>
              <a:solidFill>
                <a:srgbClr val="C0667A"/>
              </a:solidFill>
              <a:effectLst/>
              <a:uLnTx/>
              <a:uFillTx/>
              <a:latin typeface="+mj-lt"/>
              <a:ea typeface="SimHei"/>
              <a:cs typeface="+mn-cs"/>
            </a:endParaRPr>
          </a:p>
        </p:txBody>
      </p:sp>
      <p:sp>
        <p:nvSpPr>
          <p:cNvPr id="15" name="Text Placeholder 4">
            <a:extLst>
              <a:ext uri="{FF2B5EF4-FFF2-40B4-BE49-F238E27FC236}">
                <a16:creationId xmlns:a16="http://schemas.microsoft.com/office/drawing/2014/main" id="{83A95157-B390-15F4-7F23-40B2941F2E4D}"/>
              </a:ext>
            </a:extLst>
          </p:cNvPr>
          <p:cNvSpPr txBox="1">
            <a:spLocks/>
          </p:cNvSpPr>
          <p:nvPr/>
        </p:nvSpPr>
        <p:spPr bwMode="gray">
          <a:xfrm>
            <a:off x="880667" y="5788774"/>
            <a:ext cx="282130" cy="184666"/>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60</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16" name="Text Placeholder 4">
            <a:extLst>
              <a:ext uri="{FF2B5EF4-FFF2-40B4-BE49-F238E27FC236}">
                <a16:creationId xmlns:a16="http://schemas.microsoft.com/office/drawing/2014/main" id="{5880CC66-DC4E-A599-B570-F76C2418BA23}"/>
              </a:ext>
            </a:extLst>
          </p:cNvPr>
          <p:cNvSpPr txBox="1">
            <a:spLocks/>
          </p:cNvSpPr>
          <p:nvPr/>
        </p:nvSpPr>
        <p:spPr bwMode="gray">
          <a:xfrm>
            <a:off x="1733407" y="5788774"/>
            <a:ext cx="282130" cy="184666"/>
          </a:xfrm>
          <a:prstGeom prst="rect">
            <a:avLst/>
          </a:prstGeom>
        </p:spPr>
        <p:txBody>
          <a:bodyPr wrap="non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65</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17" name="Text Placeholder 4">
            <a:extLst>
              <a:ext uri="{FF2B5EF4-FFF2-40B4-BE49-F238E27FC236}">
                <a16:creationId xmlns:a16="http://schemas.microsoft.com/office/drawing/2014/main" id="{A0CC766D-F467-1FEB-8D3A-3DBB6BDB6C6C}"/>
              </a:ext>
            </a:extLst>
          </p:cNvPr>
          <p:cNvSpPr txBox="1">
            <a:spLocks/>
          </p:cNvSpPr>
          <p:nvPr/>
        </p:nvSpPr>
        <p:spPr bwMode="gray">
          <a:xfrm>
            <a:off x="2586146" y="5788774"/>
            <a:ext cx="341249"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70</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18" name="Text Placeholder 4">
            <a:extLst>
              <a:ext uri="{FF2B5EF4-FFF2-40B4-BE49-F238E27FC236}">
                <a16:creationId xmlns:a16="http://schemas.microsoft.com/office/drawing/2014/main" id="{8AA08A97-A2CA-6402-3EF7-5D07875D7C5F}"/>
              </a:ext>
            </a:extLst>
          </p:cNvPr>
          <p:cNvSpPr txBox="1">
            <a:spLocks/>
          </p:cNvSpPr>
          <p:nvPr/>
        </p:nvSpPr>
        <p:spPr bwMode="gray">
          <a:xfrm>
            <a:off x="343888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75</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53" name="Text Placeholder 4">
            <a:extLst>
              <a:ext uri="{FF2B5EF4-FFF2-40B4-BE49-F238E27FC236}">
                <a16:creationId xmlns:a16="http://schemas.microsoft.com/office/drawing/2014/main" id="{35EF56C9-8893-3B9A-D628-DD33DD44157F}"/>
              </a:ext>
            </a:extLst>
          </p:cNvPr>
          <p:cNvSpPr txBox="1">
            <a:spLocks/>
          </p:cNvSpPr>
          <p:nvPr/>
        </p:nvSpPr>
        <p:spPr bwMode="gray">
          <a:xfrm>
            <a:off x="429162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80</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74" name="Text Placeholder 4">
            <a:extLst>
              <a:ext uri="{FF2B5EF4-FFF2-40B4-BE49-F238E27FC236}">
                <a16:creationId xmlns:a16="http://schemas.microsoft.com/office/drawing/2014/main" id="{99386E0C-C40A-BBDB-A2BA-A9B4ED752501}"/>
              </a:ext>
            </a:extLst>
          </p:cNvPr>
          <p:cNvSpPr txBox="1">
            <a:spLocks/>
          </p:cNvSpPr>
          <p:nvPr/>
        </p:nvSpPr>
        <p:spPr bwMode="gray">
          <a:xfrm>
            <a:off x="514436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85</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78" name="Text Placeholder 4">
            <a:extLst>
              <a:ext uri="{FF2B5EF4-FFF2-40B4-BE49-F238E27FC236}">
                <a16:creationId xmlns:a16="http://schemas.microsoft.com/office/drawing/2014/main" id="{64BDD04D-D28F-16CE-6DD7-97778651FD0F}"/>
              </a:ext>
            </a:extLst>
          </p:cNvPr>
          <p:cNvSpPr txBox="1">
            <a:spLocks/>
          </p:cNvSpPr>
          <p:nvPr/>
        </p:nvSpPr>
        <p:spPr bwMode="gray">
          <a:xfrm>
            <a:off x="599710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90</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80" name="Text Placeholder 4">
            <a:extLst>
              <a:ext uri="{FF2B5EF4-FFF2-40B4-BE49-F238E27FC236}">
                <a16:creationId xmlns:a16="http://schemas.microsoft.com/office/drawing/2014/main" id="{AECF6490-5A02-A240-431C-E4DA88915A9B}"/>
              </a:ext>
            </a:extLst>
          </p:cNvPr>
          <p:cNvSpPr txBox="1">
            <a:spLocks/>
          </p:cNvSpPr>
          <p:nvPr/>
        </p:nvSpPr>
        <p:spPr bwMode="gray">
          <a:xfrm>
            <a:off x="684984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kumimoji="0" lang="en-US" altLang="zh-TW" sz="1200" i="0" u="none" strike="noStrike" kern="0" cap="none" spc="0" normalizeH="0" baseline="0" noProof="0" dirty="0">
                <a:ln>
                  <a:noFill/>
                </a:ln>
                <a:effectLst/>
                <a:uLnTx/>
                <a:uFillTx/>
                <a:latin typeface="+mj-lt"/>
                <a:ea typeface="SimHei"/>
                <a:cs typeface="+mn-cs"/>
              </a:rPr>
              <a:t>1995</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81" name="Text Placeholder 4">
            <a:extLst>
              <a:ext uri="{FF2B5EF4-FFF2-40B4-BE49-F238E27FC236}">
                <a16:creationId xmlns:a16="http://schemas.microsoft.com/office/drawing/2014/main" id="{889EB97D-DECA-5FD3-D19F-394303C4457A}"/>
              </a:ext>
            </a:extLst>
          </p:cNvPr>
          <p:cNvSpPr txBox="1">
            <a:spLocks/>
          </p:cNvSpPr>
          <p:nvPr/>
        </p:nvSpPr>
        <p:spPr bwMode="gray">
          <a:xfrm>
            <a:off x="770258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sz="1200" kern="0" dirty="0">
                <a:latin typeface="+mj-lt"/>
              </a:rPr>
              <a:t>2000</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82" name="Text Placeholder 4">
            <a:extLst>
              <a:ext uri="{FF2B5EF4-FFF2-40B4-BE49-F238E27FC236}">
                <a16:creationId xmlns:a16="http://schemas.microsoft.com/office/drawing/2014/main" id="{58D76B3E-3D99-60A6-CA52-7654527BEF20}"/>
              </a:ext>
            </a:extLst>
          </p:cNvPr>
          <p:cNvSpPr txBox="1">
            <a:spLocks/>
          </p:cNvSpPr>
          <p:nvPr/>
        </p:nvSpPr>
        <p:spPr bwMode="gray">
          <a:xfrm>
            <a:off x="855532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sz="1200" kern="0" dirty="0">
                <a:latin typeface="+mj-lt"/>
              </a:rPr>
              <a:t>2005</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84" name="Text Placeholder 4">
            <a:extLst>
              <a:ext uri="{FF2B5EF4-FFF2-40B4-BE49-F238E27FC236}">
                <a16:creationId xmlns:a16="http://schemas.microsoft.com/office/drawing/2014/main" id="{ABC44377-D0FE-FFA3-F2F5-14587D72C690}"/>
              </a:ext>
            </a:extLst>
          </p:cNvPr>
          <p:cNvSpPr txBox="1">
            <a:spLocks/>
          </p:cNvSpPr>
          <p:nvPr/>
        </p:nvSpPr>
        <p:spPr bwMode="gray">
          <a:xfrm>
            <a:off x="9408067"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sz="1200" kern="0" dirty="0">
                <a:latin typeface="+mj-lt"/>
              </a:rPr>
              <a:t>2010</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85" name="Text Placeholder 4">
            <a:extLst>
              <a:ext uri="{FF2B5EF4-FFF2-40B4-BE49-F238E27FC236}">
                <a16:creationId xmlns:a16="http://schemas.microsoft.com/office/drawing/2014/main" id="{DE0B49EA-10E7-E403-985F-B39C9C15A719}"/>
              </a:ext>
            </a:extLst>
          </p:cNvPr>
          <p:cNvSpPr txBox="1">
            <a:spLocks/>
          </p:cNvSpPr>
          <p:nvPr/>
        </p:nvSpPr>
        <p:spPr bwMode="gray">
          <a:xfrm>
            <a:off x="10260802" y="5788774"/>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sz="1200" kern="0" dirty="0">
                <a:latin typeface="+mj-lt"/>
              </a:rPr>
              <a:t>2015</a:t>
            </a:r>
            <a:endParaRPr kumimoji="0" lang="en-US" altLang="zh-TW" sz="1200" i="0" u="none" strike="noStrike" kern="0" cap="none" spc="0" normalizeH="0" baseline="30000" noProof="0" dirty="0">
              <a:ln>
                <a:noFill/>
              </a:ln>
              <a:effectLst/>
              <a:uLnTx/>
              <a:uFillTx/>
              <a:latin typeface="+mj-lt"/>
              <a:ea typeface="SimHei"/>
              <a:cs typeface="+mn-cs"/>
            </a:endParaRPr>
          </a:p>
        </p:txBody>
      </p:sp>
      <p:sp>
        <p:nvSpPr>
          <p:cNvPr id="87" name="Text Placeholder 4">
            <a:extLst>
              <a:ext uri="{FF2B5EF4-FFF2-40B4-BE49-F238E27FC236}">
                <a16:creationId xmlns:a16="http://schemas.microsoft.com/office/drawing/2014/main" id="{200EE6F4-67FB-CBDE-EEE6-F936155DDF5C}"/>
              </a:ext>
            </a:extLst>
          </p:cNvPr>
          <p:cNvSpPr txBox="1">
            <a:spLocks/>
          </p:cNvSpPr>
          <p:nvPr/>
        </p:nvSpPr>
        <p:spPr bwMode="gray">
          <a:xfrm>
            <a:off x="11592778" y="5758953"/>
            <a:ext cx="341248" cy="184666"/>
          </a:xfrm>
          <a:prstGeom prst="rect">
            <a:avLst/>
          </a:prstGeom>
        </p:spPr>
        <p:txBody>
          <a:bodyPr wrap="square" lIns="0" tIns="0" rIns="0" bIns="0" anchor="ctr" anchorCtr="0">
            <a:spAutoFit/>
          </a:bodyPr>
          <a:lstStyle>
            <a:lvl1pPr marL="0" marR="0" indent="0" algn="l" defTabSz="901700" rtl="0" eaLnBrk="1" fontAlgn="base" latinLnBrk="0" hangingPunct="1">
              <a:lnSpc>
                <a:spcPct val="100000"/>
              </a:lnSpc>
              <a:spcBef>
                <a:spcPts val="200"/>
              </a:spcBef>
              <a:spcAft>
                <a:spcPct val="0"/>
              </a:spcAft>
              <a:buClr>
                <a:schemeClr val="tx2"/>
              </a:buClr>
              <a:buSzTx/>
              <a:buFont typeface="Symbol" pitchFamily="18" charset="2"/>
              <a:buNone/>
              <a:tabLst/>
              <a:defRPr lang="en-US" altLang="zh-TW" sz="1400" baseline="0" smtClean="0">
                <a:solidFill>
                  <a:schemeClr val="tx1"/>
                </a:solidFill>
                <a:latin typeface="+mn-lt"/>
                <a:ea typeface="SimHei"/>
                <a:cs typeface="+mn-cs"/>
              </a:defRPr>
            </a:lvl1pPr>
            <a:lvl2pPr marL="228600" indent="-228600" algn="l" defTabSz="901700" rtl="0" eaLnBrk="1" fontAlgn="base" hangingPunct="1">
              <a:lnSpc>
                <a:spcPct val="100000"/>
              </a:lnSpc>
              <a:spcBef>
                <a:spcPts val="200"/>
              </a:spcBef>
              <a:spcAft>
                <a:spcPct val="0"/>
              </a:spcAft>
              <a:buClr>
                <a:srgbClr val="DB0011"/>
              </a:buClr>
              <a:buSzPct val="90000"/>
              <a:buFont typeface="Wingdings" panose="05000000000000000000" pitchFamily="2" charset="2"/>
              <a:buChar char=""/>
              <a:defRPr lang="en-US" altLang="zh-TW" sz="1400" baseline="0" smtClean="0">
                <a:solidFill>
                  <a:schemeClr val="tx1"/>
                </a:solidFill>
                <a:latin typeface="+mn-lt"/>
                <a:ea typeface="SimHei"/>
                <a:cs typeface="+mn-cs"/>
              </a:defRPr>
            </a:lvl2pPr>
            <a:lvl3pPr marL="457200" indent="-228600" algn="l" defTabSz="901700" rtl="0" eaLnBrk="1" fontAlgn="base" hangingPunct="1">
              <a:lnSpc>
                <a:spcPct val="100000"/>
              </a:lnSpc>
              <a:spcBef>
                <a:spcPts val="200"/>
              </a:spcBef>
              <a:spcAft>
                <a:spcPct val="0"/>
              </a:spcAft>
              <a:buClr>
                <a:srgbClr val="DB0011"/>
              </a:buClr>
              <a:buFont typeface="Wingdings 2" panose="05020102010507070707" pitchFamily="18" charset="2"/>
              <a:buChar char=""/>
              <a:defRPr lang="en-US" altLang="zh-TW" sz="1200" baseline="0" smtClean="0">
                <a:solidFill>
                  <a:schemeClr val="tx1"/>
                </a:solidFill>
                <a:latin typeface="+mn-lt"/>
                <a:ea typeface="SimHei"/>
                <a:cs typeface="+mn-cs"/>
              </a:defRPr>
            </a:lvl3pPr>
            <a:lvl4pPr marL="6858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US" altLang="zh-TW" sz="1000" baseline="0" smtClean="0">
                <a:solidFill>
                  <a:schemeClr val="tx1"/>
                </a:solidFill>
                <a:latin typeface="+mn-lt"/>
                <a:ea typeface="SimHei"/>
                <a:cs typeface="+mn-cs"/>
              </a:defRPr>
            </a:lvl4pPr>
            <a:lvl5pPr marL="914400" indent="-228600" algn="l" defTabSz="901700" rtl="0" eaLnBrk="1" fontAlgn="base" hangingPunct="1">
              <a:lnSpc>
                <a:spcPct val="100000"/>
              </a:lnSpc>
              <a:spcBef>
                <a:spcPts val="200"/>
              </a:spcBef>
              <a:spcAft>
                <a:spcPct val="0"/>
              </a:spcAft>
              <a:buClr>
                <a:srgbClr val="DB0011"/>
              </a:buClr>
              <a:buFont typeface="Helvetica Neue for HSBC Lt" panose="020B0404020202020204" pitchFamily="34" charset="0"/>
              <a:buChar char="–"/>
              <a:defRPr lang="en-GB" altLang="zh-TW" sz="900" dirty="0">
                <a:solidFill>
                  <a:schemeClr val="tx1"/>
                </a:solidFill>
                <a:latin typeface="+mn-lt"/>
                <a:ea typeface="SimHei"/>
                <a:cs typeface="+mn-cs"/>
              </a:defRPr>
            </a:lvl5pPr>
            <a:lvl6pPr marL="15446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6pPr>
            <a:lvl7pPr marL="20018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7pPr>
            <a:lvl8pPr marL="24590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8pPr>
            <a:lvl9pPr marL="2916238" indent="-212725" algn="l" defTabSz="1109663" rtl="0" eaLnBrk="1" fontAlgn="base" hangingPunct="1">
              <a:spcBef>
                <a:spcPct val="20000"/>
              </a:spcBef>
              <a:spcAft>
                <a:spcPct val="0"/>
              </a:spcAft>
              <a:buClr>
                <a:schemeClr val="accent1"/>
              </a:buClr>
              <a:buFont typeface="Times New Roman" pitchFamily="18" charset="0"/>
              <a:buChar char="–"/>
              <a:defRPr sz="800">
                <a:solidFill>
                  <a:schemeClr val="tx1"/>
                </a:solidFill>
                <a:latin typeface="+mn-lt"/>
                <a:cs typeface="+mn-cs"/>
              </a:defRPr>
            </a:lvl9pPr>
          </a:lstStyle>
          <a:p>
            <a:pPr marL="0" marR="0" lvl="0" indent="0" algn="ctr" defTabSz="901700" rtl="0" eaLnBrk="1" fontAlgn="base" latinLnBrk="0" hangingPunct="1">
              <a:lnSpc>
                <a:spcPct val="100000"/>
              </a:lnSpc>
              <a:spcBef>
                <a:spcPts val="200"/>
              </a:spcBef>
              <a:spcAft>
                <a:spcPct val="0"/>
              </a:spcAft>
              <a:buClr>
                <a:srgbClr val="960021"/>
              </a:buClr>
              <a:buSzTx/>
              <a:buFont typeface="Symbol" pitchFamily="18" charset="2"/>
              <a:buNone/>
              <a:tabLst/>
              <a:defRPr/>
            </a:pPr>
            <a:r>
              <a:rPr lang="en-US" altLang="zh-TW" sz="1200" kern="0" dirty="0">
                <a:latin typeface="+mj-lt"/>
              </a:rPr>
              <a:t>2024</a:t>
            </a:r>
            <a:endParaRPr kumimoji="0" lang="en-US" altLang="zh-TW" sz="1200" i="0" u="none" strike="noStrike" kern="0" cap="none" spc="0" normalizeH="0" baseline="30000" noProof="0" dirty="0">
              <a:ln>
                <a:noFill/>
              </a:ln>
              <a:effectLst/>
              <a:uLnTx/>
              <a:uFillTx/>
              <a:latin typeface="+mj-lt"/>
              <a:ea typeface="SimHei"/>
              <a:cs typeface="+mn-cs"/>
            </a:endParaRPr>
          </a:p>
        </p:txBody>
      </p:sp>
    </p:spTree>
    <p:extLst>
      <p:ext uri="{BB962C8B-B14F-4D97-AF65-F5344CB8AC3E}">
        <p14:creationId xmlns:p14="http://schemas.microsoft.com/office/powerpoint/2010/main" val="20776873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817BFD2-5B28-3017-93E5-372F1782458E}"/>
              </a:ext>
            </a:extLst>
          </p:cNvPr>
          <p:cNvSpPr txBox="1">
            <a:spLocks/>
          </p:cNvSpPr>
          <p:nvPr/>
        </p:nvSpPr>
        <p:spPr>
          <a:xfrm>
            <a:off x="417305" y="397571"/>
            <a:ext cx="11831641" cy="708714"/>
          </a:xfrm>
          <a:prstGeom prst="rect">
            <a:avLst/>
          </a:prstGeom>
          <a:noFill/>
          <a:ln>
            <a:noFill/>
          </a:ln>
        </p:spPr>
        <p:txBody>
          <a:bodyPr vert="horz" wrap="square" lIns="0" tIns="0" rIns="0" bIns="0" anchor="ctr" anchorCtr="0" compatLnSpc="1">
            <a:normAutofit fontScale="55000" lnSpcReduction="20000"/>
          </a:bodyPr>
          <a:lstStyle>
            <a:lvl1pPr marL="0" marR="0" lvl="0" indent="0" algn="l" defTabSz="914400" rtl="0" fontAlgn="auto" hangingPunct="1">
              <a:lnSpc>
                <a:spcPct val="90000"/>
              </a:lnSpc>
              <a:spcBef>
                <a:spcPts val="0"/>
              </a:spcBef>
              <a:spcAft>
                <a:spcPts val="0"/>
              </a:spcAft>
              <a:buNone/>
              <a:tabLst/>
              <a:defRPr lang="en-GB" sz="3200" b="0" i="0" u="none" strike="noStrike" kern="1200" cap="none" spc="0" baseline="0">
                <a:solidFill>
                  <a:srgbClr val="000000"/>
                </a:solidFill>
                <a:uFillTx/>
                <a:latin typeface="Houschka pro"/>
              </a:defRPr>
            </a:lvl1pPr>
          </a:lstStyle>
          <a:p>
            <a:r>
              <a:rPr lang="en-US" sz="4500" dirty="0">
                <a:solidFill>
                  <a:schemeClr val="tx1"/>
                </a:solidFill>
                <a:latin typeface="AvenirNext LT Pro Bold" panose="020B0804020202020204" pitchFamily="34" charset="0"/>
              </a:rPr>
              <a:t>We must rethink our economy</a:t>
            </a:r>
          </a:p>
          <a:p>
            <a:br>
              <a:rPr lang="en-US" dirty="0">
                <a:solidFill>
                  <a:schemeClr val="tx1"/>
                </a:solidFill>
                <a:latin typeface="AvenirNext LT Pro Bold" panose="020B0804020202020204" pitchFamily="34" charset="0"/>
              </a:rPr>
            </a:br>
            <a:r>
              <a:rPr lang="en-US" sz="3600" b="1" dirty="0">
                <a:solidFill>
                  <a:schemeClr val="tx1"/>
                </a:solidFill>
                <a:latin typeface="AvenirNext LT Pro Bold" panose="020B0804020202020204" pitchFamily="34" charset="0"/>
              </a:rPr>
              <a:t>Nature</a:t>
            </a:r>
            <a:r>
              <a:rPr lang="en-US" sz="3600" dirty="0">
                <a:solidFill>
                  <a:schemeClr val="tx1"/>
                </a:solidFill>
                <a:latin typeface="AvenirNext LT Pro Bold" panose="020B0804020202020204" pitchFamily="34" charset="0"/>
              </a:rPr>
              <a:t>: our best strategy</a:t>
            </a:r>
          </a:p>
        </p:txBody>
      </p:sp>
      <p:grpSp>
        <p:nvGrpSpPr>
          <p:cNvPr id="6" name="Group 5">
            <a:extLst>
              <a:ext uri="{FF2B5EF4-FFF2-40B4-BE49-F238E27FC236}">
                <a16:creationId xmlns:a16="http://schemas.microsoft.com/office/drawing/2014/main" id="{785516D4-5473-0117-5D90-F54B88157836}"/>
              </a:ext>
            </a:extLst>
          </p:cNvPr>
          <p:cNvGrpSpPr/>
          <p:nvPr/>
        </p:nvGrpSpPr>
        <p:grpSpPr>
          <a:xfrm>
            <a:off x="646168" y="2059824"/>
            <a:ext cx="10610215" cy="3377595"/>
            <a:chOff x="1354773" y="1630363"/>
            <a:chExt cx="10610215" cy="3377595"/>
          </a:xfrm>
        </p:grpSpPr>
        <p:grpSp>
          <p:nvGrpSpPr>
            <p:cNvPr id="7" name="Group 6">
              <a:extLst>
                <a:ext uri="{FF2B5EF4-FFF2-40B4-BE49-F238E27FC236}">
                  <a16:creationId xmlns:a16="http://schemas.microsoft.com/office/drawing/2014/main" id="{04BCC7F5-91C8-9CE3-58CA-2158D5C9FE9F}"/>
                </a:ext>
              </a:extLst>
            </p:cNvPr>
            <p:cNvGrpSpPr/>
            <p:nvPr/>
          </p:nvGrpSpPr>
          <p:grpSpPr>
            <a:xfrm>
              <a:off x="1354773" y="2225918"/>
              <a:ext cx="4003040" cy="2782040"/>
              <a:chOff x="227013" y="3589874"/>
              <a:chExt cx="4011948" cy="2468026"/>
            </a:xfrm>
          </p:grpSpPr>
          <p:sp>
            <p:nvSpPr>
              <p:cNvPr id="15" name="Rectangle 14">
                <a:extLst>
                  <a:ext uri="{FF2B5EF4-FFF2-40B4-BE49-F238E27FC236}">
                    <a16:creationId xmlns:a16="http://schemas.microsoft.com/office/drawing/2014/main" id="{AB5FADB5-0EBA-A3D4-8C35-A154CC81AE0D}"/>
                  </a:ext>
                </a:extLst>
              </p:cNvPr>
              <p:cNvSpPr/>
              <p:nvPr/>
            </p:nvSpPr>
            <p:spPr>
              <a:xfrm>
                <a:off x="227013" y="3589874"/>
                <a:ext cx="4011947" cy="24680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Arial Narrow"/>
                  <a:ea typeface="+mn-ea"/>
                  <a:cs typeface="+mn-cs"/>
                </a:endParaRPr>
              </a:p>
            </p:txBody>
          </p:sp>
          <p:pic>
            <p:nvPicPr>
              <p:cNvPr id="16" name="Picture 4">
                <a:extLst>
                  <a:ext uri="{FF2B5EF4-FFF2-40B4-BE49-F238E27FC236}">
                    <a16:creationId xmlns:a16="http://schemas.microsoft.com/office/drawing/2014/main" id="{AE6E8872-54C6-88E8-84E5-CE9C5604014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7014" y="3589874"/>
                <a:ext cx="4011947" cy="213473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ake finite value">
              <a:extLst>
                <a:ext uri="{FF2B5EF4-FFF2-40B4-BE49-F238E27FC236}">
                  <a16:creationId xmlns:a16="http://schemas.microsoft.com/office/drawing/2014/main" id="{DA5AD2EE-ABB1-35CA-AD80-3E4E8EA85291}"/>
                </a:ext>
              </a:extLst>
            </p:cNvPr>
            <p:cNvSpPr txBox="1"/>
            <p:nvPr/>
          </p:nvSpPr>
          <p:spPr>
            <a:xfrm>
              <a:off x="1354773" y="1630363"/>
              <a:ext cx="3994453" cy="599523"/>
            </a:xfrm>
            <a:prstGeom prst="rect">
              <a:avLst/>
            </a:prstGeom>
            <a:ln w="12700">
              <a:solidFill>
                <a:schemeClr val="tx2"/>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defRPr sz="3500" b="0">
                  <a:solidFill>
                    <a:srgbClr val="FFFFFF"/>
                  </a:solidFill>
                </a:defRPr>
              </a:lvl1pPr>
            </a:lstStyle>
            <a:p>
              <a:pPr marL="0" marR="0" lvl="0" indent="0" algn="ctr" defTabSz="914342"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CH" sz="3200" b="1" i="0" u="none" strike="noStrike" kern="1200" cap="none" spc="0" normalizeH="0" baseline="0" noProof="0" dirty="0" err="1">
                  <a:ln>
                    <a:noFill/>
                  </a:ln>
                  <a:solidFill>
                    <a:srgbClr val="960021"/>
                  </a:solidFill>
                  <a:effectLst>
                    <a:outerShdw blurRad="50800" dist="38100" dir="2700000" algn="tl" rotWithShape="0">
                      <a:prstClr val="black">
                        <a:alpha val="40000"/>
                      </a:prstClr>
                    </a:outerShdw>
                  </a:effectLst>
                  <a:uLnTx/>
                  <a:uFillTx/>
                  <a:latin typeface="Arial Narrow"/>
                  <a:ea typeface="+mn-ea"/>
                  <a:cs typeface="+mn-cs"/>
                </a:rPr>
                <a:t>Closed</a:t>
              </a:r>
              <a:r>
                <a:rPr kumimoji="0" lang="fr-CH" sz="3200" b="1" i="0" u="none" strike="noStrike" kern="1200" cap="none" spc="0" normalizeH="0" baseline="0" noProof="0" dirty="0">
                  <a:ln>
                    <a:noFill/>
                  </a:ln>
                  <a:solidFill>
                    <a:srgbClr val="960021"/>
                  </a:solidFill>
                  <a:effectLst>
                    <a:outerShdw blurRad="50800" dist="38100" dir="2700000" algn="tl" rotWithShape="0">
                      <a:prstClr val="black">
                        <a:alpha val="40000"/>
                      </a:prstClr>
                    </a:outerShdw>
                  </a:effectLst>
                  <a:uLnTx/>
                  <a:uFillTx/>
                  <a:latin typeface="Arial Narrow"/>
                  <a:ea typeface="+mn-ea"/>
                  <a:cs typeface="+mn-cs"/>
                </a:rPr>
                <a:t> System</a:t>
              </a:r>
            </a:p>
          </p:txBody>
        </p:sp>
        <p:sp>
          <p:nvSpPr>
            <p:cNvPr id="9" name="Line">
              <a:extLst>
                <a:ext uri="{FF2B5EF4-FFF2-40B4-BE49-F238E27FC236}">
                  <a16:creationId xmlns:a16="http://schemas.microsoft.com/office/drawing/2014/main" id="{6F9BECF0-5012-661F-EA3E-07DEBE89A8C9}"/>
                </a:ext>
              </a:extLst>
            </p:cNvPr>
            <p:cNvSpPr/>
            <p:nvPr/>
          </p:nvSpPr>
          <p:spPr>
            <a:xfrm flipV="1">
              <a:off x="5339920" y="4820131"/>
              <a:ext cx="2462960" cy="0"/>
            </a:xfrm>
            <a:prstGeom prst="line">
              <a:avLst/>
            </a:prstGeom>
            <a:ln w="368300" cap="sq">
              <a:gradFill flip="none" rotWithShape="1">
                <a:gsLst>
                  <a:gs pos="0">
                    <a:srgbClr val="960021"/>
                  </a:gs>
                  <a:gs pos="100000">
                    <a:srgbClr val="339966"/>
                  </a:gs>
                </a:gsLst>
                <a:lin ang="0" scaled="1"/>
                <a:tileRect/>
              </a:gradFill>
              <a:prstDash val="solid"/>
              <a:bevel/>
              <a:headEnd type="none" w="sm" len="sm"/>
              <a:tailEnd type="triangle" w="med" len="med"/>
            </a:ln>
          </p:spPr>
          <p:txBody>
            <a:bodyPr lIns="45718" tIns="45718" rIns="45718" bIns="45718"/>
            <a:lstStyle/>
            <a:p>
              <a:pPr marL="0" marR="0" lvl="0" indent="0" algn="l" defTabSz="91434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sz="800" b="0" i="0" u="none" strike="noStrike" kern="1200" cap="none" spc="0" normalizeH="0" baseline="0" noProof="0">
                <a:ln>
                  <a:noFill/>
                </a:ln>
                <a:solidFill>
                  <a:srgbClr val="FFFFFF"/>
                </a:solidFill>
                <a:effectLst/>
                <a:uLnTx/>
                <a:uFillTx/>
                <a:latin typeface="Lyon Text Regular" panose="02000503070000020004" pitchFamily="2" charset="77"/>
                <a:ea typeface="+mn-ea"/>
                <a:cs typeface="+mn-cs"/>
              </a:endParaRPr>
            </a:p>
          </p:txBody>
        </p:sp>
        <p:grpSp>
          <p:nvGrpSpPr>
            <p:cNvPr id="10" name="Group 9">
              <a:extLst>
                <a:ext uri="{FF2B5EF4-FFF2-40B4-BE49-F238E27FC236}">
                  <a16:creationId xmlns:a16="http://schemas.microsoft.com/office/drawing/2014/main" id="{A5A3A78A-732A-1CA6-C433-84295F18D1E7}"/>
                </a:ext>
              </a:extLst>
            </p:cNvPr>
            <p:cNvGrpSpPr/>
            <p:nvPr/>
          </p:nvGrpSpPr>
          <p:grpSpPr>
            <a:xfrm>
              <a:off x="7795259" y="1630363"/>
              <a:ext cx="4169729" cy="3377595"/>
              <a:chOff x="7795259" y="1630363"/>
              <a:chExt cx="4169729" cy="3377595"/>
            </a:xfrm>
          </p:grpSpPr>
          <p:grpSp>
            <p:nvGrpSpPr>
              <p:cNvPr id="11" name="Group 10">
                <a:extLst>
                  <a:ext uri="{FF2B5EF4-FFF2-40B4-BE49-F238E27FC236}">
                    <a16:creationId xmlns:a16="http://schemas.microsoft.com/office/drawing/2014/main" id="{0A7B791F-BC88-F41F-A4EF-73773ABE47DC}"/>
                  </a:ext>
                </a:extLst>
              </p:cNvPr>
              <p:cNvGrpSpPr/>
              <p:nvPr/>
            </p:nvGrpSpPr>
            <p:grpSpPr>
              <a:xfrm>
                <a:off x="7795260" y="2225918"/>
                <a:ext cx="4169728" cy="2782040"/>
                <a:chOff x="7795260" y="3589874"/>
                <a:chExt cx="4011948" cy="2468026"/>
              </a:xfrm>
            </p:grpSpPr>
            <p:sp>
              <p:nvSpPr>
                <p:cNvPr id="13" name="Rectangle 12">
                  <a:extLst>
                    <a:ext uri="{FF2B5EF4-FFF2-40B4-BE49-F238E27FC236}">
                      <a16:creationId xmlns:a16="http://schemas.microsoft.com/office/drawing/2014/main" id="{1623A1C5-FDC7-9CE7-A98F-CED54A11E926}"/>
                    </a:ext>
                  </a:extLst>
                </p:cNvPr>
                <p:cNvSpPr/>
                <p:nvPr/>
              </p:nvSpPr>
              <p:spPr>
                <a:xfrm>
                  <a:off x="7795261" y="3589874"/>
                  <a:ext cx="4011947" cy="2468026"/>
                </a:xfrm>
                <a:prstGeom prst="rect">
                  <a:avLst/>
                </a:prstGeom>
                <a:solidFill>
                  <a:srgbClr val="3399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2"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Arial Narrow"/>
                    <a:ea typeface="+mn-ea"/>
                    <a:cs typeface="+mn-cs"/>
                  </a:endParaRPr>
                </a:p>
              </p:txBody>
            </p:sp>
            <p:pic>
              <p:nvPicPr>
                <p:cNvPr id="14" name="Picture 2" descr="Hands holding a miniaturized tree with sun shining over it.">
                  <a:extLst>
                    <a:ext uri="{FF2B5EF4-FFF2-40B4-BE49-F238E27FC236}">
                      <a16:creationId xmlns:a16="http://schemas.microsoft.com/office/drawing/2014/main" id="{79C27AE0-4B4C-0DEE-8032-C3B1B5F2A0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95260" y="3589874"/>
                  <a:ext cx="4011948" cy="2134736"/>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Create continuous value">
                <a:extLst>
                  <a:ext uri="{FF2B5EF4-FFF2-40B4-BE49-F238E27FC236}">
                    <a16:creationId xmlns:a16="http://schemas.microsoft.com/office/drawing/2014/main" id="{747870F3-F702-5C8C-D352-9D8B446DEA31}"/>
                  </a:ext>
                </a:extLst>
              </p:cNvPr>
              <p:cNvSpPr txBox="1"/>
              <p:nvPr/>
            </p:nvSpPr>
            <p:spPr>
              <a:xfrm>
                <a:off x="7795259" y="1630363"/>
                <a:ext cx="4168759" cy="599523"/>
              </a:xfrm>
              <a:prstGeom prst="rect">
                <a:avLst/>
              </a:prstGeom>
              <a:ln w="12700">
                <a:solidFill>
                  <a:srgbClr val="339966"/>
                </a:solid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defRPr sz="3500" b="0">
                    <a:solidFill>
                      <a:srgbClr val="FFFFFF"/>
                    </a:solidFill>
                  </a:defRPr>
                </a:lvl1pPr>
              </a:lstStyle>
              <a:p>
                <a:pPr marL="0" marR="0" lvl="0" indent="0" algn="ctr" defTabSz="914342"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fr-CH" sz="3200" b="1" i="0" u="none" strike="noStrike" kern="1200" cap="none" spc="0" normalizeH="0" baseline="0" noProof="0" dirty="0">
                    <a:ln>
                      <a:noFill/>
                    </a:ln>
                    <a:solidFill>
                      <a:srgbClr val="339966"/>
                    </a:solidFill>
                    <a:effectLst>
                      <a:outerShdw blurRad="50800" dist="38100" dir="2700000" algn="tl" rotWithShape="0">
                        <a:prstClr val="black">
                          <a:alpha val="40000"/>
                        </a:prstClr>
                      </a:outerShdw>
                    </a:effectLst>
                    <a:uLnTx/>
                    <a:uFillTx/>
                    <a:latin typeface="Arial Narrow"/>
                    <a:ea typeface="+mn-ea"/>
                    <a:cs typeface="+mn-cs"/>
                  </a:rPr>
                  <a:t>Open System</a:t>
                </a:r>
              </a:p>
            </p:txBody>
          </p:sp>
        </p:grpSp>
      </p:grpSp>
    </p:spTree>
    <p:extLst>
      <p:ext uri="{BB962C8B-B14F-4D97-AF65-F5344CB8AC3E}">
        <p14:creationId xmlns:p14="http://schemas.microsoft.com/office/powerpoint/2010/main" val="12178533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C:\Users\sibin\Desktop\Work\240202_CBA PS5_for S4U.pptx"/>
  <p:tag name="THINKCELLPRESENTATIONDONOTDELETE" val="&lt;?xml version=&quot;1.0&quot; encoding=&quot;UTF-16&quot; standalone=&quot;yes&quot;?&gt;&lt;root reqver=&quot;28224&quot;&gt;&lt;version val=&quot;352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75246198461974822536E+00&quot;&gt;&lt;m_msothmcolidx val=&quot;0&quot;/&gt;&lt;m_rgb r=&quot;01&quot; g=&quot;3A&quot; b=&quot;63&quot;/&gt;&lt;/elem&gt;&lt;elem m_fUsage=&quot;2.61876312752360762559E+00&quot;&gt;&lt;m_msothmcolidx val=&quot;0&quot;/&gt;&lt;m_rgb r=&quot;22&quot; g=&quot;7C&quot; b=&quot;9D&quot;/&gt;&lt;/elem&gt;&lt;elem m_fUsage=&quot;9.89152622585084850826E-01&quot;&gt;&lt;m_msothmcolidx val=&quot;0&quot;/&gt;&lt;m_rgb r=&quot;00&quot; g=&quot;A1&quot; b=&quot;9A&quot;/&gt;&lt;/elem&gt;&lt;elem m_fUsage=&quot;8.80119440100000316463E-01&quot;&gt;&lt;m_msothmcolidx val=&quot;0&quot;/&gt;&lt;m_rgb r=&quot;10&quot; g=&quot;24&quot; b=&quot;36&quot;/&gt;&lt;/elem&gt;&lt;elem m_fUsage=&quot;8.17887699000000023553E-01&quot;&gt;&lt;m_msothmcolidx val=&quot;0&quot;/&gt;&lt;m_rgb r=&quot;F7&quot; g=&quot;99&quot; b=&quot;0F&quot;/&gt;&lt;/elem&gt;&lt;elem m_fUsage=&quot;3.13810596090000171188E-01&quot;&gt;&lt;m_msothmcolidx val=&quot;0&quot;/&gt;&lt;m_rgb r=&quot;09&quot; g=&quot;1E&quot; b=&quot;35&quot;/&gt;&lt;/elem&gt;&lt;elem m_fUsage=&quot;2.85657575171521627144E-01&quot;&gt;&lt;m_msothmcolidx val=&quot;0&quot;/&gt;&lt;m_rgb r=&quot;CA&quot; g=&quot;F0&quot; b=&quot;F8&quot;/&gt;&lt;/elem&gt;&lt;elem m_fUsage=&quot;2.82429536481000165171E-01&quot;&gt;&lt;m_msothmcolidx val=&quot;0&quot;/&gt;&lt;m_rgb r=&quot;15&quot; g=&quot;60&quot; b=&quot;82&quot;/&gt;&lt;/elem&gt;&lt;elem m_fUsage=&quot;2.54186582832900132001E-01&quot;&gt;&lt;m_msothmcolidx val=&quot;0&quot;/&gt;&lt;m_rgb r=&quot;E9&quot; g=&quot;71&quot; b=&quot;32&quot;/&gt;&lt;/elem&gt;&lt;elem m_fUsage=&quot;2.28767924549610118801E-01&quot;&gt;&lt;m_msothmcolidx val=&quot;0&quot;/&gt;&lt;m_rgb r=&quot;E8&quot; g=&quot;E8&quot; b=&quot;E8&quot;/&gt;&lt;/elem&gt;&lt;elem m_fUsage=&quot;2.09797397246593103626E-01&quot;&gt;&lt;m_msothmcolidx val=&quot;0&quot;/&gt;&lt;m_rgb r=&quot;EB&quot; g=&quot;59&quot; b=&quot;22&quot;/&gt;&lt;/elem&gt;&lt;elem m_fUsage=&quot;1.09418989131512434110E-01&quot;&gt;&lt;m_msothmcolidx val=&quot;0&quot;/&gt;&lt;m_rgb r=&quot;02&quot; g=&quot;20&quot; b=&quot;38&quot;/&gt;&lt;/elem&gt;&lt;elem m_fUsage=&quot;9.84770902183611934744E-02&quot;&gt;&lt;m_msothmcolidx val=&quot;0&quot;/&gt;&lt;m_rgb r=&quot;22&quot; g=&quot;81&quot; b=&quot;A5&quot;/&gt;&lt;/elem&gt;&lt;elem m_fUsage=&quot;7.17897987691853145531E-02&quot;&gt;&lt;m_msothmcolidx val=&quot;0&quot;/&gt;&lt;m_rgb r=&quot;00&quot; g=&quot;33&quot; b=&quot;99&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heme/theme1.xml><?xml version="1.0" encoding="utf-8"?>
<a:theme xmlns:a="http://schemas.openxmlformats.org/drawingml/2006/main" name="SYSTEMIQ 2.0">
  <a:themeElements>
    <a:clrScheme name="SYSTEMIQ">
      <a:dk1>
        <a:srgbClr val="000000"/>
      </a:dk1>
      <a:lt1>
        <a:srgbClr val="FFFFFF"/>
      </a:lt1>
      <a:dk2>
        <a:srgbClr val="00146D"/>
      </a:dk2>
      <a:lt2>
        <a:srgbClr val="FFFFFF"/>
      </a:lt2>
      <a:accent1>
        <a:srgbClr val="00B0F0"/>
      </a:accent1>
      <a:accent2>
        <a:srgbClr val="B2D235"/>
      </a:accent2>
      <a:accent3>
        <a:srgbClr val="FEDD00"/>
      </a:accent3>
      <a:accent4>
        <a:srgbClr val="FF6D70"/>
      </a:accent4>
      <a:accent5>
        <a:srgbClr val="585854"/>
      </a:accent5>
      <a:accent6>
        <a:srgbClr val="BCBEBB"/>
      </a:accent6>
      <a:hlink>
        <a:srgbClr val="00146D"/>
      </a:hlink>
      <a:folHlink>
        <a:srgbClr val="B2D235"/>
      </a:folHlink>
    </a:clrScheme>
    <a:fontScheme name="New SYSTEMIQ Fonts">
      <a:majorFont>
        <a:latin typeface="Bebas Kai"/>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ctr" anchorCtr="0" forceAA="0" compatLnSpc="1">
        <a:noAutofit/>
      </a:bodyPr>
      <a:lstStyle>
        <a:defPPr algn="ctr">
          <a:defRPr sz="1600" dirty="0" smtClean="0">
            <a:ln>
              <a:noFill/>
            </a:ln>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YSTEMIQ 2.0">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_SYSTEMIQ 2.0">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133008184046769","enableDocumentContentUpdater":false,"version":"1.4"}]]></TemplafySlideTemplateConfiguration>
</file>

<file path=customXml/item10.xml><?xml version="1.0" encoding="utf-8"?>
<TemplafySlideFormConfiguration><![CDATA[{"formFields":[],"formDataEntries":[]}]]></TemplafySlideFormConfiguration>
</file>

<file path=customXml/item11.xml><?xml version="1.0" encoding="utf-8"?>
<TemplafySlideTemplateConfiguration><![CDATA[{"slideVersion":1,"isValidatorEnabled":false,"isLocked":false,"elementsMetadata":[],"slideId":"637901084969347984","enableDocumentContentUpdater":false,"version":"2.0"}]]></TemplafySlideTemplateConfiguration>
</file>

<file path=customXml/item12.xml><?xml version="1.0" encoding="utf-8"?>
<TemplafyTemplateConfiguration><![CDATA[{"elementsMetadata":[],"transformationConfigurations":[],"templateName":"SYSTEMIQ PowerPoint Template","templateDescription":"","enableDocumentContentUpdater":false,"version":"2.0"}]]></TemplafyTemplateConfiguration>
</file>

<file path=customXml/item13.xml><?xml version="1.0" encoding="utf-8"?>
<ct:contentTypeSchema xmlns:ct="http://schemas.microsoft.com/office/2006/metadata/contentType" xmlns:ma="http://schemas.microsoft.com/office/2006/metadata/properties/metaAttributes" ct:_="" ma:_="" ma:contentTypeName="Document" ma:contentTypeID="0x01010007B149E4E0BF704188B837C645EBDE15" ma:contentTypeVersion="17" ma:contentTypeDescription="Create a new document." ma:contentTypeScope="" ma:versionID="cdfb70b722db1dc1261acb3e3509c560">
  <xsd:schema xmlns:xsd="http://www.w3.org/2001/XMLSchema" xmlns:xs="http://www.w3.org/2001/XMLSchema" xmlns:p="http://schemas.microsoft.com/office/2006/metadata/properties" xmlns:ns2="6411c8a5-f2ab-4af7-8460-ac934ebd0d62" xmlns:ns3="d27b0b54-09b4-451b-b853-ba0c5c597322" xmlns:ns4="cb072776-f788-448c-b714-c7f8cb34fd0a" targetNamespace="http://schemas.microsoft.com/office/2006/metadata/properties" ma:root="true" ma:fieldsID="ce82d8ca4fe63bec1e40760a815069ee" ns2:_="" ns3:_="" ns4:_="">
    <xsd:import namespace="6411c8a5-f2ab-4af7-8460-ac934ebd0d62"/>
    <xsd:import namespace="d27b0b54-09b4-451b-b853-ba0c5c597322"/>
    <xsd:import namespace="cb072776-f788-448c-b714-c7f8cb34fd0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lcf76f155ced4ddcb4097134ff3c332f" minOccurs="0"/>
                <xsd:element ref="ns4: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11c8a5-f2ab-4af7-8460-ac934ebd0d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22da0a8-ca36-4ce9-9eaa-25e2c66f0d7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27b0b54-09b4-451b-b853-ba0c5c5973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b072776-f788-448c-b714-c7f8cb34fd0a"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29b5b37f-2bc6-452c-b273-c076b1068ccd}" ma:internalName="TaxCatchAll" ma:showField="CatchAllData" ma:web="d27b0b54-09b4-451b-b853-ba0c5c5973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SlideFormConfiguration><![CDATA[{"formFields":[],"formDataEntries":[]}]]></TemplafySlideFormConfiguration>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411c8a5-f2ab-4af7-8460-ac934ebd0d62">
      <Terms xmlns="http://schemas.microsoft.com/office/infopath/2007/PartnerControls"/>
    </lcf76f155ced4ddcb4097134ff3c332f>
    <TaxCatchAll xmlns="cb072776-f788-448c-b714-c7f8cb34fd0a" xsi:nil="true"/>
    <SharedWithUsers xmlns="d27b0b54-09b4-451b-b853-ba0c5c597322">
      <UserInfo>
        <DisplayName>Aube, Melanie</DisplayName>
        <AccountId>210</AccountId>
        <AccountType/>
      </UserInfo>
    </SharedWithUsers>
  </documentManagement>
</p:properties>
</file>

<file path=customXml/item4.xml><?xml version="1.0" encoding="utf-8"?>
<TemplafyFormConfiguration><![CDATA[{"formFields":[],"formDataEntries":[]}]]></TemplafyFormConfiguration>
</file>

<file path=customXml/item5.xml><?xml version="1.0" encoding="utf-8"?>
<TemplafySlideTemplateConfiguration><![CDATA[{"documentContentValidatorConfiguration":{"enableDocumentContentValidator":false,"documentContentValidatorVersion":0},"elementsMetadata":[],"slideId":"637133008184046769","enableDocumentContentUpdater":false,"version":"1.4"}]]></TemplafySlideTemplateConfiguration>
</file>

<file path=customXml/item6.xml><?xml version="1.0" encoding="utf-8"?>
<TemplafySlideFormConfiguration><![CDATA[{"formFields":[],"formDataEntries":[]}]]></TemplafySlideFormConfiguration>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TemplafySlideTemplateConfiguration><![CDATA[{"documentContentValidatorConfiguration":{"enableDocumentContentValidator":false,"documentContentValidatorVersion":0},"elementsMetadata":[],"slideId":"637822508268217997","enableDocumentContentUpdater":false,"version":"1.4"}]]></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005F39A5-A206-46DD-BB23-E222603F3654}">
  <ds:schemaRefs/>
</ds:datastoreItem>
</file>

<file path=customXml/itemProps10.xml><?xml version="1.0" encoding="utf-8"?>
<ds:datastoreItem xmlns:ds="http://schemas.openxmlformats.org/officeDocument/2006/customXml" ds:itemID="{47BC5526-DFE7-4589-9924-D8481DA82D82}">
  <ds:schemaRefs/>
</ds:datastoreItem>
</file>

<file path=customXml/itemProps11.xml><?xml version="1.0" encoding="utf-8"?>
<ds:datastoreItem xmlns:ds="http://schemas.openxmlformats.org/officeDocument/2006/customXml" ds:itemID="{4DBF21C0-494D-47D2-A719-9E46FA89C1CD}">
  <ds:schemaRefs/>
</ds:datastoreItem>
</file>

<file path=customXml/itemProps12.xml><?xml version="1.0" encoding="utf-8"?>
<ds:datastoreItem xmlns:ds="http://schemas.openxmlformats.org/officeDocument/2006/customXml" ds:itemID="{E714AFCE-B455-44DB-8147-79FC09271EDC}">
  <ds:schemaRefs/>
</ds:datastoreItem>
</file>

<file path=customXml/itemProps13.xml><?xml version="1.0" encoding="utf-8"?>
<ds:datastoreItem xmlns:ds="http://schemas.openxmlformats.org/officeDocument/2006/customXml" ds:itemID="{E7BC8E83-AC51-4262-9083-9E7174FADB5B}">
  <ds:schemaRefs/>
</ds:datastoreItem>
</file>

<file path=customXml/itemProps2.xml><?xml version="1.0" encoding="utf-8"?>
<ds:datastoreItem xmlns:ds="http://schemas.openxmlformats.org/officeDocument/2006/customXml" ds:itemID="{2E1A3D3A-7DC0-478F-9A03-27EA5ED768A5}">
  <ds:schemaRefs/>
</ds:datastoreItem>
</file>

<file path=customXml/itemProps3.xml><?xml version="1.0" encoding="utf-8"?>
<ds:datastoreItem xmlns:ds="http://schemas.openxmlformats.org/officeDocument/2006/customXml" ds:itemID="{B932E7E0-4221-4D3C-8E96-0F8DE1F5F61F}">
  <ds:schemaRefs/>
</ds:datastoreItem>
</file>

<file path=customXml/itemProps4.xml><?xml version="1.0" encoding="utf-8"?>
<ds:datastoreItem xmlns:ds="http://schemas.openxmlformats.org/officeDocument/2006/customXml" ds:itemID="{A87698B2-BF13-45F3-841C-8E77CF9BC897}">
  <ds:schemaRefs/>
</ds:datastoreItem>
</file>

<file path=customXml/itemProps5.xml><?xml version="1.0" encoding="utf-8"?>
<ds:datastoreItem xmlns:ds="http://schemas.openxmlformats.org/officeDocument/2006/customXml" ds:itemID="{4EEFC517-60AB-41A1-9318-C5E02A1353CD}">
  <ds:schemaRefs/>
</ds:datastoreItem>
</file>

<file path=customXml/itemProps6.xml><?xml version="1.0" encoding="utf-8"?>
<ds:datastoreItem xmlns:ds="http://schemas.openxmlformats.org/officeDocument/2006/customXml" ds:itemID="{B4BBC1C8-5AA4-4CB6-8C0A-BD680388A6FE}">
  <ds:schemaRefs/>
</ds:datastoreItem>
</file>

<file path=customXml/itemProps7.xml><?xml version="1.0" encoding="utf-8"?>
<ds:datastoreItem xmlns:ds="http://schemas.openxmlformats.org/officeDocument/2006/customXml" ds:itemID="{69FF68D7-3024-4DDF-A595-85528B2C0E21}">
  <ds:schemaRefs/>
</ds:datastoreItem>
</file>

<file path=customXml/itemProps8.xml><?xml version="1.0" encoding="utf-8"?>
<ds:datastoreItem xmlns:ds="http://schemas.openxmlformats.org/officeDocument/2006/customXml" ds:itemID="{A86CF8A5-C563-4F6E-A9B1-0F386CFD681E}">
  <ds:schemaRefs/>
</ds:datastoreItem>
</file>

<file path=customXml/itemProps9.xml><?xml version="1.0" encoding="utf-8"?>
<ds:datastoreItem xmlns:ds="http://schemas.openxmlformats.org/officeDocument/2006/customXml" ds:itemID="{A011C3DB-B9FA-4666-9D23-22944D8379D6}">
  <ds:schemaRefs/>
</ds:datastoreItem>
</file>

<file path=docProps/app.xml><?xml version="1.0" encoding="utf-8"?>
<Properties xmlns="http://schemas.openxmlformats.org/officeDocument/2006/extended-properties" xmlns:vt="http://schemas.openxmlformats.org/officeDocument/2006/docPropsVTypes">
  <Template>Presentation_SYSTEMIQ</Template>
  <TotalTime>0</TotalTime>
  <Words>2124</Words>
  <Application>Microsoft Office PowerPoint</Application>
  <PresentationFormat>Widescreen</PresentationFormat>
  <Paragraphs>287</Paragraphs>
  <Slides>25</Slides>
  <Notes>20</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45" baseType="lpstr">
      <vt:lpstr>Aptos Display</vt:lpstr>
      <vt:lpstr>Lyon Text Regular</vt:lpstr>
      <vt:lpstr>Century Gothic</vt:lpstr>
      <vt:lpstr>Aptos</vt:lpstr>
      <vt:lpstr>Avenir Next</vt:lpstr>
      <vt:lpstr>Helvetica</vt:lpstr>
      <vt:lpstr>Wingdings</vt:lpstr>
      <vt:lpstr>Houschka pro</vt:lpstr>
      <vt:lpstr>Symbol</vt:lpstr>
      <vt:lpstr>Arial</vt:lpstr>
      <vt:lpstr>Arial Narrow</vt:lpstr>
      <vt:lpstr>Calibri</vt:lpstr>
      <vt:lpstr>Avenir Next LT Pro</vt:lpstr>
      <vt:lpstr>AvenirNext LT Pro Bold</vt:lpstr>
      <vt:lpstr>Bebas Kai</vt:lpstr>
      <vt:lpstr>Museo Sans 100</vt:lpstr>
      <vt:lpstr>SYSTEMIQ 2.0</vt:lpstr>
      <vt:lpstr>1_SYSTEMIQ 2.0</vt:lpstr>
      <vt:lpstr>2_SYSTEMIQ 2.0</vt:lpstr>
      <vt:lpstr>think-cell Slide</vt:lpstr>
      <vt:lpstr>PowerPoint Presentation</vt:lpstr>
      <vt:lpstr>Agenda</vt:lpstr>
      <vt:lpstr>History </vt:lpstr>
      <vt:lpstr>CBA Vision &amp; Mission</vt:lpstr>
      <vt:lpstr>Our extractive economy powered by fossil resources has reached a tipping point</vt:lpstr>
      <vt:lpstr>...crossing the safe operating space of our planetary system 6 of 9 planetary boundaries have been transgressed </vt:lpstr>
      <vt:lpstr>…with increasing consequences for our economic system</vt:lpstr>
      <vt:lpstr>Food systems facing the perfect storm:  climate change, nature degradation and inefficient value chains</vt:lpstr>
      <vt:lpstr>PowerPoint Presentation</vt:lpstr>
      <vt:lpstr>A new economy powered by nature: circular bioeconomy  </vt:lpstr>
      <vt:lpstr>This is the circular bioeconomy… </vt:lpstr>
      <vt:lpstr>Agenda</vt:lpstr>
      <vt:lpstr>PowerPoint Presentation</vt:lpstr>
      <vt:lpstr>PowerPoint Presentation</vt:lpstr>
      <vt:lpstr>PowerPoint Presentation</vt:lpstr>
      <vt:lpstr>PowerPoint Presentation</vt:lpstr>
      <vt:lpstr>PowerPoint Presentation</vt:lpstr>
      <vt:lpstr>Map of Priority Countries</vt:lpstr>
      <vt:lpstr>Agenda</vt:lpstr>
      <vt:lpstr>CBA, a UK charity since 2023</vt:lpstr>
      <vt:lpstr>PowerPoint Presentation</vt:lpstr>
      <vt:lpstr>Theory of Change</vt:lpstr>
      <vt:lpstr>PowerPoint Presentation</vt:lpstr>
      <vt:lpstr>The macro economic impact of climate shocks: six times larger than previously though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IQ Presentation</dc:title>
  <dc:creator>Victor Lanel</dc:creator>
  <cp:lastModifiedBy>Marc Palahi</cp:lastModifiedBy>
  <cp:revision>574</cp:revision>
  <dcterms:created xsi:type="dcterms:W3CDTF">2022-09-09T06:41:00Z</dcterms:created>
  <dcterms:modified xsi:type="dcterms:W3CDTF">2024-06-06T16:1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2-06-09T16:31:07</vt:lpwstr>
  </property>
  <property fmtid="{D5CDD505-2E9C-101B-9397-08002B2CF9AE}" pid="3" name="TemplafyTenantId">
    <vt:lpwstr>systemiq</vt:lpwstr>
  </property>
  <property fmtid="{D5CDD505-2E9C-101B-9397-08002B2CF9AE}" pid="4" name="TemplafyTemplateId">
    <vt:lpwstr>637903890667074193</vt:lpwstr>
  </property>
  <property fmtid="{D5CDD505-2E9C-101B-9397-08002B2CF9AE}" pid="5" name="TemplafyUserProfileId">
    <vt:lpwstr>637854390335036722</vt:lpwstr>
  </property>
  <property fmtid="{D5CDD505-2E9C-101B-9397-08002B2CF9AE}" pid="6" name="TemplafyFromBlank">
    <vt:bool>true</vt:bool>
  </property>
  <property fmtid="{D5CDD505-2E9C-101B-9397-08002B2CF9AE}" pid="7" name="ContentTypeId">
    <vt:lpwstr>0x01010007B149E4E0BF704188B837C645EBDE15</vt:lpwstr>
  </property>
  <property fmtid="{D5CDD505-2E9C-101B-9397-08002B2CF9AE}" pid="8" name="MediaServiceImageTags">
    <vt:lpwstr/>
  </property>
  <property fmtid="{D5CDD505-2E9C-101B-9397-08002B2CF9AE}" pid="9" name="ICV">
    <vt:lpwstr>37889E49AC6A4053A03DD7321C964F89_13</vt:lpwstr>
  </property>
  <property fmtid="{D5CDD505-2E9C-101B-9397-08002B2CF9AE}" pid="10" name="KSOProductBuildVer">
    <vt:lpwstr>1036-12.2.0.13431</vt:lpwstr>
  </property>
  <property fmtid="{D5CDD505-2E9C-101B-9397-08002B2CF9AE}" pid="11" name="MSIP_Label_a04a3b5d-8634-4f3d-a40f-5dc885395f11_Enabled">
    <vt:lpwstr>true</vt:lpwstr>
  </property>
  <property fmtid="{D5CDD505-2E9C-101B-9397-08002B2CF9AE}" pid="12" name="MSIP_Label_a04a3b5d-8634-4f3d-a40f-5dc885395f11_SetDate">
    <vt:lpwstr>2024-06-05T15:22:00Z</vt:lpwstr>
  </property>
  <property fmtid="{D5CDD505-2E9C-101B-9397-08002B2CF9AE}" pid="13" name="MSIP_Label_a04a3b5d-8634-4f3d-a40f-5dc885395f11_Method">
    <vt:lpwstr>Privileged</vt:lpwstr>
  </property>
  <property fmtid="{D5CDD505-2E9C-101B-9397-08002B2CF9AE}" pid="14" name="MSIP_Label_a04a3b5d-8634-4f3d-a40f-5dc885395f11_Name">
    <vt:lpwstr>Public</vt:lpwstr>
  </property>
  <property fmtid="{D5CDD505-2E9C-101B-9397-08002B2CF9AE}" pid="15" name="MSIP_Label_a04a3b5d-8634-4f3d-a40f-5dc885395f11_SiteId">
    <vt:lpwstr>74275722-e4b4-475b-ab35-200065fae10b</vt:lpwstr>
  </property>
  <property fmtid="{D5CDD505-2E9C-101B-9397-08002B2CF9AE}" pid="16" name="MSIP_Label_a04a3b5d-8634-4f3d-a40f-5dc885395f11_ActionId">
    <vt:lpwstr>884b5096-ea9a-4242-8eff-5846c1ac0552</vt:lpwstr>
  </property>
  <property fmtid="{D5CDD505-2E9C-101B-9397-08002B2CF9AE}" pid="17" name="MSIP_Label_a04a3b5d-8634-4f3d-a40f-5dc885395f11_ContentBits">
    <vt:lpwstr>2</vt:lpwstr>
  </property>
  <property fmtid="{D5CDD505-2E9C-101B-9397-08002B2CF9AE}" pid="18" name="ClassificationContentMarkingFooterLocations">
    <vt:lpwstr>SYSTEMIQ 2.0:11\1_SYSTEMIQ 2.0:11\2_SYSTEMIQ 2.0:11</vt:lpwstr>
  </property>
  <property fmtid="{D5CDD505-2E9C-101B-9397-08002B2CF9AE}" pid="19" name="ClassificationContentMarkingFooterText">
    <vt:lpwstr>P u b l i c</vt:lpwstr>
  </property>
</Properties>
</file>